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omments/comment1.xml" ContentType="application/vnd.openxmlformats-officedocument.presentationml.comment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9"/>
    <p:sldMasterId id="2147483894" r:id="rId10"/>
  </p:sldMasterIdLst>
  <p:notesMasterIdLst>
    <p:notesMasterId r:id="rId45"/>
  </p:notesMasterIdLst>
  <p:handoutMasterIdLst>
    <p:handoutMasterId r:id="rId46"/>
  </p:handoutMasterIdLst>
  <p:sldIdLst>
    <p:sldId id="315" r:id="rId11"/>
    <p:sldId id="316" r:id="rId12"/>
    <p:sldId id="276" r:id="rId13"/>
    <p:sldId id="277" r:id="rId14"/>
    <p:sldId id="278" r:id="rId15"/>
    <p:sldId id="279" r:id="rId16"/>
    <p:sldId id="280" r:id="rId17"/>
    <p:sldId id="281" r:id="rId18"/>
    <p:sldId id="301" r:id="rId19"/>
    <p:sldId id="283" r:id="rId20"/>
    <p:sldId id="284" r:id="rId21"/>
    <p:sldId id="285" r:id="rId22"/>
    <p:sldId id="286" r:id="rId23"/>
    <p:sldId id="287" r:id="rId24"/>
    <p:sldId id="318" r:id="rId25"/>
    <p:sldId id="302" r:id="rId26"/>
    <p:sldId id="303" r:id="rId27"/>
    <p:sldId id="304" r:id="rId28"/>
    <p:sldId id="306" r:id="rId29"/>
    <p:sldId id="311" r:id="rId30"/>
    <p:sldId id="312" r:id="rId31"/>
    <p:sldId id="314" r:id="rId32"/>
    <p:sldId id="297" r:id="rId33"/>
    <p:sldId id="298" r:id="rId34"/>
    <p:sldId id="293" r:id="rId35"/>
    <p:sldId id="294" r:id="rId36"/>
    <p:sldId id="295" r:id="rId37"/>
    <p:sldId id="296" r:id="rId38"/>
    <p:sldId id="288" r:id="rId39"/>
    <p:sldId id="289" r:id="rId40"/>
    <p:sldId id="290" r:id="rId41"/>
    <p:sldId id="291" r:id="rId42"/>
    <p:sldId id="292" r:id="rId43"/>
    <p:sldId id="30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152" userDrawn="1">
          <p15:clr>
            <a:srgbClr val="A4A3A4"/>
          </p15:clr>
        </p15:guide>
        <p15:guide id="2" orient="horz" pos="14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Office" lastIdx="1" clrIdx="0">
    <p:extLst/>
  </p:cmAuthor>
  <p:cmAuthor id="2" name="Microsoft Office User" initials="Office [2]"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B4D9"/>
    <a:srgbClr val="B2DB11"/>
    <a:srgbClr val="2AA6E0"/>
    <a:srgbClr val="186CA1"/>
    <a:srgbClr val="289FD7"/>
    <a:srgbClr val="44B0FF"/>
    <a:srgbClr val="96C414"/>
    <a:srgbClr val="002050"/>
    <a:srgbClr val="262626"/>
    <a:srgbClr val="D93D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9" d="100"/>
          <a:sy n="89" d="100"/>
        </p:scale>
        <p:origin x="504" y="66"/>
      </p:cViewPr>
      <p:guideLst>
        <p:guide pos="4152"/>
        <p:guide orient="horz" pos="146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viewProps" Target="viewProps.xml"/><Relationship Id="rId10" Type="http://schemas.openxmlformats.org/officeDocument/2006/relationships/slideMaster" Target="slideMasters/slideMaster2.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4" Type="http://schemas.openxmlformats.org/officeDocument/2006/relationships/customXml" Target="../customXml/item4.xml"/><Relationship Id="rId9" Type="http://schemas.openxmlformats.org/officeDocument/2006/relationships/slideMaster" Target="slideMasters/slideMaster1.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handoutMaster" Target="handoutMasters/handoutMaster1.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customXml" Target="../customXml/item6.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6-12-26T11:41:38.253" idx="1">
    <p:pos x="7769" y="53"/>
    <p:text>This text needs to be prominent, as this is describing what the platform does. </p:text>
    <p:extLst mod="1">
      <p:ext uri="{C676402C-5697-4E1C-873F-D02D1690AC5C}">
        <p15:threadingInfo xmlns:p15="http://schemas.microsoft.com/office/powerpoint/2012/main" timeZoneBias="4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42F585F-9720-43B9-9F0D-534B640F8788}" type="datetimeFigureOut">
              <a:rPr lang="en-US" smtClean="0"/>
              <a:t>2/10/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F966DB9-AC32-402D-9590-9CC430AABC15}"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6C8092-411D-FF4D-81A9-C20812D70C51}" type="datetimeFigureOut">
              <a:rPr lang="en-US" smtClean="0"/>
              <a:t>2/10/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6C6D7-DD2E-2F42-BD43-AD5BA227E1FF}"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0 secs</a:t>
            </a:r>
          </a:p>
        </p:txBody>
      </p:sp>
      <p:sp>
        <p:nvSpPr>
          <p:cNvPr id="4" name="Slide Number Placeholder 3"/>
          <p:cNvSpPr>
            <a:spLocks noGrp="1"/>
          </p:cNvSpPr>
          <p:nvPr>
            <p:ph type="sldNum" sz="quarter" idx="10"/>
          </p:nvPr>
        </p:nvSpPr>
        <p:spPr/>
        <p:txBody>
          <a:bodyPr/>
          <a:lstStyle/>
          <a:p>
            <a:fld id="{20C6C6D7-DD2E-2F42-BD43-AD5BA227E1FF}" type="slidenum">
              <a:rPr lang="en-US" smtClean="0"/>
              <a:t>3</a:t>
            </a:fld>
            <a:endParaRPr lang="en-US"/>
          </a:p>
        </p:txBody>
      </p:sp>
    </p:spTree>
    <p:extLst>
      <p:ext uri="{BB962C8B-B14F-4D97-AF65-F5344CB8AC3E}">
        <p14:creationId xmlns:p14="http://schemas.microsoft.com/office/powerpoint/2010/main" val="25853387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0C6C6D7-DD2E-2F42-BD43-AD5BA227E1FF}"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6411763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49078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len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0/2017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2234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lent</a:t>
            </a:r>
          </a:p>
          <a:p>
            <a:r>
              <a:rPr lang="en-US"/>
              <a:t>5 mi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0/2017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96397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lent</a:t>
            </a:r>
          </a:p>
          <a:p>
            <a:r>
              <a:rPr lang="en-US"/>
              <a:t>5 mi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0/2017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9459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mon</a:t>
            </a:r>
          </a:p>
          <a:p>
            <a:r>
              <a:rPr lang="en-US"/>
              <a:t>5 minutes</a:t>
            </a:r>
          </a:p>
          <a:p>
            <a:r>
              <a:rPr lang="en-US"/>
              <a:t>What makes up a connected vehicle? </a:t>
            </a:r>
          </a:p>
          <a:p>
            <a:r>
              <a:rPr lang="en-US"/>
              <a:t>This is a business view</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0/2017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50638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lent</a:t>
            </a:r>
          </a:p>
          <a:p>
            <a:r>
              <a:rPr lang="en-US"/>
              <a:t>15 / 20 mi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0/2017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27127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rew</a:t>
            </a:r>
          </a:p>
          <a:p>
            <a:r>
              <a:rPr lang="en-US" dirty="0"/>
              <a:t>5 min</a:t>
            </a:r>
          </a:p>
          <a:p>
            <a:r>
              <a:rPr lang="en-US" dirty="0"/>
              <a:t>The </a:t>
            </a:r>
            <a:r>
              <a:rPr lang="en-US" dirty="0" err="1"/>
              <a:t>AvNext</a:t>
            </a:r>
            <a:r>
              <a:rPr lang="en-US" dirty="0"/>
              <a:t> project has an Architect team that spans the globe!  How does that work in practice?</a:t>
            </a:r>
          </a:p>
          <a:p>
            <a:r>
              <a:rPr lang="en-US" dirty="0"/>
              <a:t>How many architects do you think the </a:t>
            </a:r>
            <a:r>
              <a:rPr lang="en-US" dirty="0" err="1"/>
              <a:t>AvNext</a:t>
            </a:r>
            <a:r>
              <a:rPr lang="en-US" dirty="0"/>
              <a:t> team has? (Answer: 5 – David, Amit, Simon, Akihito, Bulent) </a:t>
            </a:r>
          </a:p>
          <a:p>
            <a:r>
              <a:rPr lang="en-US" dirty="0"/>
              <a:t>12 total architecture team members</a:t>
            </a:r>
          </a:p>
          <a:p>
            <a:endParaRPr lang="en-US" dirty="0"/>
          </a:p>
          <a:p>
            <a:r>
              <a:rPr lang="en-US" dirty="0"/>
              <a:t>Challenges with multi-</a:t>
            </a:r>
            <a:r>
              <a:rPr lang="en-US" dirty="0" err="1"/>
              <a:t>timezone</a:t>
            </a:r>
            <a:r>
              <a:rPr lang="en-US" dirty="0"/>
              <a:t> / languag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0/2017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72720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rew</a:t>
            </a:r>
          </a:p>
          <a:p>
            <a:r>
              <a:rPr lang="en-US"/>
              <a:t>5 mi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0/2017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87093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a:xfrm>
            <a:off x="9" y="12648930"/>
            <a:ext cx="4825881" cy="518325"/>
          </a:xfrm>
          <a:prstGeom prst="rect">
            <a:avLst/>
          </a:prstGeom>
        </p:spPr>
        <p:txBody>
          <a:bodyPr lIns="96914" tIns="48458" rIns="96914" bIns="48458"/>
          <a:lstStyle/>
          <a:p>
            <a:pPr defTabSz="98831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a:defRPr/>
            </a:pPr>
            <a:fld id="{FAED1B30-7476-4F17-BD2C-0DAACBB490B2}" type="datetime1">
              <a:rPr lang="en-US" sz="1800" kern="0" smtClean="0">
                <a:solidFill>
                  <a:prstClr val="black"/>
                </a:solidFill>
              </a:rPr>
              <a:pPr>
                <a:defRPr/>
              </a:pPr>
              <a:t>2/10/2017</a:t>
            </a:fld>
            <a:endParaRPr lang="en-US" sz="1800" kern="0">
              <a:solidFill>
                <a:prstClr val="black"/>
              </a:solidFill>
            </a:endParaRPr>
          </a:p>
        </p:txBody>
      </p:sp>
      <p:sp>
        <p:nvSpPr>
          <p:cNvPr id="6" name="Slide Number Placeholder 5"/>
          <p:cNvSpPr>
            <a:spLocks noGrp="1"/>
          </p:cNvSpPr>
          <p:nvPr>
            <p:ph type="sldNum" sz="quarter" idx="12"/>
          </p:nvPr>
        </p:nvSpPr>
        <p:spPr/>
        <p:txBody>
          <a:bodyPr/>
          <a:lstStyle/>
          <a:p>
            <a:pPr>
              <a:defRPr/>
            </a:pPr>
            <a:fld id="{B4008EB6-D09E-4580-8CD6-DDB14511944F}" type="slidenum">
              <a:rPr lang="en-US" sz="1800" kern="0" smtClean="0">
                <a:solidFill>
                  <a:prstClr val="black"/>
                </a:solidFill>
              </a:rPr>
              <a:pPr>
                <a:defRPr/>
              </a:pPr>
              <a:t>23</a:t>
            </a:fld>
            <a:endParaRPr lang="en-US" sz="1800" kern="0">
              <a:solidFill>
                <a:prstClr val="black"/>
              </a:solidFill>
            </a:endParaRPr>
          </a:p>
        </p:txBody>
      </p:sp>
    </p:spTree>
    <p:extLst>
      <p:ext uri="{BB962C8B-B14F-4D97-AF65-F5344CB8AC3E}">
        <p14:creationId xmlns:p14="http://schemas.microsoft.com/office/powerpoint/2010/main" val="261483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s</a:t>
            </a:r>
          </a:p>
        </p:txBody>
      </p:sp>
      <p:sp>
        <p:nvSpPr>
          <p:cNvPr id="4" name="Slide Number Placeholder 3"/>
          <p:cNvSpPr>
            <a:spLocks noGrp="1"/>
          </p:cNvSpPr>
          <p:nvPr>
            <p:ph type="sldNum" sz="quarter" idx="10"/>
          </p:nvPr>
        </p:nvSpPr>
        <p:spPr/>
        <p:txBody>
          <a:bodyPr/>
          <a:lstStyle/>
          <a:p>
            <a:fld id="{20C6C6D7-DD2E-2F42-BD43-AD5BA227E1FF}" type="slidenum">
              <a:rPr lang="en-US" smtClean="0"/>
              <a:t>4</a:t>
            </a:fld>
            <a:endParaRPr lang="en-US"/>
          </a:p>
        </p:txBody>
      </p:sp>
    </p:spTree>
    <p:extLst>
      <p:ext uri="{BB962C8B-B14F-4D97-AF65-F5344CB8AC3E}">
        <p14:creationId xmlns:p14="http://schemas.microsoft.com/office/powerpoint/2010/main" val="937821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lexibility and control - Using our platform as a starting point, auto firms can work with systems integrators to build custom solutions tailored to their goals. </a:t>
            </a:r>
          </a:p>
          <a:p>
            <a:r>
              <a:rPr lang="en-US"/>
              <a:t>Openness - the platform gives firms the freedom to use whatever services, components, and capabilities are best for them </a:t>
            </a:r>
          </a:p>
          <a:p>
            <a:r>
              <a:rPr lang="en-US"/>
              <a:t>Support for ongoing technology evolution</a:t>
            </a:r>
          </a:p>
          <a:p>
            <a:r>
              <a:rPr lang="en-US"/>
              <a:t>Global consistency</a:t>
            </a:r>
          </a:p>
          <a:p>
            <a:r>
              <a:rPr lang="en-US"/>
              <a:t>Trusted partnership</a:t>
            </a:r>
          </a:p>
        </p:txBody>
      </p:sp>
    </p:spTree>
    <p:extLst>
      <p:ext uri="{BB962C8B-B14F-4D97-AF65-F5344CB8AC3E}">
        <p14:creationId xmlns:p14="http://schemas.microsoft.com/office/powerpoint/2010/main" val="12250968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440836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05169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776266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7866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4494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9449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84545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mon</a:t>
            </a:r>
          </a:p>
          <a:p>
            <a:r>
              <a:rPr lang="en-US"/>
              <a:t>5 min</a:t>
            </a:r>
          </a:p>
          <a:p>
            <a:r>
              <a:rPr lang="en-US"/>
              <a:t>CVP provides the foundation for many services for V1</a:t>
            </a:r>
          </a:p>
          <a:p>
            <a:r>
              <a:rPr lang="en-US"/>
              <a:t>Core Features are things that need to be implemented by MS, but could be added to CVP late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0/2017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8743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25"/>
            <a:r>
              <a:rPr lang="en-US" sz="1200" dirty="0"/>
              <a:t>1 min</a:t>
            </a:r>
          </a:p>
          <a:p>
            <a:pPr defTabSz="914225"/>
            <a:endParaRPr lang="en-US" sz="1200" dirty="0"/>
          </a:p>
          <a:p>
            <a:pPr defTabSz="914225"/>
            <a:r>
              <a:rPr lang="en-US" sz="1200" dirty="0"/>
              <a:t>Why</a:t>
            </a:r>
            <a:r>
              <a:rPr lang="en-US" sz="1200" baseline="0" dirty="0"/>
              <a:t> is digital disruption happening now? </a:t>
            </a:r>
          </a:p>
          <a:p>
            <a:pPr defTabSz="914225"/>
            <a:endParaRPr lang="en-US" sz="1200" baseline="0" dirty="0"/>
          </a:p>
          <a:p>
            <a:pPr marL="171450" indent="-171450" defTabSz="914225">
              <a:buFontTx/>
              <a:buChar char="-"/>
            </a:pPr>
            <a:r>
              <a:rPr lang="en-US" sz="1200" dirty="0"/>
              <a:t>The convergence of technological advances</a:t>
            </a:r>
          </a:p>
          <a:p>
            <a:pPr marL="171450" indent="-171450" defTabSz="914225">
              <a:buFontTx/>
              <a:buChar char="-"/>
            </a:pPr>
            <a:r>
              <a:rPr lang="en-US" sz="1200" kern="0" dirty="0">
                <a:solidFill>
                  <a:sysClr val="windowText" lastClr="000000"/>
                </a:solidFill>
              </a:rPr>
              <a:t>Growing customer demand</a:t>
            </a:r>
          </a:p>
          <a:p>
            <a:endParaRPr lang="en-US" dirty="0"/>
          </a:p>
        </p:txBody>
      </p:sp>
    </p:spTree>
    <p:extLst>
      <p:ext uri="{BB962C8B-B14F-4D97-AF65-F5344CB8AC3E}">
        <p14:creationId xmlns:p14="http://schemas.microsoft.com/office/powerpoint/2010/main" val="18854491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25"/>
            <a:r>
              <a:rPr lang="en-US" sz="1200"/>
              <a:t>Why</a:t>
            </a:r>
            <a:r>
              <a:rPr lang="en-US" sz="1200" baseline="0"/>
              <a:t> is digital disruption happening now? </a:t>
            </a:r>
          </a:p>
          <a:p>
            <a:pPr defTabSz="914225"/>
            <a:endParaRPr lang="en-US" sz="1200" baseline="0"/>
          </a:p>
          <a:p>
            <a:pPr marL="171450" indent="-171450" defTabSz="914225">
              <a:buFontTx/>
              <a:buChar char="-"/>
            </a:pPr>
            <a:r>
              <a:rPr lang="en-US" sz="1200"/>
              <a:t>The convergence of technological advances</a:t>
            </a:r>
          </a:p>
          <a:p>
            <a:pPr marL="171450" indent="-171450" defTabSz="914225">
              <a:buFontTx/>
              <a:buChar char="-"/>
            </a:pPr>
            <a:r>
              <a:rPr lang="en-US" sz="1200" kern="0">
                <a:solidFill>
                  <a:sysClr val="windowText" lastClr="000000"/>
                </a:solidFill>
              </a:rPr>
              <a:t>Growing customer demand</a:t>
            </a:r>
          </a:p>
          <a:p>
            <a:endParaRPr lang="en-US"/>
          </a:p>
        </p:txBody>
      </p:sp>
    </p:spTree>
    <p:extLst>
      <p:ext uri="{BB962C8B-B14F-4D97-AF65-F5344CB8AC3E}">
        <p14:creationId xmlns:p14="http://schemas.microsoft.com/office/powerpoint/2010/main" val="860061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eed/time to market/agility</a:t>
            </a:r>
          </a:p>
        </p:txBody>
      </p:sp>
      <p:sp>
        <p:nvSpPr>
          <p:cNvPr id="4" name="Slide Number Placeholder 3"/>
          <p:cNvSpPr>
            <a:spLocks noGrp="1"/>
          </p:cNvSpPr>
          <p:nvPr>
            <p:ph type="sldNum" sz="quarter" idx="10"/>
          </p:nvPr>
        </p:nvSpPr>
        <p:spPr/>
        <p:txBody>
          <a:bodyPr/>
          <a:lstStyle/>
          <a:p>
            <a:fld id="{20C6C6D7-DD2E-2F42-BD43-AD5BA227E1F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724354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25"/>
            <a:r>
              <a:rPr lang="en-US" sz="1200"/>
              <a:t>Cost, complexity, scale and security are the key challenges </a:t>
            </a:r>
            <a:endParaRPr lang="en-US"/>
          </a:p>
        </p:txBody>
      </p:sp>
    </p:spTree>
    <p:extLst>
      <p:ext uri="{BB962C8B-B14F-4D97-AF65-F5344CB8AC3E}">
        <p14:creationId xmlns:p14="http://schemas.microsoft.com/office/powerpoint/2010/main" val="726791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0C6C6D7-DD2E-2F42-BD43-AD5BA227E1F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6164477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350954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sysClr val="windowText" lastClr="000000"/>
                </a:solidFill>
              </a:rPr>
              <a:pPr>
                <a:defRPr/>
              </a:pPr>
              <a:t>2/10/2017 10:29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sysClr val="windowText" lastClr="000000"/>
                </a:solidFill>
              </a:rPr>
              <a:pPr>
                <a:defRPr/>
              </a:pPr>
              <a:t>12</a:t>
            </a:fld>
            <a:endParaRPr lang="en-US" sz="1800" kern="0">
              <a:solidFill>
                <a:sysClr val="windowText" lastClr="000000"/>
              </a:solidFill>
            </a:endParaRPr>
          </a:p>
        </p:txBody>
      </p:sp>
    </p:spTree>
    <p:extLst>
      <p:ext uri="{BB962C8B-B14F-4D97-AF65-F5344CB8AC3E}">
        <p14:creationId xmlns:p14="http://schemas.microsoft.com/office/powerpoint/2010/main" val="7868306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30810" b="3400"/>
          <a:stretch/>
        </p:blipFill>
        <p:spPr>
          <a:xfrm>
            <a:off x="0" y="0"/>
            <a:ext cx="12340371" cy="6858000"/>
          </a:xfrm>
          <a:prstGeom prst="rect">
            <a:avLst/>
          </a:prstGeom>
        </p:spPr>
      </p:pic>
      <p:sp>
        <p:nvSpPr>
          <p:cNvPr id="2" name="Rectangle 1"/>
          <p:cNvSpPr/>
          <p:nvPr userDrawn="1"/>
        </p:nvSpPr>
        <p:spPr bwMode="auto">
          <a:xfrm>
            <a:off x="0" y="0"/>
            <a:ext cx="4629241" cy="6964218"/>
          </a:xfrm>
          <a:prstGeom prst="rect">
            <a:avLst/>
          </a:prstGeom>
          <a:solidFill>
            <a:srgbClr val="030708">
              <a:alpha val="52000"/>
            </a:srgb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358120" y="6230603"/>
            <a:ext cx="1517768" cy="326950"/>
          </a:xfrm>
          <a:prstGeom prst="rect">
            <a:avLst/>
          </a:prstGeom>
        </p:spPr>
      </p:pic>
      <p:sp>
        <p:nvSpPr>
          <p:cNvPr id="7" name="Title 1"/>
          <p:cNvSpPr>
            <a:spLocks noGrp="1"/>
          </p:cNvSpPr>
          <p:nvPr>
            <p:ph type="ctrTitle" hasCustomPrompt="1"/>
          </p:nvPr>
        </p:nvSpPr>
        <p:spPr>
          <a:xfrm>
            <a:off x="269316" y="378862"/>
            <a:ext cx="4193441" cy="4282850"/>
          </a:xfrm>
        </p:spPr>
        <p:txBody>
          <a:bodyPr lIns="146139" tIns="91337" rIns="146139" bIns="91337" anchor="b" anchorCtr="0">
            <a:normAutofit/>
          </a:bodyPr>
          <a:lstStyle>
            <a:lvl1pPr algn="l">
              <a:defRPr sz="5881" b="0" cap="none" baseline="0">
                <a:solidFill>
                  <a:schemeClr val="bg1"/>
                </a:solidFill>
                <a:latin typeface="+mj-lt"/>
              </a:defRPr>
            </a:lvl1pPr>
          </a:lstStyle>
          <a:p>
            <a:r>
              <a:rPr lang="en-US"/>
              <a:t>Deck Title</a:t>
            </a:r>
          </a:p>
        </p:txBody>
      </p:sp>
      <p:sp>
        <p:nvSpPr>
          <p:cNvPr id="8" name="Subtitle 2"/>
          <p:cNvSpPr>
            <a:spLocks noGrp="1"/>
          </p:cNvSpPr>
          <p:nvPr>
            <p:ph type="subTitle" idx="1"/>
          </p:nvPr>
        </p:nvSpPr>
        <p:spPr>
          <a:xfrm>
            <a:off x="255813" y="4661712"/>
            <a:ext cx="4117614" cy="1122337"/>
          </a:xfrm>
          <a:prstGeom prst="rect">
            <a:avLst/>
          </a:prstGeom>
        </p:spPr>
        <p:txBody>
          <a:bodyPr lIns="146139" tIns="109605" rIns="146139" bIns="109605"/>
          <a:lstStyle>
            <a:lvl1pPr marL="0" indent="0" algn="l">
              <a:spcBef>
                <a:spcPts val="588"/>
              </a:spcBef>
              <a:buNone/>
              <a:defRPr sz="2941" b="0" cap="none" spc="0" baseline="0">
                <a:solidFill>
                  <a:schemeClr val="bg1"/>
                </a:solidFill>
                <a:latin typeface="+mj-lt"/>
              </a:defRPr>
            </a:lvl1pPr>
            <a:lvl2pPr marL="528391" indent="0" algn="ctr">
              <a:buNone/>
              <a:defRPr>
                <a:solidFill>
                  <a:schemeClr val="tx1">
                    <a:tint val="75000"/>
                  </a:schemeClr>
                </a:solidFill>
              </a:defRPr>
            </a:lvl2pPr>
            <a:lvl3pPr marL="1056793" indent="0" algn="ctr">
              <a:buNone/>
              <a:defRPr>
                <a:solidFill>
                  <a:schemeClr val="tx1">
                    <a:tint val="75000"/>
                  </a:schemeClr>
                </a:solidFill>
              </a:defRPr>
            </a:lvl3pPr>
            <a:lvl4pPr marL="1585183" indent="0" algn="ctr">
              <a:buNone/>
              <a:defRPr>
                <a:solidFill>
                  <a:schemeClr val="tx1">
                    <a:tint val="75000"/>
                  </a:schemeClr>
                </a:solidFill>
              </a:defRPr>
            </a:lvl4pPr>
            <a:lvl5pPr marL="2113579" indent="0" algn="ctr">
              <a:buNone/>
              <a:defRPr>
                <a:solidFill>
                  <a:schemeClr val="tx1">
                    <a:tint val="75000"/>
                  </a:schemeClr>
                </a:solidFill>
              </a:defRPr>
            </a:lvl5pPr>
            <a:lvl6pPr marL="2641964" indent="0" algn="ctr">
              <a:buNone/>
              <a:defRPr>
                <a:solidFill>
                  <a:schemeClr val="tx1">
                    <a:tint val="75000"/>
                  </a:schemeClr>
                </a:solidFill>
              </a:defRPr>
            </a:lvl6pPr>
            <a:lvl7pPr marL="3170363" indent="0" algn="ctr">
              <a:buNone/>
              <a:defRPr>
                <a:solidFill>
                  <a:schemeClr val="tx1">
                    <a:tint val="75000"/>
                  </a:schemeClr>
                </a:solidFill>
              </a:defRPr>
            </a:lvl7pPr>
            <a:lvl8pPr marL="3698757" indent="0" algn="ctr">
              <a:buNone/>
              <a:defRPr>
                <a:solidFill>
                  <a:schemeClr val="tx1">
                    <a:tint val="75000"/>
                  </a:schemeClr>
                </a:solidFill>
              </a:defRPr>
            </a:lvl8pPr>
            <a:lvl9pPr marL="4227148" indent="0" algn="ctr">
              <a:buNone/>
              <a:defRPr>
                <a:solidFill>
                  <a:schemeClr val="tx1">
                    <a:tint val="75000"/>
                  </a:schemeClr>
                </a:solidFill>
              </a:defRPr>
            </a:lvl9pPr>
          </a:lstStyle>
          <a:p>
            <a:endParaRPr lang="en-US"/>
          </a:p>
        </p:txBody>
      </p:sp>
      <p:sp>
        <p:nvSpPr>
          <p:cNvPr id="10" name="SP Placeholder Confidential Disclaimer"/>
          <p:cNvSpPr>
            <a:spLocks noChangeArrowheads="1"/>
          </p:cNvSpPr>
          <p:nvPr userDrawn="1"/>
        </p:nvSpPr>
        <p:spPr bwMode="gray">
          <a:xfrm>
            <a:off x="4740054" y="6636673"/>
            <a:ext cx="2723502" cy="180819"/>
          </a:xfrm>
          <a:prstGeom prst="rect">
            <a:avLst/>
          </a:prstGeom>
          <a:noFill/>
          <a:ln w="12700" algn="ctr">
            <a:noFill/>
            <a:miter lim="800000"/>
            <a:headEnd/>
            <a:tailEnd/>
          </a:ln>
        </p:spPr>
        <p:txBody>
          <a:bodyPr wrap="none" lIns="0" tIns="0" rIns="0" bIns="0">
            <a:spAutoFit/>
          </a:bodyPr>
          <a:lstStyle/>
          <a:p>
            <a:pPr defTabSz="914367" eaLnBrk="0" hangingPunct="0">
              <a:spcBef>
                <a:spcPct val="0"/>
              </a:spcBef>
              <a:spcAft>
                <a:spcPct val="0"/>
              </a:spcAft>
            </a:pPr>
            <a:r>
              <a:rPr lang="en-US" sz="1175">
                <a:solidFill>
                  <a:schemeClr val="tx2"/>
                </a:solidFill>
                <a:ea typeface="Segoe UI"/>
                <a:cs typeface="Segoe UI"/>
                <a:sym typeface="Segoe UI"/>
              </a:rPr>
              <a:t>CONFIDENTIAL | FOR DISCUSSION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158" name="Freeform 95"/>
          <p:cNvSpPr/>
          <p:nvPr userDrawn="1"/>
        </p:nvSpPr>
        <p:spPr bwMode="auto">
          <a:xfrm>
            <a:off x="2775527" y="1796722"/>
            <a:ext cx="5098938" cy="2153444"/>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7" name="Freeform 95"/>
          <p:cNvSpPr/>
          <p:nvPr userDrawn="1"/>
        </p:nvSpPr>
        <p:spPr bwMode="auto">
          <a:xfrm>
            <a:off x="-8065" y="1796722"/>
            <a:ext cx="5098938" cy="2153444"/>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5" name="Rectangle 154"/>
          <p:cNvSpPr/>
          <p:nvPr userDrawn="1"/>
        </p:nvSpPr>
        <p:spPr bwMode="auto">
          <a:xfrm>
            <a:off x="0" y="3590599"/>
            <a:ext cx="6308333" cy="32674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2" name="Title 1"/>
          <p:cNvSpPr>
            <a:spLocks noGrp="1"/>
          </p:cNvSpPr>
          <p:nvPr>
            <p:ph type="title"/>
          </p:nvPr>
        </p:nvSpPr>
        <p:spPr>
          <a:xfrm>
            <a:off x="269240" y="222616"/>
            <a:ext cx="6039093" cy="899665"/>
          </a:xfrm>
        </p:spPr>
        <p:txBody>
          <a:bodyPr/>
          <a:lstStyle>
            <a:lvl1pPr>
              <a:defRPr sz="4000"/>
            </a:lvl1p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Rectangle 4"/>
          <p:cNvSpPr/>
          <p:nvPr userDrawn="1"/>
        </p:nvSpPr>
        <p:spPr bwMode="auto">
          <a:xfrm>
            <a:off x="6308333" y="0"/>
            <a:ext cx="5883667"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6" name="Text Placeholder 5"/>
          <p:cNvSpPr>
            <a:spLocks noGrp="1"/>
          </p:cNvSpPr>
          <p:nvPr>
            <p:ph type="body" sz="quarter" idx="13"/>
          </p:nvPr>
        </p:nvSpPr>
        <p:spPr>
          <a:xfrm>
            <a:off x="6502400" y="222250"/>
            <a:ext cx="5588000" cy="3681413"/>
          </a:xfrm>
        </p:spPr>
        <p:txBody>
          <a:bodyPr>
            <a:noAutofit/>
          </a:bodyPr>
          <a:lstStyle>
            <a:lvl1pPr>
              <a:spcBef>
                <a:spcPts val="0"/>
              </a:spcBef>
              <a:defRPr sz="3200">
                <a:solidFill>
                  <a:srgbClr val="44B0FF"/>
                </a:solidFill>
                <a:latin typeface="+mj-lt"/>
              </a:defRPr>
            </a:lvl1pPr>
            <a:lvl2pPr marL="0" indent="0">
              <a:spcBef>
                <a:spcPts val="4200"/>
              </a:spcBef>
              <a:buNone/>
              <a:defRPr>
                <a:solidFill>
                  <a:srgbClr val="44B0FF"/>
                </a:solidFill>
              </a:defRPr>
            </a:lvl2pPr>
          </a:lstStyle>
          <a:p>
            <a:pPr lvl="0"/>
            <a:r>
              <a:rPr lang="en-US"/>
              <a:t>Edit Master text styles</a:t>
            </a:r>
          </a:p>
          <a:p>
            <a:pPr lvl="1"/>
            <a:r>
              <a:rPr lang="en-US"/>
              <a:t>Master text styles</a:t>
            </a:r>
          </a:p>
        </p:txBody>
      </p:sp>
      <p:cxnSp>
        <p:nvCxnSpPr>
          <p:cNvPr id="11" name="Straight Connector 10"/>
          <p:cNvCxnSpPr/>
          <p:nvPr userDrawn="1"/>
        </p:nvCxnSpPr>
        <p:spPr>
          <a:xfrm>
            <a:off x="6308333" y="3992600"/>
            <a:ext cx="5595800" cy="0"/>
          </a:xfrm>
          <a:prstGeom prst="line">
            <a:avLst/>
          </a:prstGeom>
          <a:noFill/>
          <a:ln w="9525" cap="rnd" cmpd="sng" algn="ctr">
            <a:solidFill>
              <a:srgbClr val="008272"/>
            </a:solidFill>
            <a:prstDash val="solid"/>
            <a:headEnd type="none"/>
            <a:tailEnd type="oval"/>
          </a:ln>
          <a:effectLst/>
        </p:spPr>
      </p:cxnSp>
      <p:grpSp>
        <p:nvGrpSpPr>
          <p:cNvPr id="18" name="Group 17"/>
          <p:cNvGrpSpPr/>
          <p:nvPr userDrawn="1"/>
        </p:nvGrpSpPr>
        <p:grpSpPr>
          <a:xfrm>
            <a:off x="1038747" y="2511360"/>
            <a:ext cx="4256633" cy="1436827"/>
            <a:chOff x="2410358" y="1565024"/>
            <a:chExt cx="6870570" cy="2319162"/>
          </a:xfrm>
        </p:grpSpPr>
        <p:sp>
          <p:nvSpPr>
            <p:cNvPr id="19" name="Freeform: Shape 18"/>
            <p:cNvSpPr/>
            <p:nvPr/>
          </p:nvSpPr>
          <p:spPr bwMode="auto">
            <a:xfrm>
              <a:off x="2410358" y="1566420"/>
              <a:ext cx="6870570" cy="2035347"/>
            </a:xfrm>
            <a:custGeom>
              <a:avLst/>
              <a:gdLst>
                <a:gd name="connsiteX0" fmla="*/ 5996401 w 20349121"/>
                <a:gd name="connsiteY0" fmla="*/ 2228350 h 6061796"/>
                <a:gd name="connsiteX1" fmla="*/ 6899077 w 20349121"/>
                <a:gd name="connsiteY1" fmla="*/ 1700811 h 6061796"/>
                <a:gd name="connsiteX2" fmla="*/ 8212062 w 20349121"/>
                <a:gd name="connsiteY2" fmla="*/ 915365 h 6061796"/>
                <a:gd name="connsiteX3" fmla="*/ 9032677 w 20349121"/>
                <a:gd name="connsiteY3" fmla="*/ 528504 h 6061796"/>
                <a:gd name="connsiteX4" fmla="*/ 9079570 w 20349121"/>
                <a:gd name="connsiteY4" fmla="*/ 469888 h 6061796"/>
                <a:gd name="connsiteX5" fmla="*/ 9220247 w 20349121"/>
                <a:gd name="connsiteY5" fmla="*/ 411273 h 6061796"/>
                <a:gd name="connsiteX6" fmla="*/ 10005693 w 20349121"/>
                <a:gd name="connsiteY6" fmla="*/ 188534 h 6061796"/>
                <a:gd name="connsiteX7" fmla="*/ 11365570 w 20349121"/>
                <a:gd name="connsiteY7" fmla="*/ 47857 h 6061796"/>
                <a:gd name="connsiteX8" fmla="*/ 12948185 w 20349121"/>
                <a:gd name="connsiteY8" fmla="*/ 965 h 6061796"/>
                <a:gd name="connsiteX9" fmla="*/ 14565970 w 20349121"/>
                <a:gd name="connsiteY9" fmla="*/ 83027 h 6061796"/>
                <a:gd name="connsiteX10" fmla="*/ 16054801 w 20349121"/>
                <a:gd name="connsiteY10" fmla="*/ 165088 h 6061796"/>
                <a:gd name="connsiteX11" fmla="*/ 17496739 w 20349121"/>
                <a:gd name="connsiteY11" fmla="*/ 364381 h 6061796"/>
                <a:gd name="connsiteX12" fmla="*/ 18012554 w 20349121"/>
                <a:gd name="connsiteY12" fmla="*/ 481611 h 6061796"/>
                <a:gd name="connsiteX13" fmla="*/ 18352524 w 20349121"/>
                <a:gd name="connsiteY13" fmla="*/ 528504 h 6061796"/>
                <a:gd name="connsiteX14" fmla="*/ 18434585 w 20349121"/>
                <a:gd name="connsiteY14" fmla="*/ 575396 h 6061796"/>
                <a:gd name="connsiteX15" fmla="*/ 18469754 w 20349121"/>
                <a:gd name="connsiteY15" fmla="*/ 634011 h 6061796"/>
                <a:gd name="connsiteX16" fmla="*/ 18903508 w 20349121"/>
                <a:gd name="connsiteY16" fmla="*/ 1091211 h 6061796"/>
                <a:gd name="connsiteX17" fmla="*/ 19560001 w 20349121"/>
                <a:gd name="connsiteY17" fmla="*/ 1853211 h 6061796"/>
                <a:gd name="connsiteX18" fmla="*/ 19665508 w 20349121"/>
                <a:gd name="connsiteY18" fmla="*/ 1993888 h 6061796"/>
                <a:gd name="connsiteX19" fmla="*/ 19864801 w 20349121"/>
                <a:gd name="connsiteY19" fmla="*/ 2099396 h 6061796"/>
                <a:gd name="connsiteX20" fmla="*/ 19946862 w 20349121"/>
                <a:gd name="connsiteY20" fmla="*/ 2228350 h 6061796"/>
                <a:gd name="connsiteX21" fmla="*/ 19911693 w 20349121"/>
                <a:gd name="connsiteY21" fmla="*/ 2415919 h 6061796"/>
                <a:gd name="connsiteX22" fmla="*/ 19888247 w 20349121"/>
                <a:gd name="connsiteY22" fmla="*/ 2802781 h 6061796"/>
                <a:gd name="connsiteX23" fmla="*/ 19888247 w 20349121"/>
                <a:gd name="connsiteY23" fmla="*/ 3060688 h 6061796"/>
                <a:gd name="connsiteX24" fmla="*/ 19993754 w 20349121"/>
                <a:gd name="connsiteY24" fmla="*/ 3271704 h 6061796"/>
                <a:gd name="connsiteX25" fmla="*/ 19982031 w 20349121"/>
                <a:gd name="connsiteY25" fmla="*/ 3447550 h 6061796"/>
                <a:gd name="connsiteX26" fmla="*/ 19935139 w 20349121"/>
                <a:gd name="connsiteY26" fmla="*/ 3635119 h 6061796"/>
                <a:gd name="connsiteX27" fmla="*/ 20134431 w 20349121"/>
                <a:gd name="connsiteY27" fmla="*/ 3705457 h 6061796"/>
                <a:gd name="connsiteX28" fmla="*/ 20275108 w 20349121"/>
                <a:gd name="connsiteY28" fmla="*/ 3752350 h 6061796"/>
                <a:gd name="connsiteX29" fmla="*/ 20345447 w 20349121"/>
                <a:gd name="connsiteY29" fmla="*/ 3846134 h 6061796"/>
                <a:gd name="connsiteX30" fmla="*/ 20333724 w 20349121"/>
                <a:gd name="connsiteY30" fmla="*/ 4010257 h 6061796"/>
                <a:gd name="connsiteX31" fmla="*/ 20286831 w 20349121"/>
                <a:gd name="connsiteY31" fmla="*/ 4186104 h 6061796"/>
                <a:gd name="connsiteX32" fmla="*/ 20275108 w 20349121"/>
                <a:gd name="connsiteY32" fmla="*/ 4397119 h 6061796"/>
                <a:gd name="connsiteX33" fmla="*/ 20181324 w 20349121"/>
                <a:gd name="connsiteY33" fmla="*/ 4397119 h 6061796"/>
                <a:gd name="connsiteX34" fmla="*/ 20087539 w 20349121"/>
                <a:gd name="connsiteY34" fmla="*/ 4748811 h 6061796"/>
                <a:gd name="connsiteX35" fmla="*/ 20064093 w 20349121"/>
                <a:gd name="connsiteY35" fmla="*/ 5182565 h 6061796"/>
                <a:gd name="connsiteX36" fmla="*/ 20157877 w 20349121"/>
                <a:gd name="connsiteY36" fmla="*/ 5475642 h 6061796"/>
                <a:gd name="connsiteX37" fmla="*/ 20052370 w 20349121"/>
                <a:gd name="connsiteY37" fmla="*/ 5510811 h 6061796"/>
                <a:gd name="connsiteX38" fmla="*/ 19548277 w 20349121"/>
                <a:gd name="connsiteY38" fmla="*/ 5534257 h 6061796"/>
                <a:gd name="connsiteX39" fmla="*/ 19454493 w 20349121"/>
                <a:gd name="connsiteY39" fmla="*/ 5756996 h 6061796"/>
                <a:gd name="connsiteX40" fmla="*/ 19290370 w 20349121"/>
                <a:gd name="connsiteY40" fmla="*/ 5780442 h 6061796"/>
                <a:gd name="connsiteX41" fmla="*/ 18223570 w 20349121"/>
                <a:gd name="connsiteY41" fmla="*/ 5768719 h 6061796"/>
                <a:gd name="connsiteX42" fmla="*/ 18223570 w 20349121"/>
                <a:gd name="connsiteY42" fmla="*/ 5581150 h 6061796"/>
                <a:gd name="connsiteX43" fmla="*/ 17989108 w 20349121"/>
                <a:gd name="connsiteY43" fmla="*/ 4725365 h 6061796"/>
                <a:gd name="connsiteX44" fmla="*/ 17602247 w 20349121"/>
                <a:gd name="connsiteY44" fmla="*/ 4162657 h 6061796"/>
                <a:gd name="connsiteX45" fmla="*/ 17145047 w 20349121"/>
                <a:gd name="connsiteY45" fmla="*/ 3857857 h 6061796"/>
                <a:gd name="connsiteX46" fmla="*/ 16429939 w 20349121"/>
                <a:gd name="connsiteY46" fmla="*/ 3682011 h 6061796"/>
                <a:gd name="connsiteX47" fmla="*/ 15902401 w 20349121"/>
                <a:gd name="connsiteY47" fmla="*/ 3728904 h 6061796"/>
                <a:gd name="connsiteX48" fmla="*/ 15386585 w 20349121"/>
                <a:gd name="connsiteY48" fmla="*/ 3951642 h 6061796"/>
                <a:gd name="connsiteX49" fmla="*/ 14964554 w 20349121"/>
                <a:gd name="connsiteY49" fmla="*/ 4397119 h 6061796"/>
                <a:gd name="connsiteX50" fmla="*/ 14636308 w 20349121"/>
                <a:gd name="connsiteY50" fmla="*/ 4912934 h 6061796"/>
                <a:gd name="connsiteX51" fmla="*/ 14542524 w 20349121"/>
                <a:gd name="connsiteY51" fmla="*/ 5393581 h 6061796"/>
                <a:gd name="connsiteX52" fmla="*/ 14542524 w 20349121"/>
                <a:gd name="connsiteY52" fmla="*/ 5768719 h 6061796"/>
                <a:gd name="connsiteX53" fmla="*/ 14554247 w 20349121"/>
                <a:gd name="connsiteY53" fmla="*/ 5991457 h 6061796"/>
                <a:gd name="connsiteX54" fmla="*/ 14472185 w 20349121"/>
                <a:gd name="connsiteY54" fmla="*/ 6014904 h 6061796"/>
                <a:gd name="connsiteX55" fmla="*/ 14073601 w 20349121"/>
                <a:gd name="connsiteY55" fmla="*/ 6014904 h 6061796"/>
                <a:gd name="connsiteX56" fmla="*/ 11693816 w 20349121"/>
                <a:gd name="connsiteY56" fmla="*/ 6038350 h 6061796"/>
                <a:gd name="connsiteX57" fmla="*/ 5457139 w 20349121"/>
                <a:gd name="connsiteY57" fmla="*/ 6061796 h 6061796"/>
                <a:gd name="connsiteX58" fmla="*/ 5328185 w 20349121"/>
                <a:gd name="connsiteY58" fmla="*/ 6003181 h 6061796"/>
                <a:gd name="connsiteX59" fmla="*/ 5351631 w 20349121"/>
                <a:gd name="connsiteY59" fmla="*/ 5604596 h 6061796"/>
                <a:gd name="connsiteX60" fmla="*/ 5222677 w 20349121"/>
                <a:gd name="connsiteY60" fmla="*/ 4678473 h 6061796"/>
                <a:gd name="connsiteX61" fmla="*/ 4554462 w 20349121"/>
                <a:gd name="connsiteY61" fmla="*/ 3881304 h 6061796"/>
                <a:gd name="connsiteX62" fmla="*/ 3804185 w 20349121"/>
                <a:gd name="connsiteY62" fmla="*/ 3635119 h 6061796"/>
                <a:gd name="connsiteX63" fmla="*/ 2995293 w 20349121"/>
                <a:gd name="connsiteY63" fmla="*/ 3693734 h 6061796"/>
                <a:gd name="connsiteX64" fmla="*/ 2432585 w 20349121"/>
                <a:gd name="connsiteY64" fmla="*/ 3975088 h 6061796"/>
                <a:gd name="connsiteX65" fmla="*/ 1987108 w 20349121"/>
                <a:gd name="connsiteY65" fmla="*/ 4584688 h 6061796"/>
                <a:gd name="connsiteX66" fmla="*/ 1799539 w 20349121"/>
                <a:gd name="connsiteY66" fmla="*/ 5159119 h 6061796"/>
                <a:gd name="connsiteX67" fmla="*/ 1787816 w 20349121"/>
                <a:gd name="connsiteY67" fmla="*/ 5745273 h 6061796"/>
                <a:gd name="connsiteX68" fmla="*/ 1776093 w 20349121"/>
                <a:gd name="connsiteY68" fmla="*/ 5944565 h 6061796"/>
                <a:gd name="connsiteX69" fmla="*/ 1647139 w 20349121"/>
                <a:gd name="connsiteY69" fmla="*/ 5956288 h 6061796"/>
                <a:gd name="connsiteX70" fmla="*/ 709293 w 20349121"/>
                <a:gd name="connsiteY70" fmla="*/ 5932842 h 6061796"/>
                <a:gd name="connsiteX71" fmla="*/ 556893 w 20349121"/>
                <a:gd name="connsiteY71" fmla="*/ 5909396 h 6061796"/>
                <a:gd name="connsiteX72" fmla="*/ 474831 w 20349121"/>
                <a:gd name="connsiteY72" fmla="*/ 5803888 h 6061796"/>
                <a:gd name="connsiteX73" fmla="*/ 404493 w 20349121"/>
                <a:gd name="connsiteY73" fmla="*/ 5745273 h 6061796"/>
                <a:gd name="connsiteX74" fmla="*/ 263816 w 20349121"/>
                <a:gd name="connsiteY74" fmla="*/ 5581150 h 6061796"/>
                <a:gd name="connsiteX75" fmla="*/ 404493 w 20349121"/>
                <a:gd name="connsiteY75" fmla="*/ 5534257 h 6061796"/>
                <a:gd name="connsiteX76" fmla="*/ 334154 w 20349121"/>
                <a:gd name="connsiteY76" fmla="*/ 5428750 h 6061796"/>
                <a:gd name="connsiteX77" fmla="*/ 240370 w 20349121"/>
                <a:gd name="connsiteY77" fmla="*/ 5030165 h 6061796"/>
                <a:gd name="connsiteX78" fmla="*/ 205201 w 20349121"/>
                <a:gd name="connsiteY78" fmla="*/ 4983273 h 6061796"/>
                <a:gd name="connsiteX79" fmla="*/ 76247 w 20349121"/>
                <a:gd name="connsiteY79" fmla="*/ 4971550 h 6061796"/>
                <a:gd name="connsiteX80" fmla="*/ 52801 w 20349121"/>
                <a:gd name="connsiteY80" fmla="*/ 4842596 h 6061796"/>
                <a:gd name="connsiteX81" fmla="*/ 5908 w 20349121"/>
                <a:gd name="connsiteY81" fmla="*/ 4385396 h 6061796"/>
                <a:gd name="connsiteX82" fmla="*/ 17631 w 20349121"/>
                <a:gd name="connsiteY82" fmla="*/ 4315057 h 6061796"/>
                <a:gd name="connsiteX83" fmla="*/ 158308 w 20349121"/>
                <a:gd name="connsiteY83" fmla="*/ 4279888 h 6061796"/>
                <a:gd name="connsiteX84" fmla="*/ 240370 w 20349121"/>
                <a:gd name="connsiteY84" fmla="*/ 4150934 h 6061796"/>
                <a:gd name="connsiteX85" fmla="*/ 205201 w 20349121"/>
                <a:gd name="connsiteY85" fmla="*/ 3963365 h 6061796"/>
                <a:gd name="connsiteX86" fmla="*/ 193477 w 20349121"/>
                <a:gd name="connsiteY86" fmla="*/ 3623396 h 6061796"/>
                <a:gd name="connsiteX87" fmla="*/ 357601 w 20349121"/>
                <a:gd name="connsiteY87" fmla="*/ 3283427 h 6061796"/>
                <a:gd name="connsiteX88" fmla="*/ 1154770 w 20349121"/>
                <a:gd name="connsiteY88" fmla="*/ 2861396 h 6061796"/>
                <a:gd name="connsiteX89" fmla="*/ 2104339 w 20349121"/>
                <a:gd name="connsiteY89" fmla="*/ 2626934 h 6061796"/>
                <a:gd name="connsiteX90" fmla="*/ 3780739 w 20349121"/>
                <a:gd name="connsiteY90" fmla="*/ 2333857 h 6061796"/>
                <a:gd name="connsiteX91" fmla="*/ 5199231 w 20349121"/>
                <a:gd name="connsiteY91" fmla="*/ 2169734 h 6061796"/>
                <a:gd name="connsiteX92" fmla="*/ 5574370 w 20349121"/>
                <a:gd name="connsiteY92" fmla="*/ 2146288 h 6061796"/>
                <a:gd name="connsiteX93" fmla="*/ 5726770 w 20349121"/>
                <a:gd name="connsiteY93" fmla="*/ 2158011 h 6061796"/>
                <a:gd name="connsiteX94" fmla="*/ 5937785 w 20349121"/>
                <a:gd name="connsiteY94" fmla="*/ 2251796 h 6061796"/>
                <a:gd name="connsiteX95" fmla="*/ 5996401 w 20349121"/>
                <a:gd name="connsiteY95" fmla="*/ 2228350 h 6061796"/>
                <a:gd name="connsiteX0" fmla="*/ 5996401 w 20349121"/>
                <a:gd name="connsiteY0" fmla="*/ 2228350 h 6045759"/>
                <a:gd name="connsiteX1" fmla="*/ 6899077 w 20349121"/>
                <a:gd name="connsiteY1" fmla="*/ 1700811 h 6045759"/>
                <a:gd name="connsiteX2" fmla="*/ 8212062 w 20349121"/>
                <a:gd name="connsiteY2" fmla="*/ 915365 h 6045759"/>
                <a:gd name="connsiteX3" fmla="*/ 9032677 w 20349121"/>
                <a:gd name="connsiteY3" fmla="*/ 528504 h 6045759"/>
                <a:gd name="connsiteX4" fmla="*/ 9079570 w 20349121"/>
                <a:gd name="connsiteY4" fmla="*/ 469888 h 6045759"/>
                <a:gd name="connsiteX5" fmla="*/ 9220247 w 20349121"/>
                <a:gd name="connsiteY5" fmla="*/ 411273 h 6045759"/>
                <a:gd name="connsiteX6" fmla="*/ 10005693 w 20349121"/>
                <a:gd name="connsiteY6" fmla="*/ 188534 h 6045759"/>
                <a:gd name="connsiteX7" fmla="*/ 11365570 w 20349121"/>
                <a:gd name="connsiteY7" fmla="*/ 47857 h 6045759"/>
                <a:gd name="connsiteX8" fmla="*/ 12948185 w 20349121"/>
                <a:gd name="connsiteY8" fmla="*/ 965 h 6045759"/>
                <a:gd name="connsiteX9" fmla="*/ 14565970 w 20349121"/>
                <a:gd name="connsiteY9" fmla="*/ 83027 h 6045759"/>
                <a:gd name="connsiteX10" fmla="*/ 16054801 w 20349121"/>
                <a:gd name="connsiteY10" fmla="*/ 165088 h 6045759"/>
                <a:gd name="connsiteX11" fmla="*/ 17496739 w 20349121"/>
                <a:gd name="connsiteY11" fmla="*/ 364381 h 6045759"/>
                <a:gd name="connsiteX12" fmla="*/ 18012554 w 20349121"/>
                <a:gd name="connsiteY12" fmla="*/ 481611 h 6045759"/>
                <a:gd name="connsiteX13" fmla="*/ 18352524 w 20349121"/>
                <a:gd name="connsiteY13" fmla="*/ 528504 h 6045759"/>
                <a:gd name="connsiteX14" fmla="*/ 18434585 w 20349121"/>
                <a:gd name="connsiteY14" fmla="*/ 575396 h 6045759"/>
                <a:gd name="connsiteX15" fmla="*/ 18469754 w 20349121"/>
                <a:gd name="connsiteY15" fmla="*/ 634011 h 6045759"/>
                <a:gd name="connsiteX16" fmla="*/ 18903508 w 20349121"/>
                <a:gd name="connsiteY16" fmla="*/ 1091211 h 6045759"/>
                <a:gd name="connsiteX17" fmla="*/ 19560001 w 20349121"/>
                <a:gd name="connsiteY17" fmla="*/ 1853211 h 6045759"/>
                <a:gd name="connsiteX18" fmla="*/ 19665508 w 20349121"/>
                <a:gd name="connsiteY18" fmla="*/ 1993888 h 6045759"/>
                <a:gd name="connsiteX19" fmla="*/ 19864801 w 20349121"/>
                <a:gd name="connsiteY19" fmla="*/ 2099396 h 6045759"/>
                <a:gd name="connsiteX20" fmla="*/ 19946862 w 20349121"/>
                <a:gd name="connsiteY20" fmla="*/ 2228350 h 6045759"/>
                <a:gd name="connsiteX21" fmla="*/ 19911693 w 20349121"/>
                <a:gd name="connsiteY21" fmla="*/ 2415919 h 6045759"/>
                <a:gd name="connsiteX22" fmla="*/ 19888247 w 20349121"/>
                <a:gd name="connsiteY22" fmla="*/ 2802781 h 6045759"/>
                <a:gd name="connsiteX23" fmla="*/ 19888247 w 20349121"/>
                <a:gd name="connsiteY23" fmla="*/ 3060688 h 6045759"/>
                <a:gd name="connsiteX24" fmla="*/ 19993754 w 20349121"/>
                <a:gd name="connsiteY24" fmla="*/ 3271704 h 6045759"/>
                <a:gd name="connsiteX25" fmla="*/ 19982031 w 20349121"/>
                <a:gd name="connsiteY25" fmla="*/ 3447550 h 6045759"/>
                <a:gd name="connsiteX26" fmla="*/ 19935139 w 20349121"/>
                <a:gd name="connsiteY26" fmla="*/ 3635119 h 6045759"/>
                <a:gd name="connsiteX27" fmla="*/ 20134431 w 20349121"/>
                <a:gd name="connsiteY27" fmla="*/ 3705457 h 6045759"/>
                <a:gd name="connsiteX28" fmla="*/ 20275108 w 20349121"/>
                <a:gd name="connsiteY28" fmla="*/ 3752350 h 6045759"/>
                <a:gd name="connsiteX29" fmla="*/ 20345447 w 20349121"/>
                <a:gd name="connsiteY29" fmla="*/ 3846134 h 6045759"/>
                <a:gd name="connsiteX30" fmla="*/ 20333724 w 20349121"/>
                <a:gd name="connsiteY30" fmla="*/ 4010257 h 6045759"/>
                <a:gd name="connsiteX31" fmla="*/ 20286831 w 20349121"/>
                <a:gd name="connsiteY31" fmla="*/ 4186104 h 6045759"/>
                <a:gd name="connsiteX32" fmla="*/ 20275108 w 20349121"/>
                <a:gd name="connsiteY32" fmla="*/ 4397119 h 6045759"/>
                <a:gd name="connsiteX33" fmla="*/ 20181324 w 20349121"/>
                <a:gd name="connsiteY33" fmla="*/ 4397119 h 6045759"/>
                <a:gd name="connsiteX34" fmla="*/ 20087539 w 20349121"/>
                <a:gd name="connsiteY34" fmla="*/ 4748811 h 6045759"/>
                <a:gd name="connsiteX35" fmla="*/ 20064093 w 20349121"/>
                <a:gd name="connsiteY35" fmla="*/ 5182565 h 6045759"/>
                <a:gd name="connsiteX36" fmla="*/ 20157877 w 20349121"/>
                <a:gd name="connsiteY36" fmla="*/ 5475642 h 6045759"/>
                <a:gd name="connsiteX37" fmla="*/ 20052370 w 20349121"/>
                <a:gd name="connsiteY37" fmla="*/ 5510811 h 6045759"/>
                <a:gd name="connsiteX38" fmla="*/ 19548277 w 20349121"/>
                <a:gd name="connsiteY38" fmla="*/ 5534257 h 6045759"/>
                <a:gd name="connsiteX39" fmla="*/ 19454493 w 20349121"/>
                <a:gd name="connsiteY39" fmla="*/ 5756996 h 6045759"/>
                <a:gd name="connsiteX40" fmla="*/ 19290370 w 20349121"/>
                <a:gd name="connsiteY40" fmla="*/ 5780442 h 6045759"/>
                <a:gd name="connsiteX41" fmla="*/ 18223570 w 20349121"/>
                <a:gd name="connsiteY41" fmla="*/ 5768719 h 6045759"/>
                <a:gd name="connsiteX42" fmla="*/ 18223570 w 20349121"/>
                <a:gd name="connsiteY42" fmla="*/ 5581150 h 6045759"/>
                <a:gd name="connsiteX43" fmla="*/ 17989108 w 20349121"/>
                <a:gd name="connsiteY43" fmla="*/ 4725365 h 6045759"/>
                <a:gd name="connsiteX44" fmla="*/ 17602247 w 20349121"/>
                <a:gd name="connsiteY44" fmla="*/ 4162657 h 6045759"/>
                <a:gd name="connsiteX45" fmla="*/ 17145047 w 20349121"/>
                <a:gd name="connsiteY45" fmla="*/ 3857857 h 6045759"/>
                <a:gd name="connsiteX46" fmla="*/ 16429939 w 20349121"/>
                <a:gd name="connsiteY46" fmla="*/ 3682011 h 6045759"/>
                <a:gd name="connsiteX47" fmla="*/ 15902401 w 20349121"/>
                <a:gd name="connsiteY47" fmla="*/ 3728904 h 6045759"/>
                <a:gd name="connsiteX48" fmla="*/ 15386585 w 20349121"/>
                <a:gd name="connsiteY48" fmla="*/ 3951642 h 6045759"/>
                <a:gd name="connsiteX49" fmla="*/ 14964554 w 20349121"/>
                <a:gd name="connsiteY49" fmla="*/ 4397119 h 6045759"/>
                <a:gd name="connsiteX50" fmla="*/ 14636308 w 20349121"/>
                <a:gd name="connsiteY50" fmla="*/ 4912934 h 6045759"/>
                <a:gd name="connsiteX51" fmla="*/ 14542524 w 20349121"/>
                <a:gd name="connsiteY51" fmla="*/ 5393581 h 6045759"/>
                <a:gd name="connsiteX52" fmla="*/ 14542524 w 20349121"/>
                <a:gd name="connsiteY52" fmla="*/ 5768719 h 6045759"/>
                <a:gd name="connsiteX53" fmla="*/ 14554247 w 20349121"/>
                <a:gd name="connsiteY53" fmla="*/ 5991457 h 6045759"/>
                <a:gd name="connsiteX54" fmla="*/ 14472185 w 20349121"/>
                <a:gd name="connsiteY54" fmla="*/ 6014904 h 6045759"/>
                <a:gd name="connsiteX55" fmla="*/ 14073601 w 20349121"/>
                <a:gd name="connsiteY55" fmla="*/ 6014904 h 6045759"/>
                <a:gd name="connsiteX56" fmla="*/ 11693816 w 20349121"/>
                <a:gd name="connsiteY56" fmla="*/ 6038350 h 6045759"/>
                <a:gd name="connsiteX57" fmla="*/ 7121816 w 20349121"/>
                <a:gd name="connsiteY57" fmla="*/ 6038350 h 6045759"/>
                <a:gd name="connsiteX58" fmla="*/ 5328185 w 20349121"/>
                <a:gd name="connsiteY58" fmla="*/ 6003181 h 6045759"/>
                <a:gd name="connsiteX59" fmla="*/ 5351631 w 20349121"/>
                <a:gd name="connsiteY59" fmla="*/ 5604596 h 6045759"/>
                <a:gd name="connsiteX60" fmla="*/ 5222677 w 20349121"/>
                <a:gd name="connsiteY60" fmla="*/ 4678473 h 6045759"/>
                <a:gd name="connsiteX61" fmla="*/ 4554462 w 20349121"/>
                <a:gd name="connsiteY61" fmla="*/ 3881304 h 6045759"/>
                <a:gd name="connsiteX62" fmla="*/ 3804185 w 20349121"/>
                <a:gd name="connsiteY62" fmla="*/ 3635119 h 6045759"/>
                <a:gd name="connsiteX63" fmla="*/ 2995293 w 20349121"/>
                <a:gd name="connsiteY63" fmla="*/ 3693734 h 6045759"/>
                <a:gd name="connsiteX64" fmla="*/ 2432585 w 20349121"/>
                <a:gd name="connsiteY64" fmla="*/ 3975088 h 6045759"/>
                <a:gd name="connsiteX65" fmla="*/ 1987108 w 20349121"/>
                <a:gd name="connsiteY65" fmla="*/ 4584688 h 6045759"/>
                <a:gd name="connsiteX66" fmla="*/ 1799539 w 20349121"/>
                <a:gd name="connsiteY66" fmla="*/ 5159119 h 6045759"/>
                <a:gd name="connsiteX67" fmla="*/ 1787816 w 20349121"/>
                <a:gd name="connsiteY67" fmla="*/ 5745273 h 6045759"/>
                <a:gd name="connsiteX68" fmla="*/ 1776093 w 20349121"/>
                <a:gd name="connsiteY68" fmla="*/ 5944565 h 6045759"/>
                <a:gd name="connsiteX69" fmla="*/ 1647139 w 20349121"/>
                <a:gd name="connsiteY69" fmla="*/ 5956288 h 6045759"/>
                <a:gd name="connsiteX70" fmla="*/ 709293 w 20349121"/>
                <a:gd name="connsiteY70" fmla="*/ 5932842 h 6045759"/>
                <a:gd name="connsiteX71" fmla="*/ 556893 w 20349121"/>
                <a:gd name="connsiteY71" fmla="*/ 5909396 h 6045759"/>
                <a:gd name="connsiteX72" fmla="*/ 474831 w 20349121"/>
                <a:gd name="connsiteY72" fmla="*/ 5803888 h 6045759"/>
                <a:gd name="connsiteX73" fmla="*/ 404493 w 20349121"/>
                <a:gd name="connsiteY73" fmla="*/ 5745273 h 6045759"/>
                <a:gd name="connsiteX74" fmla="*/ 263816 w 20349121"/>
                <a:gd name="connsiteY74" fmla="*/ 5581150 h 6045759"/>
                <a:gd name="connsiteX75" fmla="*/ 404493 w 20349121"/>
                <a:gd name="connsiteY75" fmla="*/ 5534257 h 6045759"/>
                <a:gd name="connsiteX76" fmla="*/ 334154 w 20349121"/>
                <a:gd name="connsiteY76" fmla="*/ 5428750 h 6045759"/>
                <a:gd name="connsiteX77" fmla="*/ 240370 w 20349121"/>
                <a:gd name="connsiteY77" fmla="*/ 5030165 h 6045759"/>
                <a:gd name="connsiteX78" fmla="*/ 205201 w 20349121"/>
                <a:gd name="connsiteY78" fmla="*/ 4983273 h 6045759"/>
                <a:gd name="connsiteX79" fmla="*/ 76247 w 20349121"/>
                <a:gd name="connsiteY79" fmla="*/ 4971550 h 6045759"/>
                <a:gd name="connsiteX80" fmla="*/ 52801 w 20349121"/>
                <a:gd name="connsiteY80" fmla="*/ 4842596 h 6045759"/>
                <a:gd name="connsiteX81" fmla="*/ 5908 w 20349121"/>
                <a:gd name="connsiteY81" fmla="*/ 4385396 h 6045759"/>
                <a:gd name="connsiteX82" fmla="*/ 17631 w 20349121"/>
                <a:gd name="connsiteY82" fmla="*/ 4315057 h 6045759"/>
                <a:gd name="connsiteX83" fmla="*/ 158308 w 20349121"/>
                <a:gd name="connsiteY83" fmla="*/ 4279888 h 6045759"/>
                <a:gd name="connsiteX84" fmla="*/ 240370 w 20349121"/>
                <a:gd name="connsiteY84" fmla="*/ 4150934 h 6045759"/>
                <a:gd name="connsiteX85" fmla="*/ 205201 w 20349121"/>
                <a:gd name="connsiteY85" fmla="*/ 3963365 h 6045759"/>
                <a:gd name="connsiteX86" fmla="*/ 193477 w 20349121"/>
                <a:gd name="connsiteY86" fmla="*/ 3623396 h 6045759"/>
                <a:gd name="connsiteX87" fmla="*/ 357601 w 20349121"/>
                <a:gd name="connsiteY87" fmla="*/ 3283427 h 6045759"/>
                <a:gd name="connsiteX88" fmla="*/ 1154770 w 20349121"/>
                <a:gd name="connsiteY88" fmla="*/ 2861396 h 6045759"/>
                <a:gd name="connsiteX89" fmla="*/ 2104339 w 20349121"/>
                <a:gd name="connsiteY89" fmla="*/ 2626934 h 6045759"/>
                <a:gd name="connsiteX90" fmla="*/ 3780739 w 20349121"/>
                <a:gd name="connsiteY90" fmla="*/ 2333857 h 6045759"/>
                <a:gd name="connsiteX91" fmla="*/ 5199231 w 20349121"/>
                <a:gd name="connsiteY91" fmla="*/ 2169734 h 6045759"/>
                <a:gd name="connsiteX92" fmla="*/ 5574370 w 20349121"/>
                <a:gd name="connsiteY92" fmla="*/ 2146288 h 6045759"/>
                <a:gd name="connsiteX93" fmla="*/ 5726770 w 20349121"/>
                <a:gd name="connsiteY93" fmla="*/ 2158011 h 6045759"/>
                <a:gd name="connsiteX94" fmla="*/ 5937785 w 20349121"/>
                <a:gd name="connsiteY94" fmla="*/ 2251796 h 6045759"/>
                <a:gd name="connsiteX95" fmla="*/ 5996401 w 20349121"/>
                <a:gd name="connsiteY95" fmla="*/ 2228350 h 6045759"/>
                <a:gd name="connsiteX0" fmla="*/ 5996401 w 20349121"/>
                <a:gd name="connsiteY0" fmla="*/ 2228350 h 6080632"/>
                <a:gd name="connsiteX1" fmla="*/ 6899077 w 20349121"/>
                <a:gd name="connsiteY1" fmla="*/ 1700811 h 6080632"/>
                <a:gd name="connsiteX2" fmla="*/ 8212062 w 20349121"/>
                <a:gd name="connsiteY2" fmla="*/ 915365 h 6080632"/>
                <a:gd name="connsiteX3" fmla="*/ 9032677 w 20349121"/>
                <a:gd name="connsiteY3" fmla="*/ 528504 h 6080632"/>
                <a:gd name="connsiteX4" fmla="*/ 9079570 w 20349121"/>
                <a:gd name="connsiteY4" fmla="*/ 469888 h 6080632"/>
                <a:gd name="connsiteX5" fmla="*/ 9220247 w 20349121"/>
                <a:gd name="connsiteY5" fmla="*/ 411273 h 6080632"/>
                <a:gd name="connsiteX6" fmla="*/ 10005693 w 20349121"/>
                <a:gd name="connsiteY6" fmla="*/ 188534 h 6080632"/>
                <a:gd name="connsiteX7" fmla="*/ 11365570 w 20349121"/>
                <a:gd name="connsiteY7" fmla="*/ 47857 h 6080632"/>
                <a:gd name="connsiteX8" fmla="*/ 12948185 w 20349121"/>
                <a:gd name="connsiteY8" fmla="*/ 965 h 6080632"/>
                <a:gd name="connsiteX9" fmla="*/ 14565970 w 20349121"/>
                <a:gd name="connsiteY9" fmla="*/ 83027 h 6080632"/>
                <a:gd name="connsiteX10" fmla="*/ 16054801 w 20349121"/>
                <a:gd name="connsiteY10" fmla="*/ 165088 h 6080632"/>
                <a:gd name="connsiteX11" fmla="*/ 17496739 w 20349121"/>
                <a:gd name="connsiteY11" fmla="*/ 364381 h 6080632"/>
                <a:gd name="connsiteX12" fmla="*/ 18012554 w 20349121"/>
                <a:gd name="connsiteY12" fmla="*/ 481611 h 6080632"/>
                <a:gd name="connsiteX13" fmla="*/ 18352524 w 20349121"/>
                <a:gd name="connsiteY13" fmla="*/ 528504 h 6080632"/>
                <a:gd name="connsiteX14" fmla="*/ 18434585 w 20349121"/>
                <a:gd name="connsiteY14" fmla="*/ 575396 h 6080632"/>
                <a:gd name="connsiteX15" fmla="*/ 18469754 w 20349121"/>
                <a:gd name="connsiteY15" fmla="*/ 634011 h 6080632"/>
                <a:gd name="connsiteX16" fmla="*/ 18903508 w 20349121"/>
                <a:gd name="connsiteY16" fmla="*/ 1091211 h 6080632"/>
                <a:gd name="connsiteX17" fmla="*/ 19560001 w 20349121"/>
                <a:gd name="connsiteY17" fmla="*/ 1853211 h 6080632"/>
                <a:gd name="connsiteX18" fmla="*/ 19665508 w 20349121"/>
                <a:gd name="connsiteY18" fmla="*/ 1993888 h 6080632"/>
                <a:gd name="connsiteX19" fmla="*/ 19864801 w 20349121"/>
                <a:gd name="connsiteY19" fmla="*/ 2099396 h 6080632"/>
                <a:gd name="connsiteX20" fmla="*/ 19946862 w 20349121"/>
                <a:gd name="connsiteY20" fmla="*/ 2228350 h 6080632"/>
                <a:gd name="connsiteX21" fmla="*/ 19911693 w 20349121"/>
                <a:gd name="connsiteY21" fmla="*/ 2415919 h 6080632"/>
                <a:gd name="connsiteX22" fmla="*/ 19888247 w 20349121"/>
                <a:gd name="connsiteY22" fmla="*/ 2802781 h 6080632"/>
                <a:gd name="connsiteX23" fmla="*/ 19888247 w 20349121"/>
                <a:gd name="connsiteY23" fmla="*/ 3060688 h 6080632"/>
                <a:gd name="connsiteX24" fmla="*/ 19993754 w 20349121"/>
                <a:gd name="connsiteY24" fmla="*/ 3271704 h 6080632"/>
                <a:gd name="connsiteX25" fmla="*/ 19982031 w 20349121"/>
                <a:gd name="connsiteY25" fmla="*/ 3447550 h 6080632"/>
                <a:gd name="connsiteX26" fmla="*/ 19935139 w 20349121"/>
                <a:gd name="connsiteY26" fmla="*/ 3635119 h 6080632"/>
                <a:gd name="connsiteX27" fmla="*/ 20134431 w 20349121"/>
                <a:gd name="connsiteY27" fmla="*/ 3705457 h 6080632"/>
                <a:gd name="connsiteX28" fmla="*/ 20275108 w 20349121"/>
                <a:gd name="connsiteY28" fmla="*/ 3752350 h 6080632"/>
                <a:gd name="connsiteX29" fmla="*/ 20345447 w 20349121"/>
                <a:gd name="connsiteY29" fmla="*/ 3846134 h 6080632"/>
                <a:gd name="connsiteX30" fmla="*/ 20333724 w 20349121"/>
                <a:gd name="connsiteY30" fmla="*/ 4010257 h 6080632"/>
                <a:gd name="connsiteX31" fmla="*/ 20286831 w 20349121"/>
                <a:gd name="connsiteY31" fmla="*/ 4186104 h 6080632"/>
                <a:gd name="connsiteX32" fmla="*/ 20275108 w 20349121"/>
                <a:gd name="connsiteY32" fmla="*/ 4397119 h 6080632"/>
                <a:gd name="connsiteX33" fmla="*/ 20181324 w 20349121"/>
                <a:gd name="connsiteY33" fmla="*/ 4397119 h 6080632"/>
                <a:gd name="connsiteX34" fmla="*/ 20087539 w 20349121"/>
                <a:gd name="connsiteY34" fmla="*/ 4748811 h 6080632"/>
                <a:gd name="connsiteX35" fmla="*/ 20064093 w 20349121"/>
                <a:gd name="connsiteY35" fmla="*/ 5182565 h 6080632"/>
                <a:gd name="connsiteX36" fmla="*/ 20157877 w 20349121"/>
                <a:gd name="connsiteY36" fmla="*/ 5475642 h 6080632"/>
                <a:gd name="connsiteX37" fmla="*/ 20052370 w 20349121"/>
                <a:gd name="connsiteY37" fmla="*/ 5510811 h 6080632"/>
                <a:gd name="connsiteX38" fmla="*/ 19548277 w 20349121"/>
                <a:gd name="connsiteY38" fmla="*/ 5534257 h 6080632"/>
                <a:gd name="connsiteX39" fmla="*/ 19454493 w 20349121"/>
                <a:gd name="connsiteY39" fmla="*/ 5756996 h 6080632"/>
                <a:gd name="connsiteX40" fmla="*/ 19290370 w 20349121"/>
                <a:gd name="connsiteY40" fmla="*/ 5780442 h 6080632"/>
                <a:gd name="connsiteX41" fmla="*/ 18223570 w 20349121"/>
                <a:gd name="connsiteY41" fmla="*/ 5768719 h 6080632"/>
                <a:gd name="connsiteX42" fmla="*/ 18223570 w 20349121"/>
                <a:gd name="connsiteY42" fmla="*/ 5581150 h 6080632"/>
                <a:gd name="connsiteX43" fmla="*/ 17989108 w 20349121"/>
                <a:gd name="connsiteY43" fmla="*/ 4725365 h 6080632"/>
                <a:gd name="connsiteX44" fmla="*/ 17602247 w 20349121"/>
                <a:gd name="connsiteY44" fmla="*/ 4162657 h 6080632"/>
                <a:gd name="connsiteX45" fmla="*/ 17145047 w 20349121"/>
                <a:gd name="connsiteY45" fmla="*/ 3857857 h 6080632"/>
                <a:gd name="connsiteX46" fmla="*/ 16429939 w 20349121"/>
                <a:gd name="connsiteY46" fmla="*/ 3682011 h 6080632"/>
                <a:gd name="connsiteX47" fmla="*/ 15902401 w 20349121"/>
                <a:gd name="connsiteY47" fmla="*/ 3728904 h 6080632"/>
                <a:gd name="connsiteX48" fmla="*/ 15386585 w 20349121"/>
                <a:gd name="connsiteY48" fmla="*/ 3951642 h 6080632"/>
                <a:gd name="connsiteX49" fmla="*/ 14964554 w 20349121"/>
                <a:gd name="connsiteY49" fmla="*/ 4397119 h 6080632"/>
                <a:gd name="connsiteX50" fmla="*/ 14636308 w 20349121"/>
                <a:gd name="connsiteY50" fmla="*/ 4912934 h 6080632"/>
                <a:gd name="connsiteX51" fmla="*/ 14542524 w 20349121"/>
                <a:gd name="connsiteY51" fmla="*/ 5393581 h 6080632"/>
                <a:gd name="connsiteX52" fmla="*/ 14542524 w 20349121"/>
                <a:gd name="connsiteY52" fmla="*/ 5768719 h 6080632"/>
                <a:gd name="connsiteX53" fmla="*/ 14554247 w 20349121"/>
                <a:gd name="connsiteY53" fmla="*/ 5991457 h 6080632"/>
                <a:gd name="connsiteX54" fmla="*/ 14472185 w 20349121"/>
                <a:gd name="connsiteY54" fmla="*/ 6014904 h 6080632"/>
                <a:gd name="connsiteX55" fmla="*/ 14073601 w 20349121"/>
                <a:gd name="connsiteY55" fmla="*/ 6014904 h 6080632"/>
                <a:gd name="connsiteX56" fmla="*/ 11693816 w 20349121"/>
                <a:gd name="connsiteY56" fmla="*/ 6038350 h 6080632"/>
                <a:gd name="connsiteX57" fmla="*/ 7121816 w 20349121"/>
                <a:gd name="connsiteY57" fmla="*/ 6038350 h 6080632"/>
                <a:gd name="connsiteX58" fmla="*/ 5328185 w 20349121"/>
                <a:gd name="connsiteY58" fmla="*/ 6003181 h 6080632"/>
                <a:gd name="connsiteX59" fmla="*/ 5351631 w 20349121"/>
                <a:gd name="connsiteY59" fmla="*/ 5604596 h 6080632"/>
                <a:gd name="connsiteX60" fmla="*/ 5222677 w 20349121"/>
                <a:gd name="connsiteY60" fmla="*/ 4678473 h 6080632"/>
                <a:gd name="connsiteX61" fmla="*/ 4554462 w 20349121"/>
                <a:gd name="connsiteY61" fmla="*/ 3881304 h 6080632"/>
                <a:gd name="connsiteX62" fmla="*/ 3804185 w 20349121"/>
                <a:gd name="connsiteY62" fmla="*/ 3635119 h 6080632"/>
                <a:gd name="connsiteX63" fmla="*/ 2995293 w 20349121"/>
                <a:gd name="connsiteY63" fmla="*/ 3693734 h 6080632"/>
                <a:gd name="connsiteX64" fmla="*/ 2432585 w 20349121"/>
                <a:gd name="connsiteY64" fmla="*/ 3975088 h 6080632"/>
                <a:gd name="connsiteX65" fmla="*/ 1987108 w 20349121"/>
                <a:gd name="connsiteY65" fmla="*/ 4584688 h 6080632"/>
                <a:gd name="connsiteX66" fmla="*/ 1799539 w 20349121"/>
                <a:gd name="connsiteY66" fmla="*/ 5159119 h 6080632"/>
                <a:gd name="connsiteX67" fmla="*/ 1787816 w 20349121"/>
                <a:gd name="connsiteY67" fmla="*/ 5745273 h 6080632"/>
                <a:gd name="connsiteX68" fmla="*/ 1776093 w 20349121"/>
                <a:gd name="connsiteY68" fmla="*/ 5944565 h 6080632"/>
                <a:gd name="connsiteX69" fmla="*/ 1647139 w 20349121"/>
                <a:gd name="connsiteY69" fmla="*/ 5956288 h 6080632"/>
                <a:gd name="connsiteX70" fmla="*/ 709293 w 20349121"/>
                <a:gd name="connsiteY70" fmla="*/ 5932842 h 6080632"/>
                <a:gd name="connsiteX71" fmla="*/ 556893 w 20349121"/>
                <a:gd name="connsiteY71" fmla="*/ 5909396 h 6080632"/>
                <a:gd name="connsiteX72" fmla="*/ 474831 w 20349121"/>
                <a:gd name="connsiteY72" fmla="*/ 5803888 h 6080632"/>
                <a:gd name="connsiteX73" fmla="*/ 404493 w 20349121"/>
                <a:gd name="connsiteY73" fmla="*/ 5745273 h 6080632"/>
                <a:gd name="connsiteX74" fmla="*/ 263816 w 20349121"/>
                <a:gd name="connsiteY74" fmla="*/ 5581150 h 6080632"/>
                <a:gd name="connsiteX75" fmla="*/ 404493 w 20349121"/>
                <a:gd name="connsiteY75" fmla="*/ 5534257 h 6080632"/>
                <a:gd name="connsiteX76" fmla="*/ 334154 w 20349121"/>
                <a:gd name="connsiteY76" fmla="*/ 5428750 h 6080632"/>
                <a:gd name="connsiteX77" fmla="*/ 240370 w 20349121"/>
                <a:gd name="connsiteY77" fmla="*/ 5030165 h 6080632"/>
                <a:gd name="connsiteX78" fmla="*/ 205201 w 20349121"/>
                <a:gd name="connsiteY78" fmla="*/ 4983273 h 6080632"/>
                <a:gd name="connsiteX79" fmla="*/ 76247 w 20349121"/>
                <a:gd name="connsiteY79" fmla="*/ 4971550 h 6080632"/>
                <a:gd name="connsiteX80" fmla="*/ 52801 w 20349121"/>
                <a:gd name="connsiteY80" fmla="*/ 4842596 h 6080632"/>
                <a:gd name="connsiteX81" fmla="*/ 5908 w 20349121"/>
                <a:gd name="connsiteY81" fmla="*/ 4385396 h 6080632"/>
                <a:gd name="connsiteX82" fmla="*/ 17631 w 20349121"/>
                <a:gd name="connsiteY82" fmla="*/ 4315057 h 6080632"/>
                <a:gd name="connsiteX83" fmla="*/ 158308 w 20349121"/>
                <a:gd name="connsiteY83" fmla="*/ 4279888 h 6080632"/>
                <a:gd name="connsiteX84" fmla="*/ 240370 w 20349121"/>
                <a:gd name="connsiteY84" fmla="*/ 4150934 h 6080632"/>
                <a:gd name="connsiteX85" fmla="*/ 205201 w 20349121"/>
                <a:gd name="connsiteY85" fmla="*/ 3963365 h 6080632"/>
                <a:gd name="connsiteX86" fmla="*/ 193477 w 20349121"/>
                <a:gd name="connsiteY86" fmla="*/ 3623396 h 6080632"/>
                <a:gd name="connsiteX87" fmla="*/ 357601 w 20349121"/>
                <a:gd name="connsiteY87" fmla="*/ 3283427 h 6080632"/>
                <a:gd name="connsiteX88" fmla="*/ 1154770 w 20349121"/>
                <a:gd name="connsiteY88" fmla="*/ 2861396 h 6080632"/>
                <a:gd name="connsiteX89" fmla="*/ 2104339 w 20349121"/>
                <a:gd name="connsiteY89" fmla="*/ 2626934 h 6080632"/>
                <a:gd name="connsiteX90" fmla="*/ 3780739 w 20349121"/>
                <a:gd name="connsiteY90" fmla="*/ 2333857 h 6080632"/>
                <a:gd name="connsiteX91" fmla="*/ 5199231 w 20349121"/>
                <a:gd name="connsiteY91" fmla="*/ 2169734 h 6080632"/>
                <a:gd name="connsiteX92" fmla="*/ 5574370 w 20349121"/>
                <a:gd name="connsiteY92" fmla="*/ 2146288 h 6080632"/>
                <a:gd name="connsiteX93" fmla="*/ 5726770 w 20349121"/>
                <a:gd name="connsiteY93" fmla="*/ 2158011 h 6080632"/>
                <a:gd name="connsiteX94" fmla="*/ 5937785 w 20349121"/>
                <a:gd name="connsiteY94" fmla="*/ 2251796 h 6080632"/>
                <a:gd name="connsiteX95" fmla="*/ 5996401 w 20349121"/>
                <a:gd name="connsiteY95" fmla="*/ 2228350 h 6080632"/>
                <a:gd name="connsiteX0" fmla="*/ 5996401 w 20349121"/>
                <a:gd name="connsiteY0" fmla="*/ 2228350 h 6055371"/>
                <a:gd name="connsiteX1" fmla="*/ 6899077 w 20349121"/>
                <a:gd name="connsiteY1" fmla="*/ 1700811 h 6055371"/>
                <a:gd name="connsiteX2" fmla="*/ 8212062 w 20349121"/>
                <a:gd name="connsiteY2" fmla="*/ 915365 h 6055371"/>
                <a:gd name="connsiteX3" fmla="*/ 9032677 w 20349121"/>
                <a:gd name="connsiteY3" fmla="*/ 528504 h 6055371"/>
                <a:gd name="connsiteX4" fmla="*/ 9079570 w 20349121"/>
                <a:gd name="connsiteY4" fmla="*/ 469888 h 6055371"/>
                <a:gd name="connsiteX5" fmla="*/ 9220247 w 20349121"/>
                <a:gd name="connsiteY5" fmla="*/ 411273 h 6055371"/>
                <a:gd name="connsiteX6" fmla="*/ 10005693 w 20349121"/>
                <a:gd name="connsiteY6" fmla="*/ 188534 h 6055371"/>
                <a:gd name="connsiteX7" fmla="*/ 11365570 w 20349121"/>
                <a:gd name="connsiteY7" fmla="*/ 47857 h 6055371"/>
                <a:gd name="connsiteX8" fmla="*/ 12948185 w 20349121"/>
                <a:gd name="connsiteY8" fmla="*/ 965 h 6055371"/>
                <a:gd name="connsiteX9" fmla="*/ 14565970 w 20349121"/>
                <a:gd name="connsiteY9" fmla="*/ 83027 h 6055371"/>
                <a:gd name="connsiteX10" fmla="*/ 16054801 w 20349121"/>
                <a:gd name="connsiteY10" fmla="*/ 165088 h 6055371"/>
                <a:gd name="connsiteX11" fmla="*/ 17496739 w 20349121"/>
                <a:gd name="connsiteY11" fmla="*/ 364381 h 6055371"/>
                <a:gd name="connsiteX12" fmla="*/ 18012554 w 20349121"/>
                <a:gd name="connsiteY12" fmla="*/ 481611 h 6055371"/>
                <a:gd name="connsiteX13" fmla="*/ 18352524 w 20349121"/>
                <a:gd name="connsiteY13" fmla="*/ 528504 h 6055371"/>
                <a:gd name="connsiteX14" fmla="*/ 18434585 w 20349121"/>
                <a:gd name="connsiteY14" fmla="*/ 575396 h 6055371"/>
                <a:gd name="connsiteX15" fmla="*/ 18469754 w 20349121"/>
                <a:gd name="connsiteY15" fmla="*/ 634011 h 6055371"/>
                <a:gd name="connsiteX16" fmla="*/ 18903508 w 20349121"/>
                <a:gd name="connsiteY16" fmla="*/ 1091211 h 6055371"/>
                <a:gd name="connsiteX17" fmla="*/ 19560001 w 20349121"/>
                <a:gd name="connsiteY17" fmla="*/ 1853211 h 6055371"/>
                <a:gd name="connsiteX18" fmla="*/ 19665508 w 20349121"/>
                <a:gd name="connsiteY18" fmla="*/ 1993888 h 6055371"/>
                <a:gd name="connsiteX19" fmla="*/ 19864801 w 20349121"/>
                <a:gd name="connsiteY19" fmla="*/ 2099396 h 6055371"/>
                <a:gd name="connsiteX20" fmla="*/ 19946862 w 20349121"/>
                <a:gd name="connsiteY20" fmla="*/ 2228350 h 6055371"/>
                <a:gd name="connsiteX21" fmla="*/ 19911693 w 20349121"/>
                <a:gd name="connsiteY21" fmla="*/ 2415919 h 6055371"/>
                <a:gd name="connsiteX22" fmla="*/ 19888247 w 20349121"/>
                <a:gd name="connsiteY22" fmla="*/ 2802781 h 6055371"/>
                <a:gd name="connsiteX23" fmla="*/ 19888247 w 20349121"/>
                <a:gd name="connsiteY23" fmla="*/ 3060688 h 6055371"/>
                <a:gd name="connsiteX24" fmla="*/ 19993754 w 20349121"/>
                <a:gd name="connsiteY24" fmla="*/ 3271704 h 6055371"/>
                <a:gd name="connsiteX25" fmla="*/ 19982031 w 20349121"/>
                <a:gd name="connsiteY25" fmla="*/ 3447550 h 6055371"/>
                <a:gd name="connsiteX26" fmla="*/ 19935139 w 20349121"/>
                <a:gd name="connsiteY26" fmla="*/ 3635119 h 6055371"/>
                <a:gd name="connsiteX27" fmla="*/ 20134431 w 20349121"/>
                <a:gd name="connsiteY27" fmla="*/ 3705457 h 6055371"/>
                <a:gd name="connsiteX28" fmla="*/ 20275108 w 20349121"/>
                <a:gd name="connsiteY28" fmla="*/ 3752350 h 6055371"/>
                <a:gd name="connsiteX29" fmla="*/ 20345447 w 20349121"/>
                <a:gd name="connsiteY29" fmla="*/ 3846134 h 6055371"/>
                <a:gd name="connsiteX30" fmla="*/ 20333724 w 20349121"/>
                <a:gd name="connsiteY30" fmla="*/ 4010257 h 6055371"/>
                <a:gd name="connsiteX31" fmla="*/ 20286831 w 20349121"/>
                <a:gd name="connsiteY31" fmla="*/ 4186104 h 6055371"/>
                <a:gd name="connsiteX32" fmla="*/ 20275108 w 20349121"/>
                <a:gd name="connsiteY32" fmla="*/ 4397119 h 6055371"/>
                <a:gd name="connsiteX33" fmla="*/ 20181324 w 20349121"/>
                <a:gd name="connsiteY33" fmla="*/ 4397119 h 6055371"/>
                <a:gd name="connsiteX34" fmla="*/ 20087539 w 20349121"/>
                <a:gd name="connsiteY34" fmla="*/ 4748811 h 6055371"/>
                <a:gd name="connsiteX35" fmla="*/ 20064093 w 20349121"/>
                <a:gd name="connsiteY35" fmla="*/ 5182565 h 6055371"/>
                <a:gd name="connsiteX36" fmla="*/ 20157877 w 20349121"/>
                <a:gd name="connsiteY36" fmla="*/ 5475642 h 6055371"/>
                <a:gd name="connsiteX37" fmla="*/ 20052370 w 20349121"/>
                <a:gd name="connsiteY37" fmla="*/ 5510811 h 6055371"/>
                <a:gd name="connsiteX38" fmla="*/ 19548277 w 20349121"/>
                <a:gd name="connsiteY38" fmla="*/ 5534257 h 6055371"/>
                <a:gd name="connsiteX39" fmla="*/ 19454493 w 20349121"/>
                <a:gd name="connsiteY39" fmla="*/ 5756996 h 6055371"/>
                <a:gd name="connsiteX40" fmla="*/ 19290370 w 20349121"/>
                <a:gd name="connsiteY40" fmla="*/ 5780442 h 6055371"/>
                <a:gd name="connsiteX41" fmla="*/ 18223570 w 20349121"/>
                <a:gd name="connsiteY41" fmla="*/ 5768719 h 6055371"/>
                <a:gd name="connsiteX42" fmla="*/ 18223570 w 20349121"/>
                <a:gd name="connsiteY42" fmla="*/ 5581150 h 6055371"/>
                <a:gd name="connsiteX43" fmla="*/ 17989108 w 20349121"/>
                <a:gd name="connsiteY43" fmla="*/ 4725365 h 6055371"/>
                <a:gd name="connsiteX44" fmla="*/ 17602247 w 20349121"/>
                <a:gd name="connsiteY44" fmla="*/ 4162657 h 6055371"/>
                <a:gd name="connsiteX45" fmla="*/ 17145047 w 20349121"/>
                <a:gd name="connsiteY45" fmla="*/ 3857857 h 6055371"/>
                <a:gd name="connsiteX46" fmla="*/ 16429939 w 20349121"/>
                <a:gd name="connsiteY46" fmla="*/ 3682011 h 6055371"/>
                <a:gd name="connsiteX47" fmla="*/ 15902401 w 20349121"/>
                <a:gd name="connsiteY47" fmla="*/ 3728904 h 6055371"/>
                <a:gd name="connsiteX48" fmla="*/ 15386585 w 20349121"/>
                <a:gd name="connsiteY48" fmla="*/ 3951642 h 6055371"/>
                <a:gd name="connsiteX49" fmla="*/ 14964554 w 20349121"/>
                <a:gd name="connsiteY49" fmla="*/ 4397119 h 6055371"/>
                <a:gd name="connsiteX50" fmla="*/ 14636308 w 20349121"/>
                <a:gd name="connsiteY50" fmla="*/ 4912934 h 6055371"/>
                <a:gd name="connsiteX51" fmla="*/ 14542524 w 20349121"/>
                <a:gd name="connsiteY51" fmla="*/ 5393581 h 6055371"/>
                <a:gd name="connsiteX52" fmla="*/ 14542524 w 20349121"/>
                <a:gd name="connsiteY52" fmla="*/ 5768719 h 6055371"/>
                <a:gd name="connsiteX53" fmla="*/ 14554247 w 20349121"/>
                <a:gd name="connsiteY53" fmla="*/ 5991457 h 6055371"/>
                <a:gd name="connsiteX54" fmla="*/ 14472185 w 20349121"/>
                <a:gd name="connsiteY54" fmla="*/ 6014904 h 6055371"/>
                <a:gd name="connsiteX55" fmla="*/ 14073601 w 20349121"/>
                <a:gd name="connsiteY55" fmla="*/ 6014904 h 6055371"/>
                <a:gd name="connsiteX56" fmla="*/ 11693816 w 20349121"/>
                <a:gd name="connsiteY56" fmla="*/ 6038350 h 6055371"/>
                <a:gd name="connsiteX57" fmla="*/ 7121816 w 20349121"/>
                <a:gd name="connsiteY57" fmla="*/ 6038350 h 6055371"/>
                <a:gd name="connsiteX58" fmla="*/ 5328185 w 20349121"/>
                <a:gd name="connsiteY58" fmla="*/ 6003181 h 6055371"/>
                <a:gd name="connsiteX59" fmla="*/ 5351631 w 20349121"/>
                <a:gd name="connsiteY59" fmla="*/ 5604596 h 6055371"/>
                <a:gd name="connsiteX60" fmla="*/ 5222677 w 20349121"/>
                <a:gd name="connsiteY60" fmla="*/ 4678473 h 6055371"/>
                <a:gd name="connsiteX61" fmla="*/ 4554462 w 20349121"/>
                <a:gd name="connsiteY61" fmla="*/ 3881304 h 6055371"/>
                <a:gd name="connsiteX62" fmla="*/ 3804185 w 20349121"/>
                <a:gd name="connsiteY62" fmla="*/ 3635119 h 6055371"/>
                <a:gd name="connsiteX63" fmla="*/ 2995293 w 20349121"/>
                <a:gd name="connsiteY63" fmla="*/ 3693734 h 6055371"/>
                <a:gd name="connsiteX64" fmla="*/ 2432585 w 20349121"/>
                <a:gd name="connsiteY64" fmla="*/ 3975088 h 6055371"/>
                <a:gd name="connsiteX65" fmla="*/ 1987108 w 20349121"/>
                <a:gd name="connsiteY65" fmla="*/ 4584688 h 6055371"/>
                <a:gd name="connsiteX66" fmla="*/ 1799539 w 20349121"/>
                <a:gd name="connsiteY66" fmla="*/ 5159119 h 6055371"/>
                <a:gd name="connsiteX67" fmla="*/ 1787816 w 20349121"/>
                <a:gd name="connsiteY67" fmla="*/ 5745273 h 6055371"/>
                <a:gd name="connsiteX68" fmla="*/ 1776093 w 20349121"/>
                <a:gd name="connsiteY68" fmla="*/ 5944565 h 6055371"/>
                <a:gd name="connsiteX69" fmla="*/ 1647139 w 20349121"/>
                <a:gd name="connsiteY69" fmla="*/ 5956288 h 6055371"/>
                <a:gd name="connsiteX70" fmla="*/ 709293 w 20349121"/>
                <a:gd name="connsiteY70" fmla="*/ 5932842 h 6055371"/>
                <a:gd name="connsiteX71" fmla="*/ 556893 w 20349121"/>
                <a:gd name="connsiteY71" fmla="*/ 5909396 h 6055371"/>
                <a:gd name="connsiteX72" fmla="*/ 474831 w 20349121"/>
                <a:gd name="connsiteY72" fmla="*/ 5803888 h 6055371"/>
                <a:gd name="connsiteX73" fmla="*/ 404493 w 20349121"/>
                <a:gd name="connsiteY73" fmla="*/ 5745273 h 6055371"/>
                <a:gd name="connsiteX74" fmla="*/ 263816 w 20349121"/>
                <a:gd name="connsiteY74" fmla="*/ 5581150 h 6055371"/>
                <a:gd name="connsiteX75" fmla="*/ 404493 w 20349121"/>
                <a:gd name="connsiteY75" fmla="*/ 5534257 h 6055371"/>
                <a:gd name="connsiteX76" fmla="*/ 334154 w 20349121"/>
                <a:gd name="connsiteY76" fmla="*/ 5428750 h 6055371"/>
                <a:gd name="connsiteX77" fmla="*/ 240370 w 20349121"/>
                <a:gd name="connsiteY77" fmla="*/ 5030165 h 6055371"/>
                <a:gd name="connsiteX78" fmla="*/ 205201 w 20349121"/>
                <a:gd name="connsiteY78" fmla="*/ 4983273 h 6055371"/>
                <a:gd name="connsiteX79" fmla="*/ 76247 w 20349121"/>
                <a:gd name="connsiteY79" fmla="*/ 4971550 h 6055371"/>
                <a:gd name="connsiteX80" fmla="*/ 52801 w 20349121"/>
                <a:gd name="connsiteY80" fmla="*/ 4842596 h 6055371"/>
                <a:gd name="connsiteX81" fmla="*/ 5908 w 20349121"/>
                <a:gd name="connsiteY81" fmla="*/ 4385396 h 6055371"/>
                <a:gd name="connsiteX82" fmla="*/ 17631 w 20349121"/>
                <a:gd name="connsiteY82" fmla="*/ 4315057 h 6055371"/>
                <a:gd name="connsiteX83" fmla="*/ 158308 w 20349121"/>
                <a:gd name="connsiteY83" fmla="*/ 4279888 h 6055371"/>
                <a:gd name="connsiteX84" fmla="*/ 240370 w 20349121"/>
                <a:gd name="connsiteY84" fmla="*/ 4150934 h 6055371"/>
                <a:gd name="connsiteX85" fmla="*/ 205201 w 20349121"/>
                <a:gd name="connsiteY85" fmla="*/ 3963365 h 6055371"/>
                <a:gd name="connsiteX86" fmla="*/ 193477 w 20349121"/>
                <a:gd name="connsiteY86" fmla="*/ 3623396 h 6055371"/>
                <a:gd name="connsiteX87" fmla="*/ 357601 w 20349121"/>
                <a:gd name="connsiteY87" fmla="*/ 3283427 h 6055371"/>
                <a:gd name="connsiteX88" fmla="*/ 1154770 w 20349121"/>
                <a:gd name="connsiteY88" fmla="*/ 2861396 h 6055371"/>
                <a:gd name="connsiteX89" fmla="*/ 2104339 w 20349121"/>
                <a:gd name="connsiteY89" fmla="*/ 2626934 h 6055371"/>
                <a:gd name="connsiteX90" fmla="*/ 3780739 w 20349121"/>
                <a:gd name="connsiteY90" fmla="*/ 2333857 h 6055371"/>
                <a:gd name="connsiteX91" fmla="*/ 5199231 w 20349121"/>
                <a:gd name="connsiteY91" fmla="*/ 2169734 h 6055371"/>
                <a:gd name="connsiteX92" fmla="*/ 5574370 w 20349121"/>
                <a:gd name="connsiteY92" fmla="*/ 2146288 h 6055371"/>
                <a:gd name="connsiteX93" fmla="*/ 5726770 w 20349121"/>
                <a:gd name="connsiteY93" fmla="*/ 2158011 h 6055371"/>
                <a:gd name="connsiteX94" fmla="*/ 5937785 w 20349121"/>
                <a:gd name="connsiteY94" fmla="*/ 2251796 h 6055371"/>
                <a:gd name="connsiteX95" fmla="*/ 5996401 w 20349121"/>
                <a:gd name="connsiteY95" fmla="*/ 2228350 h 605537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222677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8166"/>
                <a:gd name="connsiteY0" fmla="*/ 2228350 h 6050491"/>
                <a:gd name="connsiteX1" fmla="*/ 6899077 w 20348166"/>
                <a:gd name="connsiteY1" fmla="*/ 1700811 h 6050491"/>
                <a:gd name="connsiteX2" fmla="*/ 8212062 w 20348166"/>
                <a:gd name="connsiteY2" fmla="*/ 915365 h 6050491"/>
                <a:gd name="connsiteX3" fmla="*/ 9032677 w 20348166"/>
                <a:gd name="connsiteY3" fmla="*/ 528504 h 6050491"/>
                <a:gd name="connsiteX4" fmla="*/ 9079570 w 20348166"/>
                <a:gd name="connsiteY4" fmla="*/ 469888 h 6050491"/>
                <a:gd name="connsiteX5" fmla="*/ 9220247 w 20348166"/>
                <a:gd name="connsiteY5" fmla="*/ 411273 h 6050491"/>
                <a:gd name="connsiteX6" fmla="*/ 10005693 w 20348166"/>
                <a:gd name="connsiteY6" fmla="*/ 188534 h 6050491"/>
                <a:gd name="connsiteX7" fmla="*/ 11365570 w 20348166"/>
                <a:gd name="connsiteY7" fmla="*/ 47857 h 6050491"/>
                <a:gd name="connsiteX8" fmla="*/ 12948185 w 20348166"/>
                <a:gd name="connsiteY8" fmla="*/ 965 h 6050491"/>
                <a:gd name="connsiteX9" fmla="*/ 14565970 w 20348166"/>
                <a:gd name="connsiteY9" fmla="*/ 83027 h 6050491"/>
                <a:gd name="connsiteX10" fmla="*/ 16054801 w 20348166"/>
                <a:gd name="connsiteY10" fmla="*/ 165088 h 6050491"/>
                <a:gd name="connsiteX11" fmla="*/ 17496739 w 20348166"/>
                <a:gd name="connsiteY11" fmla="*/ 364381 h 6050491"/>
                <a:gd name="connsiteX12" fmla="*/ 18012554 w 20348166"/>
                <a:gd name="connsiteY12" fmla="*/ 481611 h 6050491"/>
                <a:gd name="connsiteX13" fmla="*/ 18352524 w 20348166"/>
                <a:gd name="connsiteY13" fmla="*/ 528504 h 6050491"/>
                <a:gd name="connsiteX14" fmla="*/ 18434585 w 20348166"/>
                <a:gd name="connsiteY14" fmla="*/ 575396 h 6050491"/>
                <a:gd name="connsiteX15" fmla="*/ 18469754 w 20348166"/>
                <a:gd name="connsiteY15" fmla="*/ 634011 h 6050491"/>
                <a:gd name="connsiteX16" fmla="*/ 18903508 w 20348166"/>
                <a:gd name="connsiteY16" fmla="*/ 1091211 h 6050491"/>
                <a:gd name="connsiteX17" fmla="*/ 19560001 w 20348166"/>
                <a:gd name="connsiteY17" fmla="*/ 1853211 h 6050491"/>
                <a:gd name="connsiteX18" fmla="*/ 19665508 w 20348166"/>
                <a:gd name="connsiteY18" fmla="*/ 1993888 h 6050491"/>
                <a:gd name="connsiteX19" fmla="*/ 19864801 w 20348166"/>
                <a:gd name="connsiteY19" fmla="*/ 2099396 h 6050491"/>
                <a:gd name="connsiteX20" fmla="*/ 19946862 w 20348166"/>
                <a:gd name="connsiteY20" fmla="*/ 2228350 h 6050491"/>
                <a:gd name="connsiteX21" fmla="*/ 19911693 w 20348166"/>
                <a:gd name="connsiteY21" fmla="*/ 2415919 h 6050491"/>
                <a:gd name="connsiteX22" fmla="*/ 19923417 w 20348166"/>
                <a:gd name="connsiteY22" fmla="*/ 2779335 h 6050491"/>
                <a:gd name="connsiteX23" fmla="*/ 19888247 w 20348166"/>
                <a:gd name="connsiteY23" fmla="*/ 3060688 h 6050491"/>
                <a:gd name="connsiteX24" fmla="*/ 19993754 w 20348166"/>
                <a:gd name="connsiteY24" fmla="*/ 3271704 h 6050491"/>
                <a:gd name="connsiteX25" fmla="*/ 19982031 w 20348166"/>
                <a:gd name="connsiteY25" fmla="*/ 3447550 h 6050491"/>
                <a:gd name="connsiteX26" fmla="*/ 19935139 w 20348166"/>
                <a:gd name="connsiteY26" fmla="*/ 3635119 h 6050491"/>
                <a:gd name="connsiteX27" fmla="*/ 20134431 w 20348166"/>
                <a:gd name="connsiteY27" fmla="*/ 3705457 h 6050491"/>
                <a:gd name="connsiteX28" fmla="*/ 20275108 w 20348166"/>
                <a:gd name="connsiteY28" fmla="*/ 3752350 h 6050491"/>
                <a:gd name="connsiteX29" fmla="*/ 20345447 w 20348166"/>
                <a:gd name="connsiteY29" fmla="*/ 3846134 h 6050491"/>
                <a:gd name="connsiteX30" fmla="*/ 20333724 w 20348166"/>
                <a:gd name="connsiteY30" fmla="*/ 4010257 h 6050491"/>
                <a:gd name="connsiteX31" fmla="*/ 20333725 w 20348166"/>
                <a:gd name="connsiteY31" fmla="*/ 4209550 h 6050491"/>
                <a:gd name="connsiteX32" fmla="*/ 20275108 w 20348166"/>
                <a:gd name="connsiteY32" fmla="*/ 4397119 h 6050491"/>
                <a:gd name="connsiteX33" fmla="*/ 20169601 w 20348166"/>
                <a:gd name="connsiteY33" fmla="*/ 4432288 h 6050491"/>
                <a:gd name="connsiteX34" fmla="*/ 20087539 w 20348166"/>
                <a:gd name="connsiteY34" fmla="*/ 4748811 h 6050491"/>
                <a:gd name="connsiteX35" fmla="*/ 20064093 w 20348166"/>
                <a:gd name="connsiteY35" fmla="*/ 5182565 h 6050491"/>
                <a:gd name="connsiteX36" fmla="*/ 20157877 w 20348166"/>
                <a:gd name="connsiteY36" fmla="*/ 5475642 h 6050491"/>
                <a:gd name="connsiteX37" fmla="*/ 20052370 w 20348166"/>
                <a:gd name="connsiteY37" fmla="*/ 5510811 h 6050491"/>
                <a:gd name="connsiteX38" fmla="*/ 19548277 w 20348166"/>
                <a:gd name="connsiteY38" fmla="*/ 5534257 h 6050491"/>
                <a:gd name="connsiteX39" fmla="*/ 19454493 w 20348166"/>
                <a:gd name="connsiteY39" fmla="*/ 5756996 h 6050491"/>
                <a:gd name="connsiteX40" fmla="*/ 19290370 w 20348166"/>
                <a:gd name="connsiteY40" fmla="*/ 5780442 h 6050491"/>
                <a:gd name="connsiteX41" fmla="*/ 18223570 w 20348166"/>
                <a:gd name="connsiteY41" fmla="*/ 5768719 h 6050491"/>
                <a:gd name="connsiteX42" fmla="*/ 18223570 w 20348166"/>
                <a:gd name="connsiteY42" fmla="*/ 5581150 h 6050491"/>
                <a:gd name="connsiteX43" fmla="*/ 17989108 w 20348166"/>
                <a:gd name="connsiteY43" fmla="*/ 4725365 h 6050491"/>
                <a:gd name="connsiteX44" fmla="*/ 17602247 w 20348166"/>
                <a:gd name="connsiteY44" fmla="*/ 4162657 h 6050491"/>
                <a:gd name="connsiteX45" fmla="*/ 17145047 w 20348166"/>
                <a:gd name="connsiteY45" fmla="*/ 3857857 h 6050491"/>
                <a:gd name="connsiteX46" fmla="*/ 16429939 w 20348166"/>
                <a:gd name="connsiteY46" fmla="*/ 3682011 h 6050491"/>
                <a:gd name="connsiteX47" fmla="*/ 15902401 w 20348166"/>
                <a:gd name="connsiteY47" fmla="*/ 3728904 h 6050491"/>
                <a:gd name="connsiteX48" fmla="*/ 15386585 w 20348166"/>
                <a:gd name="connsiteY48" fmla="*/ 3951642 h 6050491"/>
                <a:gd name="connsiteX49" fmla="*/ 14964554 w 20348166"/>
                <a:gd name="connsiteY49" fmla="*/ 4397119 h 6050491"/>
                <a:gd name="connsiteX50" fmla="*/ 14636308 w 20348166"/>
                <a:gd name="connsiteY50" fmla="*/ 4912934 h 6050491"/>
                <a:gd name="connsiteX51" fmla="*/ 14542524 w 20348166"/>
                <a:gd name="connsiteY51" fmla="*/ 5393581 h 6050491"/>
                <a:gd name="connsiteX52" fmla="*/ 14542524 w 20348166"/>
                <a:gd name="connsiteY52" fmla="*/ 5768719 h 6050491"/>
                <a:gd name="connsiteX53" fmla="*/ 14554247 w 20348166"/>
                <a:gd name="connsiteY53" fmla="*/ 5991457 h 6050491"/>
                <a:gd name="connsiteX54" fmla="*/ 14472185 w 20348166"/>
                <a:gd name="connsiteY54" fmla="*/ 6014904 h 6050491"/>
                <a:gd name="connsiteX55" fmla="*/ 14073601 w 20348166"/>
                <a:gd name="connsiteY55" fmla="*/ 6014904 h 6050491"/>
                <a:gd name="connsiteX56" fmla="*/ 11693816 w 20348166"/>
                <a:gd name="connsiteY56" fmla="*/ 6038350 h 6050491"/>
                <a:gd name="connsiteX57" fmla="*/ 7121816 w 20348166"/>
                <a:gd name="connsiteY57" fmla="*/ 6038350 h 6050491"/>
                <a:gd name="connsiteX58" fmla="*/ 5328185 w 20348166"/>
                <a:gd name="connsiteY58" fmla="*/ 6003181 h 6050491"/>
                <a:gd name="connsiteX59" fmla="*/ 5351631 w 20348166"/>
                <a:gd name="connsiteY59" fmla="*/ 5604596 h 6050491"/>
                <a:gd name="connsiteX60" fmla="*/ 5187508 w 20348166"/>
                <a:gd name="connsiteY60" fmla="*/ 4678473 h 6050491"/>
                <a:gd name="connsiteX61" fmla="*/ 4613077 w 20348166"/>
                <a:gd name="connsiteY61" fmla="*/ 3939920 h 6050491"/>
                <a:gd name="connsiteX62" fmla="*/ 3804185 w 20348166"/>
                <a:gd name="connsiteY62" fmla="*/ 3635119 h 6050491"/>
                <a:gd name="connsiteX63" fmla="*/ 3077355 w 20348166"/>
                <a:gd name="connsiteY63" fmla="*/ 3693734 h 6050491"/>
                <a:gd name="connsiteX64" fmla="*/ 2479477 w 20348166"/>
                <a:gd name="connsiteY64" fmla="*/ 3998534 h 6050491"/>
                <a:gd name="connsiteX65" fmla="*/ 1987108 w 20348166"/>
                <a:gd name="connsiteY65" fmla="*/ 4584688 h 6050491"/>
                <a:gd name="connsiteX66" fmla="*/ 1799539 w 20348166"/>
                <a:gd name="connsiteY66" fmla="*/ 5159119 h 6050491"/>
                <a:gd name="connsiteX67" fmla="*/ 1787816 w 20348166"/>
                <a:gd name="connsiteY67" fmla="*/ 5745273 h 6050491"/>
                <a:gd name="connsiteX68" fmla="*/ 1776093 w 20348166"/>
                <a:gd name="connsiteY68" fmla="*/ 5944565 h 6050491"/>
                <a:gd name="connsiteX69" fmla="*/ 1647139 w 20348166"/>
                <a:gd name="connsiteY69" fmla="*/ 5956288 h 6050491"/>
                <a:gd name="connsiteX70" fmla="*/ 709293 w 20348166"/>
                <a:gd name="connsiteY70" fmla="*/ 5932842 h 6050491"/>
                <a:gd name="connsiteX71" fmla="*/ 556893 w 20348166"/>
                <a:gd name="connsiteY71" fmla="*/ 5909396 h 6050491"/>
                <a:gd name="connsiteX72" fmla="*/ 474831 w 20348166"/>
                <a:gd name="connsiteY72" fmla="*/ 5803888 h 6050491"/>
                <a:gd name="connsiteX73" fmla="*/ 404493 w 20348166"/>
                <a:gd name="connsiteY73" fmla="*/ 5745273 h 6050491"/>
                <a:gd name="connsiteX74" fmla="*/ 263816 w 20348166"/>
                <a:gd name="connsiteY74" fmla="*/ 5581150 h 6050491"/>
                <a:gd name="connsiteX75" fmla="*/ 404493 w 20348166"/>
                <a:gd name="connsiteY75" fmla="*/ 5534257 h 6050491"/>
                <a:gd name="connsiteX76" fmla="*/ 334154 w 20348166"/>
                <a:gd name="connsiteY76" fmla="*/ 5428750 h 6050491"/>
                <a:gd name="connsiteX77" fmla="*/ 240370 w 20348166"/>
                <a:gd name="connsiteY77" fmla="*/ 5030165 h 6050491"/>
                <a:gd name="connsiteX78" fmla="*/ 205201 w 20348166"/>
                <a:gd name="connsiteY78" fmla="*/ 4983273 h 6050491"/>
                <a:gd name="connsiteX79" fmla="*/ 76247 w 20348166"/>
                <a:gd name="connsiteY79" fmla="*/ 4971550 h 6050491"/>
                <a:gd name="connsiteX80" fmla="*/ 52801 w 20348166"/>
                <a:gd name="connsiteY80" fmla="*/ 4842596 h 6050491"/>
                <a:gd name="connsiteX81" fmla="*/ 5908 w 20348166"/>
                <a:gd name="connsiteY81" fmla="*/ 4385396 h 6050491"/>
                <a:gd name="connsiteX82" fmla="*/ 17631 w 20348166"/>
                <a:gd name="connsiteY82" fmla="*/ 4315057 h 6050491"/>
                <a:gd name="connsiteX83" fmla="*/ 158308 w 20348166"/>
                <a:gd name="connsiteY83" fmla="*/ 4279888 h 6050491"/>
                <a:gd name="connsiteX84" fmla="*/ 240370 w 20348166"/>
                <a:gd name="connsiteY84" fmla="*/ 4150934 h 6050491"/>
                <a:gd name="connsiteX85" fmla="*/ 205201 w 20348166"/>
                <a:gd name="connsiteY85" fmla="*/ 3963365 h 6050491"/>
                <a:gd name="connsiteX86" fmla="*/ 193477 w 20348166"/>
                <a:gd name="connsiteY86" fmla="*/ 3623396 h 6050491"/>
                <a:gd name="connsiteX87" fmla="*/ 357601 w 20348166"/>
                <a:gd name="connsiteY87" fmla="*/ 3283427 h 6050491"/>
                <a:gd name="connsiteX88" fmla="*/ 1154770 w 20348166"/>
                <a:gd name="connsiteY88" fmla="*/ 2861396 h 6050491"/>
                <a:gd name="connsiteX89" fmla="*/ 2104339 w 20348166"/>
                <a:gd name="connsiteY89" fmla="*/ 2626934 h 6050491"/>
                <a:gd name="connsiteX90" fmla="*/ 3780739 w 20348166"/>
                <a:gd name="connsiteY90" fmla="*/ 2333857 h 6050491"/>
                <a:gd name="connsiteX91" fmla="*/ 5199231 w 20348166"/>
                <a:gd name="connsiteY91" fmla="*/ 2169734 h 6050491"/>
                <a:gd name="connsiteX92" fmla="*/ 5574370 w 20348166"/>
                <a:gd name="connsiteY92" fmla="*/ 2146288 h 6050491"/>
                <a:gd name="connsiteX93" fmla="*/ 5726770 w 20348166"/>
                <a:gd name="connsiteY93" fmla="*/ 2158011 h 6050491"/>
                <a:gd name="connsiteX94" fmla="*/ 5937785 w 20348166"/>
                <a:gd name="connsiteY94" fmla="*/ 2251796 h 6050491"/>
                <a:gd name="connsiteX95" fmla="*/ 5996401 w 20348166"/>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12554 w 20358094"/>
                <a:gd name="connsiteY12" fmla="*/ 481611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36001 w 20358094"/>
                <a:gd name="connsiteY12" fmla="*/ 469888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49690"/>
                <a:gd name="connsiteX1" fmla="*/ 6899077 w 20358094"/>
                <a:gd name="connsiteY1" fmla="*/ 1700811 h 6049690"/>
                <a:gd name="connsiteX2" fmla="*/ 8212062 w 20358094"/>
                <a:gd name="connsiteY2" fmla="*/ 915365 h 6049690"/>
                <a:gd name="connsiteX3" fmla="*/ 9032677 w 20358094"/>
                <a:gd name="connsiteY3" fmla="*/ 528504 h 6049690"/>
                <a:gd name="connsiteX4" fmla="*/ 9079570 w 20358094"/>
                <a:gd name="connsiteY4" fmla="*/ 469888 h 6049690"/>
                <a:gd name="connsiteX5" fmla="*/ 9220247 w 20358094"/>
                <a:gd name="connsiteY5" fmla="*/ 411273 h 6049690"/>
                <a:gd name="connsiteX6" fmla="*/ 10005693 w 20358094"/>
                <a:gd name="connsiteY6" fmla="*/ 188534 h 6049690"/>
                <a:gd name="connsiteX7" fmla="*/ 11365570 w 20358094"/>
                <a:gd name="connsiteY7" fmla="*/ 47857 h 6049690"/>
                <a:gd name="connsiteX8" fmla="*/ 12948185 w 20358094"/>
                <a:gd name="connsiteY8" fmla="*/ 965 h 6049690"/>
                <a:gd name="connsiteX9" fmla="*/ 14565970 w 20358094"/>
                <a:gd name="connsiteY9" fmla="*/ 83027 h 6049690"/>
                <a:gd name="connsiteX10" fmla="*/ 16054801 w 20358094"/>
                <a:gd name="connsiteY10" fmla="*/ 165088 h 6049690"/>
                <a:gd name="connsiteX11" fmla="*/ 17496739 w 20358094"/>
                <a:gd name="connsiteY11" fmla="*/ 364381 h 6049690"/>
                <a:gd name="connsiteX12" fmla="*/ 18036001 w 20358094"/>
                <a:gd name="connsiteY12" fmla="*/ 469888 h 6049690"/>
                <a:gd name="connsiteX13" fmla="*/ 18352524 w 20358094"/>
                <a:gd name="connsiteY13" fmla="*/ 528504 h 6049690"/>
                <a:gd name="connsiteX14" fmla="*/ 18434585 w 20358094"/>
                <a:gd name="connsiteY14" fmla="*/ 575396 h 6049690"/>
                <a:gd name="connsiteX15" fmla="*/ 18469754 w 20358094"/>
                <a:gd name="connsiteY15" fmla="*/ 634011 h 6049690"/>
                <a:gd name="connsiteX16" fmla="*/ 18903508 w 20358094"/>
                <a:gd name="connsiteY16" fmla="*/ 1091211 h 6049690"/>
                <a:gd name="connsiteX17" fmla="*/ 19560001 w 20358094"/>
                <a:gd name="connsiteY17" fmla="*/ 1853211 h 6049690"/>
                <a:gd name="connsiteX18" fmla="*/ 19665508 w 20358094"/>
                <a:gd name="connsiteY18" fmla="*/ 1993888 h 6049690"/>
                <a:gd name="connsiteX19" fmla="*/ 19864801 w 20358094"/>
                <a:gd name="connsiteY19" fmla="*/ 2099396 h 6049690"/>
                <a:gd name="connsiteX20" fmla="*/ 19946862 w 20358094"/>
                <a:gd name="connsiteY20" fmla="*/ 2228350 h 6049690"/>
                <a:gd name="connsiteX21" fmla="*/ 19911693 w 20358094"/>
                <a:gd name="connsiteY21" fmla="*/ 2415919 h 6049690"/>
                <a:gd name="connsiteX22" fmla="*/ 19923417 w 20358094"/>
                <a:gd name="connsiteY22" fmla="*/ 2779335 h 6049690"/>
                <a:gd name="connsiteX23" fmla="*/ 19888247 w 20358094"/>
                <a:gd name="connsiteY23" fmla="*/ 3060688 h 6049690"/>
                <a:gd name="connsiteX24" fmla="*/ 19993754 w 20358094"/>
                <a:gd name="connsiteY24" fmla="*/ 3271704 h 6049690"/>
                <a:gd name="connsiteX25" fmla="*/ 19982031 w 20358094"/>
                <a:gd name="connsiteY25" fmla="*/ 3447550 h 6049690"/>
                <a:gd name="connsiteX26" fmla="*/ 19935139 w 20358094"/>
                <a:gd name="connsiteY26" fmla="*/ 3635119 h 6049690"/>
                <a:gd name="connsiteX27" fmla="*/ 20134431 w 20358094"/>
                <a:gd name="connsiteY27" fmla="*/ 3705457 h 6049690"/>
                <a:gd name="connsiteX28" fmla="*/ 20275108 w 20358094"/>
                <a:gd name="connsiteY28" fmla="*/ 3752350 h 6049690"/>
                <a:gd name="connsiteX29" fmla="*/ 20345447 w 20358094"/>
                <a:gd name="connsiteY29" fmla="*/ 3846134 h 6049690"/>
                <a:gd name="connsiteX30" fmla="*/ 20357170 w 20358094"/>
                <a:gd name="connsiteY30" fmla="*/ 4010257 h 6049690"/>
                <a:gd name="connsiteX31" fmla="*/ 20333725 w 20358094"/>
                <a:gd name="connsiteY31" fmla="*/ 4209550 h 6049690"/>
                <a:gd name="connsiteX32" fmla="*/ 20275108 w 20358094"/>
                <a:gd name="connsiteY32" fmla="*/ 4397119 h 6049690"/>
                <a:gd name="connsiteX33" fmla="*/ 20169601 w 20358094"/>
                <a:gd name="connsiteY33" fmla="*/ 4432288 h 6049690"/>
                <a:gd name="connsiteX34" fmla="*/ 20087539 w 20358094"/>
                <a:gd name="connsiteY34" fmla="*/ 4748811 h 6049690"/>
                <a:gd name="connsiteX35" fmla="*/ 20064093 w 20358094"/>
                <a:gd name="connsiteY35" fmla="*/ 5182565 h 6049690"/>
                <a:gd name="connsiteX36" fmla="*/ 20157877 w 20358094"/>
                <a:gd name="connsiteY36" fmla="*/ 5475642 h 6049690"/>
                <a:gd name="connsiteX37" fmla="*/ 20052370 w 20358094"/>
                <a:gd name="connsiteY37" fmla="*/ 5510811 h 6049690"/>
                <a:gd name="connsiteX38" fmla="*/ 19548277 w 20358094"/>
                <a:gd name="connsiteY38" fmla="*/ 5534257 h 6049690"/>
                <a:gd name="connsiteX39" fmla="*/ 19454493 w 20358094"/>
                <a:gd name="connsiteY39" fmla="*/ 5756996 h 6049690"/>
                <a:gd name="connsiteX40" fmla="*/ 19290370 w 20358094"/>
                <a:gd name="connsiteY40" fmla="*/ 5780442 h 6049690"/>
                <a:gd name="connsiteX41" fmla="*/ 18223570 w 20358094"/>
                <a:gd name="connsiteY41" fmla="*/ 5768719 h 6049690"/>
                <a:gd name="connsiteX42" fmla="*/ 18223570 w 20358094"/>
                <a:gd name="connsiteY42" fmla="*/ 5581150 h 6049690"/>
                <a:gd name="connsiteX43" fmla="*/ 17989108 w 20358094"/>
                <a:gd name="connsiteY43" fmla="*/ 4725365 h 6049690"/>
                <a:gd name="connsiteX44" fmla="*/ 17602247 w 20358094"/>
                <a:gd name="connsiteY44" fmla="*/ 4162657 h 6049690"/>
                <a:gd name="connsiteX45" fmla="*/ 17145047 w 20358094"/>
                <a:gd name="connsiteY45" fmla="*/ 3857857 h 6049690"/>
                <a:gd name="connsiteX46" fmla="*/ 16429939 w 20358094"/>
                <a:gd name="connsiteY46" fmla="*/ 3682011 h 6049690"/>
                <a:gd name="connsiteX47" fmla="*/ 15902401 w 20358094"/>
                <a:gd name="connsiteY47" fmla="*/ 3728904 h 6049690"/>
                <a:gd name="connsiteX48" fmla="*/ 15386585 w 20358094"/>
                <a:gd name="connsiteY48" fmla="*/ 3951642 h 6049690"/>
                <a:gd name="connsiteX49" fmla="*/ 14964554 w 20358094"/>
                <a:gd name="connsiteY49" fmla="*/ 4397119 h 6049690"/>
                <a:gd name="connsiteX50" fmla="*/ 14636308 w 20358094"/>
                <a:gd name="connsiteY50" fmla="*/ 4912934 h 6049690"/>
                <a:gd name="connsiteX51" fmla="*/ 14542524 w 20358094"/>
                <a:gd name="connsiteY51" fmla="*/ 5393581 h 6049690"/>
                <a:gd name="connsiteX52" fmla="*/ 14542524 w 20358094"/>
                <a:gd name="connsiteY52" fmla="*/ 5768719 h 6049690"/>
                <a:gd name="connsiteX53" fmla="*/ 14554247 w 20358094"/>
                <a:gd name="connsiteY53" fmla="*/ 5991457 h 6049690"/>
                <a:gd name="connsiteX54" fmla="*/ 14472185 w 20358094"/>
                <a:gd name="connsiteY54" fmla="*/ 6014904 h 6049690"/>
                <a:gd name="connsiteX55" fmla="*/ 14073601 w 20358094"/>
                <a:gd name="connsiteY55" fmla="*/ 6014904 h 6049690"/>
                <a:gd name="connsiteX56" fmla="*/ 11693816 w 20358094"/>
                <a:gd name="connsiteY56" fmla="*/ 6038350 h 6049690"/>
                <a:gd name="connsiteX57" fmla="*/ 7121816 w 20358094"/>
                <a:gd name="connsiteY57" fmla="*/ 6038350 h 6049690"/>
                <a:gd name="connsiteX58" fmla="*/ 5328185 w 20358094"/>
                <a:gd name="connsiteY58" fmla="*/ 6003181 h 6049690"/>
                <a:gd name="connsiteX59" fmla="*/ 5375077 w 20358094"/>
                <a:gd name="connsiteY59" fmla="*/ 5545980 h 6049690"/>
                <a:gd name="connsiteX60" fmla="*/ 5187508 w 20358094"/>
                <a:gd name="connsiteY60" fmla="*/ 4678473 h 6049690"/>
                <a:gd name="connsiteX61" fmla="*/ 4613077 w 20358094"/>
                <a:gd name="connsiteY61" fmla="*/ 3939920 h 6049690"/>
                <a:gd name="connsiteX62" fmla="*/ 3804185 w 20358094"/>
                <a:gd name="connsiteY62" fmla="*/ 3635119 h 6049690"/>
                <a:gd name="connsiteX63" fmla="*/ 3077355 w 20358094"/>
                <a:gd name="connsiteY63" fmla="*/ 3693734 h 6049690"/>
                <a:gd name="connsiteX64" fmla="*/ 2479477 w 20358094"/>
                <a:gd name="connsiteY64" fmla="*/ 3998534 h 6049690"/>
                <a:gd name="connsiteX65" fmla="*/ 1987108 w 20358094"/>
                <a:gd name="connsiteY65" fmla="*/ 4584688 h 6049690"/>
                <a:gd name="connsiteX66" fmla="*/ 1799539 w 20358094"/>
                <a:gd name="connsiteY66" fmla="*/ 5159119 h 6049690"/>
                <a:gd name="connsiteX67" fmla="*/ 1787816 w 20358094"/>
                <a:gd name="connsiteY67" fmla="*/ 5745273 h 6049690"/>
                <a:gd name="connsiteX68" fmla="*/ 1776093 w 20358094"/>
                <a:gd name="connsiteY68" fmla="*/ 5944565 h 6049690"/>
                <a:gd name="connsiteX69" fmla="*/ 1647139 w 20358094"/>
                <a:gd name="connsiteY69" fmla="*/ 5956288 h 6049690"/>
                <a:gd name="connsiteX70" fmla="*/ 709293 w 20358094"/>
                <a:gd name="connsiteY70" fmla="*/ 5932842 h 6049690"/>
                <a:gd name="connsiteX71" fmla="*/ 556893 w 20358094"/>
                <a:gd name="connsiteY71" fmla="*/ 5909396 h 6049690"/>
                <a:gd name="connsiteX72" fmla="*/ 474831 w 20358094"/>
                <a:gd name="connsiteY72" fmla="*/ 5803888 h 6049690"/>
                <a:gd name="connsiteX73" fmla="*/ 404493 w 20358094"/>
                <a:gd name="connsiteY73" fmla="*/ 5745273 h 6049690"/>
                <a:gd name="connsiteX74" fmla="*/ 263816 w 20358094"/>
                <a:gd name="connsiteY74" fmla="*/ 5581150 h 6049690"/>
                <a:gd name="connsiteX75" fmla="*/ 404493 w 20358094"/>
                <a:gd name="connsiteY75" fmla="*/ 5534257 h 6049690"/>
                <a:gd name="connsiteX76" fmla="*/ 334154 w 20358094"/>
                <a:gd name="connsiteY76" fmla="*/ 5428750 h 6049690"/>
                <a:gd name="connsiteX77" fmla="*/ 240370 w 20358094"/>
                <a:gd name="connsiteY77" fmla="*/ 5030165 h 6049690"/>
                <a:gd name="connsiteX78" fmla="*/ 205201 w 20358094"/>
                <a:gd name="connsiteY78" fmla="*/ 4983273 h 6049690"/>
                <a:gd name="connsiteX79" fmla="*/ 76247 w 20358094"/>
                <a:gd name="connsiteY79" fmla="*/ 4971550 h 6049690"/>
                <a:gd name="connsiteX80" fmla="*/ 52801 w 20358094"/>
                <a:gd name="connsiteY80" fmla="*/ 4842596 h 6049690"/>
                <a:gd name="connsiteX81" fmla="*/ 5908 w 20358094"/>
                <a:gd name="connsiteY81" fmla="*/ 4385396 h 6049690"/>
                <a:gd name="connsiteX82" fmla="*/ 17631 w 20358094"/>
                <a:gd name="connsiteY82" fmla="*/ 4315057 h 6049690"/>
                <a:gd name="connsiteX83" fmla="*/ 158308 w 20358094"/>
                <a:gd name="connsiteY83" fmla="*/ 4279888 h 6049690"/>
                <a:gd name="connsiteX84" fmla="*/ 240370 w 20358094"/>
                <a:gd name="connsiteY84" fmla="*/ 4150934 h 6049690"/>
                <a:gd name="connsiteX85" fmla="*/ 205201 w 20358094"/>
                <a:gd name="connsiteY85" fmla="*/ 3963365 h 6049690"/>
                <a:gd name="connsiteX86" fmla="*/ 193477 w 20358094"/>
                <a:gd name="connsiteY86" fmla="*/ 3623396 h 6049690"/>
                <a:gd name="connsiteX87" fmla="*/ 357601 w 20358094"/>
                <a:gd name="connsiteY87" fmla="*/ 3283427 h 6049690"/>
                <a:gd name="connsiteX88" fmla="*/ 1154770 w 20358094"/>
                <a:gd name="connsiteY88" fmla="*/ 2861396 h 6049690"/>
                <a:gd name="connsiteX89" fmla="*/ 2104339 w 20358094"/>
                <a:gd name="connsiteY89" fmla="*/ 2626934 h 6049690"/>
                <a:gd name="connsiteX90" fmla="*/ 3780739 w 20358094"/>
                <a:gd name="connsiteY90" fmla="*/ 2333857 h 6049690"/>
                <a:gd name="connsiteX91" fmla="*/ 5199231 w 20358094"/>
                <a:gd name="connsiteY91" fmla="*/ 2169734 h 6049690"/>
                <a:gd name="connsiteX92" fmla="*/ 5574370 w 20358094"/>
                <a:gd name="connsiteY92" fmla="*/ 2146288 h 6049690"/>
                <a:gd name="connsiteX93" fmla="*/ 5726770 w 20358094"/>
                <a:gd name="connsiteY93" fmla="*/ 2158011 h 6049690"/>
                <a:gd name="connsiteX94" fmla="*/ 5937785 w 20358094"/>
                <a:gd name="connsiteY94" fmla="*/ 2251796 h 6049690"/>
                <a:gd name="connsiteX95" fmla="*/ 5996401 w 20358094"/>
                <a:gd name="connsiteY95" fmla="*/ 2228350 h 6049690"/>
                <a:gd name="connsiteX0" fmla="*/ 5996401 w 20358094"/>
                <a:gd name="connsiteY0" fmla="*/ 2228350 h 6054551"/>
                <a:gd name="connsiteX1" fmla="*/ 6899077 w 20358094"/>
                <a:gd name="connsiteY1" fmla="*/ 1700811 h 6054551"/>
                <a:gd name="connsiteX2" fmla="*/ 8212062 w 20358094"/>
                <a:gd name="connsiteY2" fmla="*/ 915365 h 6054551"/>
                <a:gd name="connsiteX3" fmla="*/ 9032677 w 20358094"/>
                <a:gd name="connsiteY3" fmla="*/ 528504 h 6054551"/>
                <a:gd name="connsiteX4" fmla="*/ 9079570 w 20358094"/>
                <a:gd name="connsiteY4" fmla="*/ 469888 h 6054551"/>
                <a:gd name="connsiteX5" fmla="*/ 9220247 w 20358094"/>
                <a:gd name="connsiteY5" fmla="*/ 411273 h 6054551"/>
                <a:gd name="connsiteX6" fmla="*/ 10005693 w 20358094"/>
                <a:gd name="connsiteY6" fmla="*/ 188534 h 6054551"/>
                <a:gd name="connsiteX7" fmla="*/ 11365570 w 20358094"/>
                <a:gd name="connsiteY7" fmla="*/ 47857 h 6054551"/>
                <a:gd name="connsiteX8" fmla="*/ 12948185 w 20358094"/>
                <a:gd name="connsiteY8" fmla="*/ 965 h 6054551"/>
                <a:gd name="connsiteX9" fmla="*/ 14565970 w 20358094"/>
                <a:gd name="connsiteY9" fmla="*/ 83027 h 6054551"/>
                <a:gd name="connsiteX10" fmla="*/ 16054801 w 20358094"/>
                <a:gd name="connsiteY10" fmla="*/ 165088 h 6054551"/>
                <a:gd name="connsiteX11" fmla="*/ 17496739 w 20358094"/>
                <a:gd name="connsiteY11" fmla="*/ 364381 h 6054551"/>
                <a:gd name="connsiteX12" fmla="*/ 18036001 w 20358094"/>
                <a:gd name="connsiteY12" fmla="*/ 469888 h 6054551"/>
                <a:gd name="connsiteX13" fmla="*/ 18352524 w 20358094"/>
                <a:gd name="connsiteY13" fmla="*/ 528504 h 6054551"/>
                <a:gd name="connsiteX14" fmla="*/ 18434585 w 20358094"/>
                <a:gd name="connsiteY14" fmla="*/ 575396 h 6054551"/>
                <a:gd name="connsiteX15" fmla="*/ 18469754 w 20358094"/>
                <a:gd name="connsiteY15" fmla="*/ 634011 h 6054551"/>
                <a:gd name="connsiteX16" fmla="*/ 18903508 w 20358094"/>
                <a:gd name="connsiteY16" fmla="*/ 1091211 h 6054551"/>
                <a:gd name="connsiteX17" fmla="*/ 19560001 w 20358094"/>
                <a:gd name="connsiteY17" fmla="*/ 1853211 h 6054551"/>
                <a:gd name="connsiteX18" fmla="*/ 19665508 w 20358094"/>
                <a:gd name="connsiteY18" fmla="*/ 1993888 h 6054551"/>
                <a:gd name="connsiteX19" fmla="*/ 19864801 w 20358094"/>
                <a:gd name="connsiteY19" fmla="*/ 2099396 h 6054551"/>
                <a:gd name="connsiteX20" fmla="*/ 19946862 w 20358094"/>
                <a:gd name="connsiteY20" fmla="*/ 2228350 h 6054551"/>
                <a:gd name="connsiteX21" fmla="*/ 19911693 w 20358094"/>
                <a:gd name="connsiteY21" fmla="*/ 2415919 h 6054551"/>
                <a:gd name="connsiteX22" fmla="*/ 19923417 w 20358094"/>
                <a:gd name="connsiteY22" fmla="*/ 2779335 h 6054551"/>
                <a:gd name="connsiteX23" fmla="*/ 19888247 w 20358094"/>
                <a:gd name="connsiteY23" fmla="*/ 3060688 h 6054551"/>
                <a:gd name="connsiteX24" fmla="*/ 19993754 w 20358094"/>
                <a:gd name="connsiteY24" fmla="*/ 3271704 h 6054551"/>
                <a:gd name="connsiteX25" fmla="*/ 19982031 w 20358094"/>
                <a:gd name="connsiteY25" fmla="*/ 3447550 h 6054551"/>
                <a:gd name="connsiteX26" fmla="*/ 19935139 w 20358094"/>
                <a:gd name="connsiteY26" fmla="*/ 3635119 h 6054551"/>
                <a:gd name="connsiteX27" fmla="*/ 20134431 w 20358094"/>
                <a:gd name="connsiteY27" fmla="*/ 3705457 h 6054551"/>
                <a:gd name="connsiteX28" fmla="*/ 20275108 w 20358094"/>
                <a:gd name="connsiteY28" fmla="*/ 3752350 h 6054551"/>
                <a:gd name="connsiteX29" fmla="*/ 20345447 w 20358094"/>
                <a:gd name="connsiteY29" fmla="*/ 3846134 h 6054551"/>
                <a:gd name="connsiteX30" fmla="*/ 20357170 w 20358094"/>
                <a:gd name="connsiteY30" fmla="*/ 4010257 h 6054551"/>
                <a:gd name="connsiteX31" fmla="*/ 20333725 w 20358094"/>
                <a:gd name="connsiteY31" fmla="*/ 4209550 h 6054551"/>
                <a:gd name="connsiteX32" fmla="*/ 20275108 w 20358094"/>
                <a:gd name="connsiteY32" fmla="*/ 4397119 h 6054551"/>
                <a:gd name="connsiteX33" fmla="*/ 20169601 w 20358094"/>
                <a:gd name="connsiteY33" fmla="*/ 4432288 h 6054551"/>
                <a:gd name="connsiteX34" fmla="*/ 20087539 w 20358094"/>
                <a:gd name="connsiteY34" fmla="*/ 4748811 h 6054551"/>
                <a:gd name="connsiteX35" fmla="*/ 20064093 w 20358094"/>
                <a:gd name="connsiteY35" fmla="*/ 5182565 h 6054551"/>
                <a:gd name="connsiteX36" fmla="*/ 20157877 w 20358094"/>
                <a:gd name="connsiteY36" fmla="*/ 5475642 h 6054551"/>
                <a:gd name="connsiteX37" fmla="*/ 20052370 w 20358094"/>
                <a:gd name="connsiteY37" fmla="*/ 5510811 h 6054551"/>
                <a:gd name="connsiteX38" fmla="*/ 19548277 w 20358094"/>
                <a:gd name="connsiteY38" fmla="*/ 5534257 h 6054551"/>
                <a:gd name="connsiteX39" fmla="*/ 19454493 w 20358094"/>
                <a:gd name="connsiteY39" fmla="*/ 5756996 h 6054551"/>
                <a:gd name="connsiteX40" fmla="*/ 19290370 w 20358094"/>
                <a:gd name="connsiteY40" fmla="*/ 5780442 h 6054551"/>
                <a:gd name="connsiteX41" fmla="*/ 18223570 w 20358094"/>
                <a:gd name="connsiteY41" fmla="*/ 5768719 h 6054551"/>
                <a:gd name="connsiteX42" fmla="*/ 18223570 w 20358094"/>
                <a:gd name="connsiteY42" fmla="*/ 5581150 h 6054551"/>
                <a:gd name="connsiteX43" fmla="*/ 17989108 w 20358094"/>
                <a:gd name="connsiteY43" fmla="*/ 4725365 h 6054551"/>
                <a:gd name="connsiteX44" fmla="*/ 17602247 w 20358094"/>
                <a:gd name="connsiteY44" fmla="*/ 4162657 h 6054551"/>
                <a:gd name="connsiteX45" fmla="*/ 17145047 w 20358094"/>
                <a:gd name="connsiteY45" fmla="*/ 3857857 h 6054551"/>
                <a:gd name="connsiteX46" fmla="*/ 16429939 w 20358094"/>
                <a:gd name="connsiteY46" fmla="*/ 3682011 h 6054551"/>
                <a:gd name="connsiteX47" fmla="*/ 15902401 w 20358094"/>
                <a:gd name="connsiteY47" fmla="*/ 3728904 h 6054551"/>
                <a:gd name="connsiteX48" fmla="*/ 15386585 w 20358094"/>
                <a:gd name="connsiteY48" fmla="*/ 3951642 h 6054551"/>
                <a:gd name="connsiteX49" fmla="*/ 14964554 w 20358094"/>
                <a:gd name="connsiteY49" fmla="*/ 4397119 h 6054551"/>
                <a:gd name="connsiteX50" fmla="*/ 14636308 w 20358094"/>
                <a:gd name="connsiteY50" fmla="*/ 4912934 h 6054551"/>
                <a:gd name="connsiteX51" fmla="*/ 14542524 w 20358094"/>
                <a:gd name="connsiteY51" fmla="*/ 5393581 h 6054551"/>
                <a:gd name="connsiteX52" fmla="*/ 14542524 w 20358094"/>
                <a:gd name="connsiteY52" fmla="*/ 5768719 h 6054551"/>
                <a:gd name="connsiteX53" fmla="*/ 14554247 w 20358094"/>
                <a:gd name="connsiteY53" fmla="*/ 5991457 h 6054551"/>
                <a:gd name="connsiteX54" fmla="*/ 14472185 w 20358094"/>
                <a:gd name="connsiteY54" fmla="*/ 6014904 h 6054551"/>
                <a:gd name="connsiteX55" fmla="*/ 14073601 w 20358094"/>
                <a:gd name="connsiteY55" fmla="*/ 6014904 h 6054551"/>
                <a:gd name="connsiteX56" fmla="*/ 11693816 w 20358094"/>
                <a:gd name="connsiteY56" fmla="*/ 6038350 h 6054551"/>
                <a:gd name="connsiteX57" fmla="*/ 7121816 w 20358094"/>
                <a:gd name="connsiteY57" fmla="*/ 6038350 h 6054551"/>
                <a:gd name="connsiteX58" fmla="*/ 5328185 w 20358094"/>
                <a:gd name="connsiteY58" fmla="*/ 6003181 h 6054551"/>
                <a:gd name="connsiteX59" fmla="*/ 5375077 w 20358094"/>
                <a:gd name="connsiteY59" fmla="*/ 5545980 h 6054551"/>
                <a:gd name="connsiteX60" fmla="*/ 5187508 w 20358094"/>
                <a:gd name="connsiteY60" fmla="*/ 4678473 h 6054551"/>
                <a:gd name="connsiteX61" fmla="*/ 4613077 w 20358094"/>
                <a:gd name="connsiteY61" fmla="*/ 3939920 h 6054551"/>
                <a:gd name="connsiteX62" fmla="*/ 3804185 w 20358094"/>
                <a:gd name="connsiteY62" fmla="*/ 3635119 h 6054551"/>
                <a:gd name="connsiteX63" fmla="*/ 3077355 w 20358094"/>
                <a:gd name="connsiteY63" fmla="*/ 3693734 h 6054551"/>
                <a:gd name="connsiteX64" fmla="*/ 2479477 w 20358094"/>
                <a:gd name="connsiteY64" fmla="*/ 3998534 h 6054551"/>
                <a:gd name="connsiteX65" fmla="*/ 1987108 w 20358094"/>
                <a:gd name="connsiteY65" fmla="*/ 4584688 h 6054551"/>
                <a:gd name="connsiteX66" fmla="*/ 1799539 w 20358094"/>
                <a:gd name="connsiteY66" fmla="*/ 5159119 h 6054551"/>
                <a:gd name="connsiteX67" fmla="*/ 1787816 w 20358094"/>
                <a:gd name="connsiteY67" fmla="*/ 5745273 h 6054551"/>
                <a:gd name="connsiteX68" fmla="*/ 1776093 w 20358094"/>
                <a:gd name="connsiteY68" fmla="*/ 5944565 h 6054551"/>
                <a:gd name="connsiteX69" fmla="*/ 1647139 w 20358094"/>
                <a:gd name="connsiteY69" fmla="*/ 5956288 h 6054551"/>
                <a:gd name="connsiteX70" fmla="*/ 709293 w 20358094"/>
                <a:gd name="connsiteY70" fmla="*/ 5932842 h 6054551"/>
                <a:gd name="connsiteX71" fmla="*/ 556893 w 20358094"/>
                <a:gd name="connsiteY71" fmla="*/ 5909396 h 6054551"/>
                <a:gd name="connsiteX72" fmla="*/ 474831 w 20358094"/>
                <a:gd name="connsiteY72" fmla="*/ 5803888 h 6054551"/>
                <a:gd name="connsiteX73" fmla="*/ 404493 w 20358094"/>
                <a:gd name="connsiteY73" fmla="*/ 5745273 h 6054551"/>
                <a:gd name="connsiteX74" fmla="*/ 263816 w 20358094"/>
                <a:gd name="connsiteY74" fmla="*/ 5581150 h 6054551"/>
                <a:gd name="connsiteX75" fmla="*/ 404493 w 20358094"/>
                <a:gd name="connsiteY75" fmla="*/ 5534257 h 6054551"/>
                <a:gd name="connsiteX76" fmla="*/ 334154 w 20358094"/>
                <a:gd name="connsiteY76" fmla="*/ 5428750 h 6054551"/>
                <a:gd name="connsiteX77" fmla="*/ 240370 w 20358094"/>
                <a:gd name="connsiteY77" fmla="*/ 5030165 h 6054551"/>
                <a:gd name="connsiteX78" fmla="*/ 205201 w 20358094"/>
                <a:gd name="connsiteY78" fmla="*/ 4983273 h 6054551"/>
                <a:gd name="connsiteX79" fmla="*/ 76247 w 20358094"/>
                <a:gd name="connsiteY79" fmla="*/ 4971550 h 6054551"/>
                <a:gd name="connsiteX80" fmla="*/ 52801 w 20358094"/>
                <a:gd name="connsiteY80" fmla="*/ 4842596 h 6054551"/>
                <a:gd name="connsiteX81" fmla="*/ 5908 w 20358094"/>
                <a:gd name="connsiteY81" fmla="*/ 4385396 h 6054551"/>
                <a:gd name="connsiteX82" fmla="*/ 17631 w 20358094"/>
                <a:gd name="connsiteY82" fmla="*/ 4315057 h 6054551"/>
                <a:gd name="connsiteX83" fmla="*/ 158308 w 20358094"/>
                <a:gd name="connsiteY83" fmla="*/ 4279888 h 6054551"/>
                <a:gd name="connsiteX84" fmla="*/ 240370 w 20358094"/>
                <a:gd name="connsiteY84" fmla="*/ 4150934 h 6054551"/>
                <a:gd name="connsiteX85" fmla="*/ 205201 w 20358094"/>
                <a:gd name="connsiteY85" fmla="*/ 3963365 h 6054551"/>
                <a:gd name="connsiteX86" fmla="*/ 193477 w 20358094"/>
                <a:gd name="connsiteY86" fmla="*/ 3623396 h 6054551"/>
                <a:gd name="connsiteX87" fmla="*/ 357601 w 20358094"/>
                <a:gd name="connsiteY87" fmla="*/ 3283427 h 6054551"/>
                <a:gd name="connsiteX88" fmla="*/ 1154770 w 20358094"/>
                <a:gd name="connsiteY88" fmla="*/ 2861396 h 6054551"/>
                <a:gd name="connsiteX89" fmla="*/ 2104339 w 20358094"/>
                <a:gd name="connsiteY89" fmla="*/ 2626934 h 6054551"/>
                <a:gd name="connsiteX90" fmla="*/ 3780739 w 20358094"/>
                <a:gd name="connsiteY90" fmla="*/ 2333857 h 6054551"/>
                <a:gd name="connsiteX91" fmla="*/ 5199231 w 20358094"/>
                <a:gd name="connsiteY91" fmla="*/ 2169734 h 6054551"/>
                <a:gd name="connsiteX92" fmla="*/ 5574370 w 20358094"/>
                <a:gd name="connsiteY92" fmla="*/ 2146288 h 6054551"/>
                <a:gd name="connsiteX93" fmla="*/ 5726770 w 20358094"/>
                <a:gd name="connsiteY93" fmla="*/ 2158011 h 6054551"/>
                <a:gd name="connsiteX94" fmla="*/ 5937785 w 20358094"/>
                <a:gd name="connsiteY94" fmla="*/ 2251796 h 6054551"/>
                <a:gd name="connsiteX95" fmla="*/ 5996401 w 20358094"/>
                <a:gd name="connsiteY95" fmla="*/ 2228350 h 6054551"/>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51631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36308 w 20358094"/>
                <a:gd name="connsiteY50" fmla="*/ 4912934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48994 w 20358094"/>
                <a:gd name="connsiteY26" fmla="*/ 3648974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37785 w 20358094"/>
                <a:gd name="connsiteY0" fmla="*/ 2251796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144 h 6042876"/>
                <a:gd name="connsiteX1" fmla="*/ 6899077 w 20358094"/>
                <a:gd name="connsiteY1" fmla="*/ 1680159 h 6042876"/>
                <a:gd name="connsiteX2" fmla="*/ 8218989 w 20358094"/>
                <a:gd name="connsiteY2" fmla="*/ 929350 h 6042876"/>
                <a:gd name="connsiteX3" fmla="*/ 9032677 w 20358094"/>
                <a:gd name="connsiteY3" fmla="*/ 528634 h 6042876"/>
                <a:gd name="connsiteX4" fmla="*/ 9079570 w 20358094"/>
                <a:gd name="connsiteY4" fmla="*/ 470018 h 6042876"/>
                <a:gd name="connsiteX5" fmla="*/ 9220247 w 20358094"/>
                <a:gd name="connsiteY5" fmla="*/ 411403 h 6042876"/>
                <a:gd name="connsiteX6" fmla="*/ 10022627 w 20358094"/>
                <a:gd name="connsiteY6" fmla="*/ 209830 h 6042876"/>
                <a:gd name="connsiteX7" fmla="*/ 11365570 w 20358094"/>
                <a:gd name="connsiteY7" fmla="*/ 47987 h 6042876"/>
                <a:gd name="connsiteX8" fmla="*/ 12948185 w 20358094"/>
                <a:gd name="connsiteY8" fmla="*/ 1095 h 6042876"/>
                <a:gd name="connsiteX9" fmla="*/ 14565970 w 20358094"/>
                <a:gd name="connsiteY9" fmla="*/ 83157 h 6042876"/>
                <a:gd name="connsiteX10" fmla="*/ 16054801 w 20358094"/>
                <a:gd name="connsiteY10" fmla="*/ 165218 h 6042876"/>
                <a:gd name="connsiteX11" fmla="*/ 17496739 w 20358094"/>
                <a:gd name="connsiteY11" fmla="*/ 364511 h 6042876"/>
                <a:gd name="connsiteX12" fmla="*/ 18036001 w 20358094"/>
                <a:gd name="connsiteY12" fmla="*/ 470018 h 6042876"/>
                <a:gd name="connsiteX13" fmla="*/ 18352524 w 20358094"/>
                <a:gd name="connsiteY13" fmla="*/ 528634 h 6042876"/>
                <a:gd name="connsiteX14" fmla="*/ 18434585 w 20358094"/>
                <a:gd name="connsiteY14" fmla="*/ 575526 h 6042876"/>
                <a:gd name="connsiteX15" fmla="*/ 18469754 w 20358094"/>
                <a:gd name="connsiteY15" fmla="*/ 634141 h 6042876"/>
                <a:gd name="connsiteX16" fmla="*/ 18903508 w 20358094"/>
                <a:gd name="connsiteY16" fmla="*/ 1091341 h 6042876"/>
                <a:gd name="connsiteX17" fmla="*/ 19560001 w 20358094"/>
                <a:gd name="connsiteY17" fmla="*/ 1853341 h 6042876"/>
                <a:gd name="connsiteX18" fmla="*/ 19665508 w 20358094"/>
                <a:gd name="connsiteY18" fmla="*/ 1994018 h 6042876"/>
                <a:gd name="connsiteX19" fmla="*/ 19864801 w 20358094"/>
                <a:gd name="connsiteY19" fmla="*/ 2099526 h 6042876"/>
                <a:gd name="connsiteX20" fmla="*/ 19946862 w 20358094"/>
                <a:gd name="connsiteY20" fmla="*/ 2228480 h 6042876"/>
                <a:gd name="connsiteX21" fmla="*/ 19911693 w 20358094"/>
                <a:gd name="connsiteY21" fmla="*/ 2416049 h 6042876"/>
                <a:gd name="connsiteX22" fmla="*/ 19958052 w 20358094"/>
                <a:gd name="connsiteY22" fmla="*/ 2744828 h 6042876"/>
                <a:gd name="connsiteX23" fmla="*/ 19922884 w 20358094"/>
                <a:gd name="connsiteY23" fmla="*/ 3046963 h 6042876"/>
                <a:gd name="connsiteX24" fmla="*/ 19993754 w 20358094"/>
                <a:gd name="connsiteY24" fmla="*/ 3271834 h 6042876"/>
                <a:gd name="connsiteX25" fmla="*/ 19982031 w 20358094"/>
                <a:gd name="connsiteY25" fmla="*/ 3447680 h 6042876"/>
                <a:gd name="connsiteX26" fmla="*/ 19962849 w 20358094"/>
                <a:gd name="connsiteY26" fmla="*/ 3642177 h 6042876"/>
                <a:gd name="connsiteX27" fmla="*/ 20134431 w 20358094"/>
                <a:gd name="connsiteY27" fmla="*/ 3705587 h 6042876"/>
                <a:gd name="connsiteX28" fmla="*/ 20275108 w 20358094"/>
                <a:gd name="connsiteY28" fmla="*/ 3752480 h 6042876"/>
                <a:gd name="connsiteX29" fmla="*/ 20345447 w 20358094"/>
                <a:gd name="connsiteY29" fmla="*/ 3846264 h 6042876"/>
                <a:gd name="connsiteX30" fmla="*/ 20357170 w 20358094"/>
                <a:gd name="connsiteY30" fmla="*/ 4010387 h 6042876"/>
                <a:gd name="connsiteX31" fmla="*/ 20333725 w 20358094"/>
                <a:gd name="connsiteY31" fmla="*/ 4209680 h 6042876"/>
                <a:gd name="connsiteX32" fmla="*/ 20275108 w 20358094"/>
                <a:gd name="connsiteY32" fmla="*/ 4397249 h 6042876"/>
                <a:gd name="connsiteX33" fmla="*/ 20169601 w 20358094"/>
                <a:gd name="connsiteY33" fmla="*/ 4432418 h 6042876"/>
                <a:gd name="connsiteX34" fmla="*/ 20087539 w 20358094"/>
                <a:gd name="connsiteY34" fmla="*/ 4748941 h 6042876"/>
                <a:gd name="connsiteX35" fmla="*/ 20064093 w 20358094"/>
                <a:gd name="connsiteY35" fmla="*/ 5182695 h 6042876"/>
                <a:gd name="connsiteX36" fmla="*/ 20157877 w 20358094"/>
                <a:gd name="connsiteY36" fmla="*/ 5475772 h 6042876"/>
                <a:gd name="connsiteX37" fmla="*/ 20052370 w 20358094"/>
                <a:gd name="connsiteY37" fmla="*/ 5510941 h 6042876"/>
                <a:gd name="connsiteX38" fmla="*/ 19548277 w 20358094"/>
                <a:gd name="connsiteY38" fmla="*/ 5534387 h 6042876"/>
                <a:gd name="connsiteX39" fmla="*/ 19454493 w 20358094"/>
                <a:gd name="connsiteY39" fmla="*/ 5757126 h 6042876"/>
                <a:gd name="connsiteX40" fmla="*/ 19290370 w 20358094"/>
                <a:gd name="connsiteY40" fmla="*/ 5780572 h 6042876"/>
                <a:gd name="connsiteX41" fmla="*/ 18223570 w 20358094"/>
                <a:gd name="connsiteY41" fmla="*/ 5768849 h 6042876"/>
                <a:gd name="connsiteX42" fmla="*/ 18223570 w 20358094"/>
                <a:gd name="connsiteY42" fmla="*/ 5581280 h 6042876"/>
                <a:gd name="connsiteX43" fmla="*/ 18009890 w 20358094"/>
                <a:gd name="connsiteY43" fmla="*/ 4725495 h 6042876"/>
                <a:gd name="connsiteX44" fmla="*/ 17602247 w 20358094"/>
                <a:gd name="connsiteY44" fmla="*/ 4162787 h 6042876"/>
                <a:gd name="connsiteX45" fmla="*/ 17145047 w 20358094"/>
                <a:gd name="connsiteY45" fmla="*/ 3857987 h 6042876"/>
                <a:gd name="connsiteX46" fmla="*/ 16429939 w 20358094"/>
                <a:gd name="connsiteY46" fmla="*/ 3682141 h 6042876"/>
                <a:gd name="connsiteX47" fmla="*/ 15902401 w 20358094"/>
                <a:gd name="connsiteY47" fmla="*/ 3729034 h 6042876"/>
                <a:gd name="connsiteX48" fmla="*/ 15386585 w 20358094"/>
                <a:gd name="connsiteY48" fmla="*/ 3979481 h 6042876"/>
                <a:gd name="connsiteX49" fmla="*/ 14964554 w 20358094"/>
                <a:gd name="connsiteY49" fmla="*/ 4397249 h 6042876"/>
                <a:gd name="connsiteX50" fmla="*/ 14664550 w 20358094"/>
                <a:gd name="connsiteY50" fmla="*/ 4936510 h 6042876"/>
                <a:gd name="connsiteX51" fmla="*/ 14542524 w 20358094"/>
                <a:gd name="connsiteY51" fmla="*/ 5393711 h 6042876"/>
                <a:gd name="connsiteX52" fmla="*/ 14542524 w 20358094"/>
                <a:gd name="connsiteY52" fmla="*/ 5768849 h 6042876"/>
                <a:gd name="connsiteX53" fmla="*/ 14554247 w 20358094"/>
                <a:gd name="connsiteY53" fmla="*/ 5991587 h 6042876"/>
                <a:gd name="connsiteX54" fmla="*/ 14472185 w 20358094"/>
                <a:gd name="connsiteY54" fmla="*/ 6015034 h 6042876"/>
                <a:gd name="connsiteX55" fmla="*/ 14073601 w 20358094"/>
                <a:gd name="connsiteY55" fmla="*/ 6015034 h 6042876"/>
                <a:gd name="connsiteX56" fmla="*/ 11693816 w 20358094"/>
                <a:gd name="connsiteY56" fmla="*/ 6038480 h 6042876"/>
                <a:gd name="connsiteX57" fmla="*/ 7121816 w 20358094"/>
                <a:gd name="connsiteY57" fmla="*/ 6038480 h 6042876"/>
                <a:gd name="connsiteX58" fmla="*/ 5328185 w 20358094"/>
                <a:gd name="connsiteY58" fmla="*/ 6003311 h 6042876"/>
                <a:gd name="connsiteX59" fmla="*/ 5351631 w 20358094"/>
                <a:gd name="connsiteY59" fmla="*/ 5510941 h 6042876"/>
                <a:gd name="connsiteX60" fmla="*/ 5187508 w 20358094"/>
                <a:gd name="connsiteY60" fmla="*/ 4678603 h 6042876"/>
                <a:gd name="connsiteX61" fmla="*/ 4613077 w 20358094"/>
                <a:gd name="connsiteY61" fmla="*/ 3940050 h 6042876"/>
                <a:gd name="connsiteX62" fmla="*/ 3804185 w 20358094"/>
                <a:gd name="connsiteY62" fmla="*/ 3635249 h 6042876"/>
                <a:gd name="connsiteX63" fmla="*/ 3077355 w 20358094"/>
                <a:gd name="connsiteY63" fmla="*/ 3693864 h 6042876"/>
                <a:gd name="connsiteX64" fmla="*/ 2479477 w 20358094"/>
                <a:gd name="connsiteY64" fmla="*/ 3998664 h 6042876"/>
                <a:gd name="connsiteX65" fmla="*/ 1987108 w 20358094"/>
                <a:gd name="connsiteY65" fmla="*/ 4584818 h 6042876"/>
                <a:gd name="connsiteX66" fmla="*/ 1799539 w 20358094"/>
                <a:gd name="connsiteY66" fmla="*/ 5159249 h 6042876"/>
                <a:gd name="connsiteX67" fmla="*/ 1787816 w 20358094"/>
                <a:gd name="connsiteY67" fmla="*/ 5745403 h 6042876"/>
                <a:gd name="connsiteX68" fmla="*/ 1776093 w 20358094"/>
                <a:gd name="connsiteY68" fmla="*/ 5944695 h 6042876"/>
                <a:gd name="connsiteX69" fmla="*/ 1647139 w 20358094"/>
                <a:gd name="connsiteY69" fmla="*/ 5956418 h 6042876"/>
                <a:gd name="connsiteX70" fmla="*/ 709293 w 20358094"/>
                <a:gd name="connsiteY70" fmla="*/ 5932972 h 6042876"/>
                <a:gd name="connsiteX71" fmla="*/ 556893 w 20358094"/>
                <a:gd name="connsiteY71" fmla="*/ 5909526 h 6042876"/>
                <a:gd name="connsiteX72" fmla="*/ 474831 w 20358094"/>
                <a:gd name="connsiteY72" fmla="*/ 5804018 h 6042876"/>
                <a:gd name="connsiteX73" fmla="*/ 404493 w 20358094"/>
                <a:gd name="connsiteY73" fmla="*/ 5745403 h 6042876"/>
                <a:gd name="connsiteX74" fmla="*/ 263816 w 20358094"/>
                <a:gd name="connsiteY74" fmla="*/ 5581280 h 6042876"/>
                <a:gd name="connsiteX75" fmla="*/ 404493 w 20358094"/>
                <a:gd name="connsiteY75" fmla="*/ 5534387 h 6042876"/>
                <a:gd name="connsiteX76" fmla="*/ 334154 w 20358094"/>
                <a:gd name="connsiteY76" fmla="*/ 5428880 h 6042876"/>
                <a:gd name="connsiteX77" fmla="*/ 240370 w 20358094"/>
                <a:gd name="connsiteY77" fmla="*/ 5030295 h 6042876"/>
                <a:gd name="connsiteX78" fmla="*/ 205201 w 20358094"/>
                <a:gd name="connsiteY78" fmla="*/ 4983403 h 6042876"/>
                <a:gd name="connsiteX79" fmla="*/ 76247 w 20358094"/>
                <a:gd name="connsiteY79" fmla="*/ 4971680 h 6042876"/>
                <a:gd name="connsiteX80" fmla="*/ 52801 w 20358094"/>
                <a:gd name="connsiteY80" fmla="*/ 4842726 h 6042876"/>
                <a:gd name="connsiteX81" fmla="*/ 5908 w 20358094"/>
                <a:gd name="connsiteY81" fmla="*/ 4385526 h 6042876"/>
                <a:gd name="connsiteX82" fmla="*/ 17631 w 20358094"/>
                <a:gd name="connsiteY82" fmla="*/ 4315187 h 6042876"/>
                <a:gd name="connsiteX83" fmla="*/ 158308 w 20358094"/>
                <a:gd name="connsiteY83" fmla="*/ 4280018 h 6042876"/>
                <a:gd name="connsiteX84" fmla="*/ 240370 w 20358094"/>
                <a:gd name="connsiteY84" fmla="*/ 4151064 h 6042876"/>
                <a:gd name="connsiteX85" fmla="*/ 205201 w 20358094"/>
                <a:gd name="connsiteY85" fmla="*/ 3963495 h 6042876"/>
                <a:gd name="connsiteX86" fmla="*/ 193477 w 20358094"/>
                <a:gd name="connsiteY86" fmla="*/ 3623526 h 6042876"/>
                <a:gd name="connsiteX87" fmla="*/ 357601 w 20358094"/>
                <a:gd name="connsiteY87" fmla="*/ 3283557 h 6042876"/>
                <a:gd name="connsiteX88" fmla="*/ 1154770 w 20358094"/>
                <a:gd name="connsiteY88" fmla="*/ 2861526 h 6042876"/>
                <a:gd name="connsiteX89" fmla="*/ 2104339 w 20358094"/>
                <a:gd name="connsiteY89" fmla="*/ 2627064 h 6042876"/>
                <a:gd name="connsiteX90" fmla="*/ 3780739 w 20358094"/>
                <a:gd name="connsiteY90" fmla="*/ 2333987 h 6042876"/>
                <a:gd name="connsiteX91" fmla="*/ 5199231 w 20358094"/>
                <a:gd name="connsiteY91" fmla="*/ 2169864 h 6042876"/>
                <a:gd name="connsiteX92" fmla="*/ 5574370 w 20358094"/>
                <a:gd name="connsiteY92" fmla="*/ 2146418 h 6042876"/>
                <a:gd name="connsiteX93" fmla="*/ 5726770 w 20358094"/>
                <a:gd name="connsiteY93" fmla="*/ 2158141 h 6042876"/>
                <a:gd name="connsiteX94" fmla="*/ 5972421 w 20358094"/>
                <a:gd name="connsiteY94" fmla="*/ 2231144 h 6042876"/>
                <a:gd name="connsiteX0" fmla="*/ 5972421 w 20358094"/>
                <a:gd name="connsiteY0" fmla="*/ 2219181 h 6030913"/>
                <a:gd name="connsiteX1" fmla="*/ 6899077 w 20358094"/>
                <a:gd name="connsiteY1" fmla="*/ 1668196 h 6030913"/>
                <a:gd name="connsiteX2" fmla="*/ 8218989 w 20358094"/>
                <a:gd name="connsiteY2" fmla="*/ 917387 h 6030913"/>
                <a:gd name="connsiteX3" fmla="*/ 9032677 w 20358094"/>
                <a:gd name="connsiteY3" fmla="*/ 516671 h 6030913"/>
                <a:gd name="connsiteX4" fmla="*/ 9079570 w 20358094"/>
                <a:gd name="connsiteY4" fmla="*/ 458055 h 6030913"/>
                <a:gd name="connsiteX5" fmla="*/ 9220247 w 20358094"/>
                <a:gd name="connsiteY5" fmla="*/ 399440 h 6030913"/>
                <a:gd name="connsiteX6" fmla="*/ 10022627 w 20358094"/>
                <a:gd name="connsiteY6" fmla="*/ 197867 h 6030913"/>
                <a:gd name="connsiteX7" fmla="*/ 11365570 w 20358094"/>
                <a:gd name="connsiteY7" fmla="*/ 36024 h 6030913"/>
                <a:gd name="connsiteX8" fmla="*/ 12943952 w 20358094"/>
                <a:gd name="connsiteY8" fmla="*/ 1832 h 6030913"/>
                <a:gd name="connsiteX9" fmla="*/ 14565970 w 20358094"/>
                <a:gd name="connsiteY9" fmla="*/ 71194 h 6030913"/>
                <a:gd name="connsiteX10" fmla="*/ 16054801 w 20358094"/>
                <a:gd name="connsiteY10" fmla="*/ 153255 h 6030913"/>
                <a:gd name="connsiteX11" fmla="*/ 17496739 w 20358094"/>
                <a:gd name="connsiteY11" fmla="*/ 352548 h 6030913"/>
                <a:gd name="connsiteX12" fmla="*/ 18036001 w 20358094"/>
                <a:gd name="connsiteY12" fmla="*/ 458055 h 6030913"/>
                <a:gd name="connsiteX13" fmla="*/ 18352524 w 20358094"/>
                <a:gd name="connsiteY13" fmla="*/ 516671 h 6030913"/>
                <a:gd name="connsiteX14" fmla="*/ 18434585 w 20358094"/>
                <a:gd name="connsiteY14" fmla="*/ 563563 h 6030913"/>
                <a:gd name="connsiteX15" fmla="*/ 18469754 w 20358094"/>
                <a:gd name="connsiteY15" fmla="*/ 622178 h 6030913"/>
                <a:gd name="connsiteX16" fmla="*/ 18903508 w 20358094"/>
                <a:gd name="connsiteY16" fmla="*/ 1079378 h 6030913"/>
                <a:gd name="connsiteX17" fmla="*/ 19560001 w 20358094"/>
                <a:gd name="connsiteY17" fmla="*/ 1841378 h 6030913"/>
                <a:gd name="connsiteX18" fmla="*/ 19665508 w 20358094"/>
                <a:gd name="connsiteY18" fmla="*/ 1982055 h 6030913"/>
                <a:gd name="connsiteX19" fmla="*/ 19864801 w 20358094"/>
                <a:gd name="connsiteY19" fmla="*/ 2087563 h 6030913"/>
                <a:gd name="connsiteX20" fmla="*/ 19946862 w 20358094"/>
                <a:gd name="connsiteY20" fmla="*/ 2216517 h 6030913"/>
                <a:gd name="connsiteX21" fmla="*/ 19911693 w 20358094"/>
                <a:gd name="connsiteY21" fmla="*/ 2404086 h 6030913"/>
                <a:gd name="connsiteX22" fmla="*/ 19958052 w 20358094"/>
                <a:gd name="connsiteY22" fmla="*/ 2732865 h 6030913"/>
                <a:gd name="connsiteX23" fmla="*/ 19922884 w 20358094"/>
                <a:gd name="connsiteY23" fmla="*/ 3035000 h 6030913"/>
                <a:gd name="connsiteX24" fmla="*/ 19993754 w 20358094"/>
                <a:gd name="connsiteY24" fmla="*/ 3259871 h 6030913"/>
                <a:gd name="connsiteX25" fmla="*/ 19982031 w 20358094"/>
                <a:gd name="connsiteY25" fmla="*/ 3435717 h 6030913"/>
                <a:gd name="connsiteX26" fmla="*/ 19962849 w 20358094"/>
                <a:gd name="connsiteY26" fmla="*/ 3630214 h 6030913"/>
                <a:gd name="connsiteX27" fmla="*/ 20134431 w 20358094"/>
                <a:gd name="connsiteY27" fmla="*/ 3693624 h 6030913"/>
                <a:gd name="connsiteX28" fmla="*/ 20275108 w 20358094"/>
                <a:gd name="connsiteY28" fmla="*/ 3740517 h 6030913"/>
                <a:gd name="connsiteX29" fmla="*/ 20345447 w 20358094"/>
                <a:gd name="connsiteY29" fmla="*/ 3834301 h 6030913"/>
                <a:gd name="connsiteX30" fmla="*/ 20357170 w 20358094"/>
                <a:gd name="connsiteY30" fmla="*/ 3998424 h 6030913"/>
                <a:gd name="connsiteX31" fmla="*/ 20333725 w 20358094"/>
                <a:gd name="connsiteY31" fmla="*/ 4197717 h 6030913"/>
                <a:gd name="connsiteX32" fmla="*/ 20275108 w 20358094"/>
                <a:gd name="connsiteY32" fmla="*/ 4385286 h 6030913"/>
                <a:gd name="connsiteX33" fmla="*/ 20169601 w 20358094"/>
                <a:gd name="connsiteY33" fmla="*/ 4420455 h 6030913"/>
                <a:gd name="connsiteX34" fmla="*/ 20087539 w 20358094"/>
                <a:gd name="connsiteY34" fmla="*/ 4736978 h 6030913"/>
                <a:gd name="connsiteX35" fmla="*/ 20064093 w 20358094"/>
                <a:gd name="connsiteY35" fmla="*/ 5170732 h 6030913"/>
                <a:gd name="connsiteX36" fmla="*/ 20157877 w 20358094"/>
                <a:gd name="connsiteY36" fmla="*/ 5463809 h 6030913"/>
                <a:gd name="connsiteX37" fmla="*/ 20052370 w 20358094"/>
                <a:gd name="connsiteY37" fmla="*/ 5498978 h 6030913"/>
                <a:gd name="connsiteX38" fmla="*/ 19548277 w 20358094"/>
                <a:gd name="connsiteY38" fmla="*/ 5522424 h 6030913"/>
                <a:gd name="connsiteX39" fmla="*/ 19454493 w 20358094"/>
                <a:gd name="connsiteY39" fmla="*/ 5745163 h 6030913"/>
                <a:gd name="connsiteX40" fmla="*/ 19290370 w 20358094"/>
                <a:gd name="connsiteY40" fmla="*/ 5768609 h 6030913"/>
                <a:gd name="connsiteX41" fmla="*/ 18223570 w 20358094"/>
                <a:gd name="connsiteY41" fmla="*/ 5756886 h 6030913"/>
                <a:gd name="connsiteX42" fmla="*/ 18223570 w 20358094"/>
                <a:gd name="connsiteY42" fmla="*/ 5569317 h 6030913"/>
                <a:gd name="connsiteX43" fmla="*/ 18009890 w 20358094"/>
                <a:gd name="connsiteY43" fmla="*/ 4713532 h 6030913"/>
                <a:gd name="connsiteX44" fmla="*/ 17602247 w 20358094"/>
                <a:gd name="connsiteY44" fmla="*/ 4150824 h 6030913"/>
                <a:gd name="connsiteX45" fmla="*/ 17145047 w 20358094"/>
                <a:gd name="connsiteY45" fmla="*/ 3846024 h 6030913"/>
                <a:gd name="connsiteX46" fmla="*/ 16429939 w 20358094"/>
                <a:gd name="connsiteY46" fmla="*/ 3670178 h 6030913"/>
                <a:gd name="connsiteX47" fmla="*/ 15902401 w 20358094"/>
                <a:gd name="connsiteY47" fmla="*/ 3717071 h 6030913"/>
                <a:gd name="connsiteX48" fmla="*/ 15386585 w 20358094"/>
                <a:gd name="connsiteY48" fmla="*/ 3967518 h 6030913"/>
                <a:gd name="connsiteX49" fmla="*/ 14964554 w 20358094"/>
                <a:gd name="connsiteY49" fmla="*/ 4385286 h 6030913"/>
                <a:gd name="connsiteX50" fmla="*/ 14664550 w 20358094"/>
                <a:gd name="connsiteY50" fmla="*/ 4924547 h 6030913"/>
                <a:gd name="connsiteX51" fmla="*/ 14542524 w 20358094"/>
                <a:gd name="connsiteY51" fmla="*/ 5381748 h 6030913"/>
                <a:gd name="connsiteX52" fmla="*/ 14542524 w 20358094"/>
                <a:gd name="connsiteY52" fmla="*/ 5756886 h 6030913"/>
                <a:gd name="connsiteX53" fmla="*/ 14554247 w 20358094"/>
                <a:gd name="connsiteY53" fmla="*/ 5979624 h 6030913"/>
                <a:gd name="connsiteX54" fmla="*/ 14472185 w 20358094"/>
                <a:gd name="connsiteY54" fmla="*/ 6003071 h 6030913"/>
                <a:gd name="connsiteX55" fmla="*/ 14073601 w 20358094"/>
                <a:gd name="connsiteY55" fmla="*/ 6003071 h 6030913"/>
                <a:gd name="connsiteX56" fmla="*/ 11693816 w 20358094"/>
                <a:gd name="connsiteY56" fmla="*/ 6026517 h 6030913"/>
                <a:gd name="connsiteX57" fmla="*/ 7121816 w 20358094"/>
                <a:gd name="connsiteY57" fmla="*/ 6026517 h 6030913"/>
                <a:gd name="connsiteX58" fmla="*/ 5328185 w 20358094"/>
                <a:gd name="connsiteY58" fmla="*/ 5991348 h 6030913"/>
                <a:gd name="connsiteX59" fmla="*/ 5351631 w 20358094"/>
                <a:gd name="connsiteY59" fmla="*/ 5498978 h 6030913"/>
                <a:gd name="connsiteX60" fmla="*/ 5187508 w 20358094"/>
                <a:gd name="connsiteY60" fmla="*/ 4666640 h 6030913"/>
                <a:gd name="connsiteX61" fmla="*/ 4613077 w 20358094"/>
                <a:gd name="connsiteY61" fmla="*/ 3928087 h 6030913"/>
                <a:gd name="connsiteX62" fmla="*/ 3804185 w 20358094"/>
                <a:gd name="connsiteY62" fmla="*/ 3623286 h 6030913"/>
                <a:gd name="connsiteX63" fmla="*/ 3077355 w 20358094"/>
                <a:gd name="connsiteY63" fmla="*/ 3681901 h 6030913"/>
                <a:gd name="connsiteX64" fmla="*/ 2479477 w 20358094"/>
                <a:gd name="connsiteY64" fmla="*/ 3986701 h 6030913"/>
                <a:gd name="connsiteX65" fmla="*/ 1987108 w 20358094"/>
                <a:gd name="connsiteY65" fmla="*/ 4572855 h 6030913"/>
                <a:gd name="connsiteX66" fmla="*/ 1799539 w 20358094"/>
                <a:gd name="connsiteY66" fmla="*/ 5147286 h 6030913"/>
                <a:gd name="connsiteX67" fmla="*/ 1787816 w 20358094"/>
                <a:gd name="connsiteY67" fmla="*/ 5733440 h 6030913"/>
                <a:gd name="connsiteX68" fmla="*/ 1776093 w 20358094"/>
                <a:gd name="connsiteY68" fmla="*/ 5932732 h 6030913"/>
                <a:gd name="connsiteX69" fmla="*/ 1647139 w 20358094"/>
                <a:gd name="connsiteY69" fmla="*/ 5944455 h 6030913"/>
                <a:gd name="connsiteX70" fmla="*/ 709293 w 20358094"/>
                <a:gd name="connsiteY70" fmla="*/ 5921009 h 6030913"/>
                <a:gd name="connsiteX71" fmla="*/ 556893 w 20358094"/>
                <a:gd name="connsiteY71" fmla="*/ 5897563 h 6030913"/>
                <a:gd name="connsiteX72" fmla="*/ 474831 w 20358094"/>
                <a:gd name="connsiteY72" fmla="*/ 5792055 h 6030913"/>
                <a:gd name="connsiteX73" fmla="*/ 404493 w 20358094"/>
                <a:gd name="connsiteY73" fmla="*/ 5733440 h 6030913"/>
                <a:gd name="connsiteX74" fmla="*/ 263816 w 20358094"/>
                <a:gd name="connsiteY74" fmla="*/ 5569317 h 6030913"/>
                <a:gd name="connsiteX75" fmla="*/ 404493 w 20358094"/>
                <a:gd name="connsiteY75" fmla="*/ 5522424 h 6030913"/>
                <a:gd name="connsiteX76" fmla="*/ 334154 w 20358094"/>
                <a:gd name="connsiteY76" fmla="*/ 5416917 h 6030913"/>
                <a:gd name="connsiteX77" fmla="*/ 240370 w 20358094"/>
                <a:gd name="connsiteY77" fmla="*/ 5018332 h 6030913"/>
                <a:gd name="connsiteX78" fmla="*/ 205201 w 20358094"/>
                <a:gd name="connsiteY78" fmla="*/ 4971440 h 6030913"/>
                <a:gd name="connsiteX79" fmla="*/ 76247 w 20358094"/>
                <a:gd name="connsiteY79" fmla="*/ 4959717 h 6030913"/>
                <a:gd name="connsiteX80" fmla="*/ 52801 w 20358094"/>
                <a:gd name="connsiteY80" fmla="*/ 4830763 h 6030913"/>
                <a:gd name="connsiteX81" fmla="*/ 5908 w 20358094"/>
                <a:gd name="connsiteY81" fmla="*/ 4373563 h 6030913"/>
                <a:gd name="connsiteX82" fmla="*/ 17631 w 20358094"/>
                <a:gd name="connsiteY82" fmla="*/ 4303224 h 6030913"/>
                <a:gd name="connsiteX83" fmla="*/ 158308 w 20358094"/>
                <a:gd name="connsiteY83" fmla="*/ 4268055 h 6030913"/>
                <a:gd name="connsiteX84" fmla="*/ 240370 w 20358094"/>
                <a:gd name="connsiteY84" fmla="*/ 4139101 h 6030913"/>
                <a:gd name="connsiteX85" fmla="*/ 205201 w 20358094"/>
                <a:gd name="connsiteY85" fmla="*/ 3951532 h 6030913"/>
                <a:gd name="connsiteX86" fmla="*/ 193477 w 20358094"/>
                <a:gd name="connsiteY86" fmla="*/ 3611563 h 6030913"/>
                <a:gd name="connsiteX87" fmla="*/ 357601 w 20358094"/>
                <a:gd name="connsiteY87" fmla="*/ 3271594 h 6030913"/>
                <a:gd name="connsiteX88" fmla="*/ 1154770 w 20358094"/>
                <a:gd name="connsiteY88" fmla="*/ 2849563 h 6030913"/>
                <a:gd name="connsiteX89" fmla="*/ 2104339 w 20358094"/>
                <a:gd name="connsiteY89" fmla="*/ 2615101 h 6030913"/>
                <a:gd name="connsiteX90" fmla="*/ 3780739 w 20358094"/>
                <a:gd name="connsiteY90" fmla="*/ 2322024 h 6030913"/>
                <a:gd name="connsiteX91" fmla="*/ 5199231 w 20358094"/>
                <a:gd name="connsiteY91" fmla="*/ 2157901 h 6030913"/>
                <a:gd name="connsiteX92" fmla="*/ 5574370 w 20358094"/>
                <a:gd name="connsiteY92" fmla="*/ 2134455 h 6030913"/>
                <a:gd name="connsiteX93" fmla="*/ 5726770 w 20358094"/>
                <a:gd name="connsiteY93" fmla="*/ 2146178 h 6030913"/>
                <a:gd name="connsiteX94" fmla="*/ 5972421 w 20358094"/>
                <a:gd name="connsiteY94" fmla="*/ 2219181 h 603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0358094" h="6030913">
                  <a:moveTo>
                    <a:pt x="5972421" y="2219181"/>
                  </a:moveTo>
                  <a:cubicBezTo>
                    <a:pt x="6043114" y="2181081"/>
                    <a:pt x="6524649" y="1885162"/>
                    <a:pt x="6899077" y="1668196"/>
                  </a:cubicBezTo>
                  <a:cubicBezTo>
                    <a:pt x="7273505" y="1451230"/>
                    <a:pt x="7863389" y="1109308"/>
                    <a:pt x="8218989" y="917387"/>
                  </a:cubicBezTo>
                  <a:cubicBezTo>
                    <a:pt x="8574589" y="725466"/>
                    <a:pt x="8889247" y="593226"/>
                    <a:pt x="9032677" y="516671"/>
                  </a:cubicBezTo>
                  <a:cubicBezTo>
                    <a:pt x="9176107" y="440116"/>
                    <a:pt x="9048308" y="477593"/>
                    <a:pt x="9079570" y="458055"/>
                  </a:cubicBezTo>
                  <a:cubicBezTo>
                    <a:pt x="9110832" y="438516"/>
                    <a:pt x="9063071" y="442805"/>
                    <a:pt x="9220247" y="399440"/>
                  </a:cubicBezTo>
                  <a:cubicBezTo>
                    <a:pt x="9377423" y="356075"/>
                    <a:pt x="9665073" y="258436"/>
                    <a:pt x="10022627" y="197867"/>
                  </a:cubicBezTo>
                  <a:cubicBezTo>
                    <a:pt x="10380181" y="137298"/>
                    <a:pt x="10878683" y="68696"/>
                    <a:pt x="11365570" y="36024"/>
                  </a:cubicBezTo>
                  <a:cubicBezTo>
                    <a:pt x="11852457" y="3352"/>
                    <a:pt x="12410552" y="-4030"/>
                    <a:pt x="12943952" y="1832"/>
                  </a:cubicBezTo>
                  <a:cubicBezTo>
                    <a:pt x="13477352" y="7694"/>
                    <a:pt x="14047495" y="45957"/>
                    <a:pt x="14565970" y="71194"/>
                  </a:cubicBezTo>
                  <a:cubicBezTo>
                    <a:pt x="15084445" y="96431"/>
                    <a:pt x="15566340" y="106363"/>
                    <a:pt x="16054801" y="153255"/>
                  </a:cubicBezTo>
                  <a:cubicBezTo>
                    <a:pt x="16543262" y="200147"/>
                    <a:pt x="17166539" y="301748"/>
                    <a:pt x="17496739" y="352548"/>
                  </a:cubicBezTo>
                  <a:cubicBezTo>
                    <a:pt x="17826939" y="403348"/>
                    <a:pt x="17893370" y="430701"/>
                    <a:pt x="18036001" y="458055"/>
                  </a:cubicBezTo>
                  <a:cubicBezTo>
                    <a:pt x="18178632" y="485409"/>
                    <a:pt x="18286093" y="499086"/>
                    <a:pt x="18352524" y="516671"/>
                  </a:cubicBezTo>
                  <a:cubicBezTo>
                    <a:pt x="18418955" y="534256"/>
                    <a:pt x="18415047" y="545978"/>
                    <a:pt x="18434585" y="563563"/>
                  </a:cubicBezTo>
                  <a:cubicBezTo>
                    <a:pt x="18454123" y="581147"/>
                    <a:pt x="18391600" y="536209"/>
                    <a:pt x="18469754" y="622178"/>
                  </a:cubicBezTo>
                  <a:cubicBezTo>
                    <a:pt x="18547908" y="708147"/>
                    <a:pt x="18721800" y="876178"/>
                    <a:pt x="18903508" y="1079378"/>
                  </a:cubicBezTo>
                  <a:cubicBezTo>
                    <a:pt x="19085216" y="1282578"/>
                    <a:pt x="19433001" y="1690932"/>
                    <a:pt x="19560001" y="1841378"/>
                  </a:cubicBezTo>
                  <a:cubicBezTo>
                    <a:pt x="19687001" y="1991824"/>
                    <a:pt x="19614708" y="1941024"/>
                    <a:pt x="19665508" y="1982055"/>
                  </a:cubicBezTo>
                  <a:cubicBezTo>
                    <a:pt x="19716308" y="2023086"/>
                    <a:pt x="19817909" y="2048486"/>
                    <a:pt x="19864801" y="2087563"/>
                  </a:cubicBezTo>
                  <a:cubicBezTo>
                    <a:pt x="19911693" y="2126640"/>
                    <a:pt x="19939047" y="2163763"/>
                    <a:pt x="19946862" y="2216517"/>
                  </a:cubicBezTo>
                  <a:cubicBezTo>
                    <a:pt x="19954677" y="2269271"/>
                    <a:pt x="19909828" y="2318028"/>
                    <a:pt x="19911693" y="2404086"/>
                  </a:cubicBezTo>
                  <a:cubicBezTo>
                    <a:pt x="19913558" y="2490144"/>
                    <a:pt x="19956187" y="2627713"/>
                    <a:pt x="19958052" y="2732865"/>
                  </a:cubicBezTo>
                  <a:cubicBezTo>
                    <a:pt x="19959917" y="2838017"/>
                    <a:pt x="19916934" y="2947166"/>
                    <a:pt x="19922884" y="3035000"/>
                  </a:cubicBezTo>
                  <a:cubicBezTo>
                    <a:pt x="19928834" y="3122834"/>
                    <a:pt x="19983896" y="3193085"/>
                    <a:pt x="19993754" y="3259871"/>
                  </a:cubicBezTo>
                  <a:cubicBezTo>
                    <a:pt x="20003612" y="3326657"/>
                    <a:pt x="19987182" y="3373993"/>
                    <a:pt x="19982031" y="3435717"/>
                  </a:cubicBezTo>
                  <a:cubicBezTo>
                    <a:pt x="19976880" y="3497441"/>
                    <a:pt x="19965157" y="3587230"/>
                    <a:pt x="19962849" y="3630214"/>
                  </a:cubicBezTo>
                  <a:cubicBezTo>
                    <a:pt x="19960541" y="3673198"/>
                    <a:pt x="20082388" y="3675240"/>
                    <a:pt x="20134431" y="3693624"/>
                  </a:cubicBezTo>
                  <a:cubicBezTo>
                    <a:pt x="20186474" y="3712008"/>
                    <a:pt x="20239939" y="3717071"/>
                    <a:pt x="20275108" y="3740517"/>
                  </a:cubicBezTo>
                  <a:cubicBezTo>
                    <a:pt x="20310277" y="3763963"/>
                    <a:pt x="20331770" y="3791317"/>
                    <a:pt x="20345447" y="3834301"/>
                  </a:cubicBezTo>
                  <a:cubicBezTo>
                    <a:pt x="20359124" y="3877285"/>
                    <a:pt x="20359124" y="3937855"/>
                    <a:pt x="20357170" y="3998424"/>
                  </a:cubicBezTo>
                  <a:cubicBezTo>
                    <a:pt x="20355216" y="4058993"/>
                    <a:pt x="20347402" y="4133240"/>
                    <a:pt x="20333725" y="4197717"/>
                  </a:cubicBezTo>
                  <a:cubicBezTo>
                    <a:pt x="20320048" y="4262194"/>
                    <a:pt x="20302462" y="4348163"/>
                    <a:pt x="20275108" y="4385286"/>
                  </a:cubicBezTo>
                  <a:cubicBezTo>
                    <a:pt x="20247754" y="4422409"/>
                    <a:pt x="20200863" y="4361840"/>
                    <a:pt x="20169601" y="4420455"/>
                  </a:cubicBezTo>
                  <a:cubicBezTo>
                    <a:pt x="20138340" y="4479070"/>
                    <a:pt x="20091271" y="4653496"/>
                    <a:pt x="20087539" y="4736978"/>
                  </a:cubicBezTo>
                  <a:cubicBezTo>
                    <a:pt x="20083807" y="4820460"/>
                    <a:pt x="20093933" y="5063448"/>
                    <a:pt x="20064093" y="5170732"/>
                  </a:cubicBezTo>
                  <a:cubicBezTo>
                    <a:pt x="20034253" y="5278016"/>
                    <a:pt x="20159831" y="5409101"/>
                    <a:pt x="20157877" y="5463809"/>
                  </a:cubicBezTo>
                  <a:cubicBezTo>
                    <a:pt x="20155923" y="5518517"/>
                    <a:pt x="20153970" y="5489209"/>
                    <a:pt x="20052370" y="5498978"/>
                  </a:cubicBezTo>
                  <a:cubicBezTo>
                    <a:pt x="19950770" y="5508747"/>
                    <a:pt x="19647923" y="5481393"/>
                    <a:pt x="19548277" y="5522424"/>
                  </a:cubicBezTo>
                  <a:cubicBezTo>
                    <a:pt x="19448631" y="5563455"/>
                    <a:pt x="19497477" y="5704132"/>
                    <a:pt x="19454493" y="5745163"/>
                  </a:cubicBezTo>
                  <a:cubicBezTo>
                    <a:pt x="19411509" y="5786194"/>
                    <a:pt x="19290370" y="5768609"/>
                    <a:pt x="19290370" y="5768609"/>
                  </a:cubicBezTo>
                  <a:cubicBezTo>
                    <a:pt x="19085216" y="5770563"/>
                    <a:pt x="18401370" y="5790101"/>
                    <a:pt x="18223570" y="5756886"/>
                  </a:cubicBezTo>
                  <a:cubicBezTo>
                    <a:pt x="18045770" y="5723671"/>
                    <a:pt x="18238402" y="5777846"/>
                    <a:pt x="18223570" y="5569317"/>
                  </a:cubicBezTo>
                  <a:cubicBezTo>
                    <a:pt x="18208738" y="5360788"/>
                    <a:pt x="18113444" y="4949948"/>
                    <a:pt x="18009890" y="4713532"/>
                  </a:cubicBezTo>
                  <a:cubicBezTo>
                    <a:pt x="17906336" y="4477117"/>
                    <a:pt x="17746387" y="4295409"/>
                    <a:pt x="17602247" y="4150824"/>
                  </a:cubicBezTo>
                  <a:cubicBezTo>
                    <a:pt x="17458107" y="4006239"/>
                    <a:pt x="17326578" y="3933059"/>
                    <a:pt x="17145047" y="3846024"/>
                  </a:cubicBezTo>
                  <a:cubicBezTo>
                    <a:pt x="16963516" y="3758989"/>
                    <a:pt x="16637047" y="3670889"/>
                    <a:pt x="16429939" y="3670178"/>
                  </a:cubicBezTo>
                  <a:cubicBezTo>
                    <a:pt x="16222831" y="3669467"/>
                    <a:pt x="16076293" y="3667514"/>
                    <a:pt x="15902401" y="3717071"/>
                  </a:cubicBezTo>
                  <a:cubicBezTo>
                    <a:pt x="15728509" y="3766628"/>
                    <a:pt x="15542893" y="3856149"/>
                    <a:pt x="15386585" y="3967518"/>
                  </a:cubicBezTo>
                  <a:cubicBezTo>
                    <a:pt x="15230277" y="4078887"/>
                    <a:pt x="15084893" y="4225781"/>
                    <a:pt x="14964554" y="4385286"/>
                  </a:cubicBezTo>
                  <a:cubicBezTo>
                    <a:pt x="14844215" y="4544791"/>
                    <a:pt x="14727961" y="4744615"/>
                    <a:pt x="14664550" y="4924547"/>
                  </a:cubicBezTo>
                  <a:cubicBezTo>
                    <a:pt x="14601139" y="5104479"/>
                    <a:pt x="14562862" y="5243025"/>
                    <a:pt x="14542524" y="5381748"/>
                  </a:cubicBezTo>
                  <a:cubicBezTo>
                    <a:pt x="14522186" y="5520471"/>
                    <a:pt x="14540570" y="5657240"/>
                    <a:pt x="14542524" y="5756886"/>
                  </a:cubicBezTo>
                  <a:cubicBezTo>
                    <a:pt x="14544478" y="5856532"/>
                    <a:pt x="14565970" y="5938593"/>
                    <a:pt x="14554247" y="5979624"/>
                  </a:cubicBezTo>
                  <a:cubicBezTo>
                    <a:pt x="14542524" y="6020655"/>
                    <a:pt x="14552293" y="5999163"/>
                    <a:pt x="14472185" y="6003071"/>
                  </a:cubicBezTo>
                  <a:cubicBezTo>
                    <a:pt x="14392077" y="6006979"/>
                    <a:pt x="14073601" y="6003071"/>
                    <a:pt x="14073601" y="6003071"/>
                  </a:cubicBezTo>
                  <a:lnTo>
                    <a:pt x="11693816" y="6026517"/>
                  </a:lnTo>
                  <a:lnTo>
                    <a:pt x="7121816" y="6026517"/>
                  </a:lnTo>
                  <a:cubicBezTo>
                    <a:pt x="6060878" y="6020656"/>
                    <a:pt x="5318416" y="6055825"/>
                    <a:pt x="5328185" y="5991348"/>
                  </a:cubicBezTo>
                  <a:cubicBezTo>
                    <a:pt x="5337954" y="5926871"/>
                    <a:pt x="5363353" y="5708040"/>
                    <a:pt x="5351631" y="5498978"/>
                  </a:cubicBezTo>
                  <a:cubicBezTo>
                    <a:pt x="5339909" y="5289916"/>
                    <a:pt x="5310600" y="4928455"/>
                    <a:pt x="5187508" y="4666640"/>
                  </a:cubicBezTo>
                  <a:cubicBezTo>
                    <a:pt x="5064416" y="4404825"/>
                    <a:pt x="4843631" y="4101979"/>
                    <a:pt x="4613077" y="3928087"/>
                  </a:cubicBezTo>
                  <a:cubicBezTo>
                    <a:pt x="4382523" y="3754195"/>
                    <a:pt x="4060139" y="3664317"/>
                    <a:pt x="3804185" y="3623286"/>
                  </a:cubicBezTo>
                  <a:cubicBezTo>
                    <a:pt x="3548231" y="3582255"/>
                    <a:pt x="3298140" y="3621332"/>
                    <a:pt x="3077355" y="3681901"/>
                  </a:cubicBezTo>
                  <a:cubicBezTo>
                    <a:pt x="2856570" y="3742470"/>
                    <a:pt x="2661185" y="3838209"/>
                    <a:pt x="2479477" y="3986701"/>
                  </a:cubicBezTo>
                  <a:cubicBezTo>
                    <a:pt x="2297769" y="4135193"/>
                    <a:pt x="2100431" y="4379424"/>
                    <a:pt x="1987108" y="4572855"/>
                  </a:cubicBezTo>
                  <a:cubicBezTo>
                    <a:pt x="1873785" y="4766286"/>
                    <a:pt x="1832754" y="4953855"/>
                    <a:pt x="1799539" y="5147286"/>
                  </a:cubicBezTo>
                  <a:cubicBezTo>
                    <a:pt x="1766324" y="5340717"/>
                    <a:pt x="1791724" y="5602532"/>
                    <a:pt x="1787816" y="5733440"/>
                  </a:cubicBezTo>
                  <a:cubicBezTo>
                    <a:pt x="1783908" y="5864348"/>
                    <a:pt x="1799539" y="5897563"/>
                    <a:pt x="1776093" y="5932732"/>
                  </a:cubicBezTo>
                  <a:cubicBezTo>
                    <a:pt x="1752647" y="5967901"/>
                    <a:pt x="1824939" y="5946409"/>
                    <a:pt x="1647139" y="5944455"/>
                  </a:cubicBezTo>
                  <a:cubicBezTo>
                    <a:pt x="1469339" y="5942501"/>
                    <a:pt x="891001" y="5928824"/>
                    <a:pt x="709293" y="5921009"/>
                  </a:cubicBezTo>
                  <a:cubicBezTo>
                    <a:pt x="527585" y="5913194"/>
                    <a:pt x="595970" y="5919055"/>
                    <a:pt x="556893" y="5897563"/>
                  </a:cubicBezTo>
                  <a:cubicBezTo>
                    <a:pt x="517816" y="5876071"/>
                    <a:pt x="500231" y="5819409"/>
                    <a:pt x="474831" y="5792055"/>
                  </a:cubicBezTo>
                  <a:cubicBezTo>
                    <a:pt x="449431" y="5764701"/>
                    <a:pt x="439662" y="5770563"/>
                    <a:pt x="404493" y="5733440"/>
                  </a:cubicBezTo>
                  <a:cubicBezTo>
                    <a:pt x="369324" y="5696317"/>
                    <a:pt x="263816" y="5604486"/>
                    <a:pt x="263816" y="5569317"/>
                  </a:cubicBezTo>
                  <a:cubicBezTo>
                    <a:pt x="263816" y="5534148"/>
                    <a:pt x="392770" y="5547824"/>
                    <a:pt x="404493" y="5522424"/>
                  </a:cubicBezTo>
                  <a:cubicBezTo>
                    <a:pt x="416216" y="5497024"/>
                    <a:pt x="361508" y="5500932"/>
                    <a:pt x="334154" y="5416917"/>
                  </a:cubicBezTo>
                  <a:cubicBezTo>
                    <a:pt x="306800" y="5332902"/>
                    <a:pt x="240370" y="5018332"/>
                    <a:pt x="240370" y="5018332"/>
                  </a:cubicBezTo>
                  <a:cubicBezTo>
                    <a:pt x="218878" y="4944086"/>
                    <a:pt x="232555" y="4981209"/>
                    <a:pt x="205201" y="4971440"/>
                  </a:cubicBezTo>
                  <a:cubicBezTo>
                    <a:pt x="177847" y="4961671"/>
                    <a:pt x="101647" y="4983163"/>
                    <a:pt x="76247" y="4959717"/>
                  </a:cubicBezTo>
                  <a:cubicBezTo>
                    <a:pt x="50847" y="4936271"/>
                    <a:pt x="64524" y="4928455"/>
                    <a:pt x="52801" y="4830763"/>
                  </a:cubicBezTo>
                  <a:cubicBezTo>
                    <a:pt x="41078" y="4733071"/>
                    <a:pt x="11770" y="4461486"/>
                    <a:pt x="5908" y="4373563"/>
                  </a:cubicBezTo>
                  <a:cubicBezTo>
                    <a:pt x="46" y="4285640"/>
                    <a:pt x="-7769" y="4320809"/>
                    <a:pt x="17631" y="4303224"/>
                  </a:cubicBezTo>
                  <a:cubicBezTo>
                    <a:pt x="43031" y="4285639"/>
                    <a:pt x="121185" y="4295409"/>
                    <a:pt x="158308" y="4268055"/>
                  </a:cubicBezTo>
                  <a:cubicBezTo>
                    <a:pt x="195431" y="4240701"/>
                    <a:pt x="232555" y="4191855"/>
                    <a:pt x="240370" y="4139101"/>
                  </a:cubicBezTo>
                  <a:cubicBezTo>
                    <a:pt x="248185" y="4086347"/>
                    <a:pt x="213016" y="4039455"/>
                    <a:pt x="205201" y="3951532"/>
                  </a:cubicBezTo>
                  <a:cubicBezTo>
                    <a:pt x="197385" y="3863609"/>
                    <a:pt x="168077" y="3724886"/>
                    <a:pt x="193477" y="3611563"/>
                  </a:cubicBezTo>
                  <a:cubicBezTo>
                    <a:pt x="218877" y="3498240"/>
                    <a:pt x="197386" y="3398594"/>
                    <a:pt x="357601" y="3271594"/>
                  </a:cubicBezTo>
                  <a:cubicBezTo>
                    <a:pt x="517816" y="3144594"/>
                    <a:pt x="863647" y="2958978"/>
                    <a:pt x="1154770" y="2849563"/>
                  </a:cubicBezTo>
                  <a:cubicBezTo>
                    <a:pt x="1445893" y="2740148"/>
                    <a:pt x="1666678" y="2703024"/>
                    <a:pt x="2104339" y="2615101"/>
                  </a:cubicBezTo>
                  <a:cubicBezTo>
                    <a:pt x="2542000" y="2527178"/>
                    <a:pt x="3264924" y="2398224"/>
                    <a:pt x="3780739" y="2322024"/>
                  </a:cubicBezTo>
                  <a:cubicBezTo>
                    <a:pt x="4296554" y="2245824"/>
                    <a:pt x="4900293" y="2189162"/>
                    <a:pt x="5199231" y="2157901"/>
                  </a:cubicBezTo>
                  <a:cubicBezTo>
                    <a:pt x="5498169" y="2126640"/>
                    <a:pt x="5486447" y="2136409"/>
                    <a:pt x="5574370" y="2134455"/>
                  </a:cubicBezTo>
                  <a:cubicBezTo>
                    <a:pt x="5662293" y="2132501"/>
                    <a:pt x="5666201" y="2128593"/>
                    <a:pt x="5726770" y="2146178"/>
                  </a:cubicBezTo>
                  <a:cubicBezTo>
                    <a:pt x="5787339" y="2163763"/>
                    <a:pt x="5901728" y="2257281"/>
                    <a:pt x="5972421" y="2219181"/>
                  </a:cubicBezTo>
                  <a:close/>
                </a:path>
              </a:pathLst>
            </a:custGeom>
            <a:solidFill>
              <a:schemeClr val="accent1">
                <a:lumMod val="20000"/>
                <a:lumOff val="80000"/>
              </a:schemeClr>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p:cNvSpPr/>
            <p:nvPr/>
          </p:nvSpPr>
          <p:spPr bwMode="auto">
            <a:xfrm>
              <a:off x="3097263" y="2850856"/>
              <a:ext cx="1033331" cy="1033330"/>
            </a:xfrm>
            <a:prstGeom prst="ellipse">
              <a:avLst/>
            </a:prstGeom>
            <a:solidFill>
              <a:schemeClr val="bg1"/>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7421535" y="2850856"/>
              <a:ext cx="1033331" cy="1033330"/>
            </a:xfrm>
            <a:prstGeom prst="ellipse">
              <a:avLst/>
            </a:prstGeom>
            <a:solidFill>
              <a:schemeClr val="bg1"/>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p:cNvCxnSpPr/>
            <p:nvPr/>
          </p:nvCxnSpPr>
          <p:spPr>
            <a:xfrm flipV="1">
              <a:off x="3020769" y="3524787"/>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3" name="Straight Connector 22"/>
            <p:cNvCxnSpPr/>
            <p:nvPr/>
          </p:nvCxnSpPr>
          <p:spPr>
            <a:xfrm flipV="1">
              <a:off x="4110564" y="3524787"/>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4" name="Straight Connector 23"/>
            <p:cNvCxnSpPr/>
            <p:nvPr/>
          </p:nvCxnSpPr>
          <p:spPr>
            <a:xfrm flipV="1">
              <a:off x="8447117" y="3505005"/>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5" name="Straight Connector 24"/>
            <p:cNvCxnSpPr/>
            <p:nvPr/>
          </p:nvCxnSpPr>
          <p:spPr>
            <a:xfrm flipV="1">
              <a:off x="7318255" y="3516874"/>
              <a:ext cx="111028" cy="4282"/>
            </a:xfrm>
            <a:prstGeom prst="line">
              <a:avLst/>
            </a:prstGeom>
            <a:noFill/>
            <a:ln w="9525" cap="rnd" cmpd="sng" algn="ctr">
              <a:solidFill>
                <a:schemeClr val="bg1">
                  <a:lumMod val="50000"/>
                </a:schemeClr>
              </a:solidFill>
              <a:prstDash val="solid"/>
              <a:headEnd type="none"/>
              <a:tailEnd type="none"/>
            </a:ln>
            <a:effectLst/>
          </p:spPr>
        </p:cxnSp>
        <p:sp>
          <p:nvSpPr>
            <p:cNvPr id="26" name="Freeform: Shape 25"/>
            <p:cNvSpPr/>
            <p:nvPr/>
          </p:nvSpPr>
          <p:spPr bwMode="auto">
            <a:xfrm>
              <a:off x="4224355" y="3283448"/>
              <a:ext cx="3117622" cy="119835"/>
            </a:xfrm>
            <a:custGeom>
              <a:avLst/>
              <a:gdLst>
                <a:gd name="connsiteX0" fmla="*/ 0 w 9237785"/>
                <a:gd name="connsiteY0" fmla="*/ 152400 h 366891"/>
                <a:gd name="connsiteX1" fmla="*/ 4525108 w 9237785"/>
                <a:gd name="connsiteY1" fmla="*/ 363416 h 366891"/>
                <a:gd name="connsiteX2" fmla="*/ 9237785 w 9237785"/>
                <a:gd name="connsiteY2" fmla="*/ 0 h 366891"/>
                <a:gd name="connsiteX0" fmla="*/ 0 w 9237785"/>
                <a:gd name="connsiteY0" fmla="*/ 152400 h 374275"/>
                <a:gd name="connsiteX1" fmla="*/ 4525108 w 9237785"/>
                <a:gd name="connsiteY1" fmla="*/ 363416 h 374275"/>
                <a:gd name="connsiteX2" fmla="*/ 9237785 w 9237785"/>
                <a:gd name="connsiteY2" fmla="*/ 0 h 374275"/>
                <a:gd name="connsiteX0" fmla="*/ 0 w 9237785"/>
                <a:gd name="connsiteY0" fmla="*/ 152400 h 389310"/>
                <a:gd name="connsiteX1" fmla="*/ 4525108 w 9237785"/>
                <a:gd name="connsiteY1" fmla="*/ 363416 h 389310"/>
                <a:gd name="connsiteX2" fmla="*/ 9237785 w 9237785"/>
                <a:gd name="connsiteY2" fmla="*/ 0 h 389310"/>
                <a:gd name="connsiteX0" fmla="*/ 0 w 9237785"/>
                <a:gd name="connsiteY0" fmla="*/ 152400 h 361897"/>
                <a:gd name="connsiteX1" fmla="*/ 4513385 w 9237785"/>
                <a:gd name="connsiteY1" fmla="*/ 328247 h 361897"/>
                <a:gd name="connsiteX2" fmla="*/ 9237785 w 9237785"/>
                <a:gd name="connsiteY2" fmla="*/ 0 h 361897"/>
                <a:gd name="connsiteX0" fmla="*/ 0 w 9237785"/>
                <a:gd name="connsiteY0" fmla="*/ 175846 h 355082"/>
                <a:gd name="connsiteX1" fmla="*/ 4513385 w 9237785"/>
                <a:gd name="connsiteY1" fmla="*/ 328247 h 355082"/>
                <a:gd name="connsiteX2" fmla="*/ 9237785 w 9237785"/>
                <a:gd name="connsiteY2" fmla="*/ 0 h 355082"/>
              </a:gdLst>
              <a:ahLst/>
              <a:cxnLst>
                <a:cxn ang="0">
                  <a:pos x="connsiteX0" y="connsiteY0"/>
                </a:cxn>
                <a:cxn ang="0">
                  <a:pos x="connsiteX1" y="connsiteY1"/>
                </a:cxn>
                <a:cxn ang="0">
                  <a:pos x="connsiteX2" y="connsiteY2"/>
                </a:cxn>
              </a:cxnLst>
              <a:rect l="l" t="t" r="r" b="b"/>
              <a:pathLst>
                <a:path w="9237785" h="355082">
                  <a:moveTo>
                    <a:pt x="0" y="175846"/>
                  </a:moveTo>
                  <a:cubicBezTo>
                    <a:pt x="1445846" y="411285"/>
                    <a:pt x="2973754" y="357555"/>
                    <a:pt x="4513385" y="328247"/>
                  </a:cubicBezTo>
                  <a:cubicBezTo>
                    <a:pt x="6053016" y="298939"/>
                    <a:pt x="7651262" y="169008"/>
                    <a:pt x="9237785"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p:cNvSpPr/>
            <p:nvPr/>
          </p:nvSpPr>
          <p:spPr bwMode="auto">
            <a:xfrm>
              <a:off x="5427700" y="2237027"/>
              <a:ext cx="1339388" cy="1086482"/>
            </a:xfrm>
            <a:custGeom>
              <a:avLst/>
              <a:gdLst>
                <a:gd name="connsiteX0" fmla="*/ 2757283 w 3969686"/>
                <a:gd name="connsiteY0" fmla="*/ 2967952 h 3226746"/>
                <a:gd name="connsiteX1" fmla="*/ 2978956 w 3969686"/>
                <a:gd name="connsiteY1" fmla="*/ 2386061 h 3226746"/>
                <a:gd name="connsiteX2" fmla="*/ 3269901 w 3969686"/>
                <a:gd name="connsiteY2" fmla="*/ 1630988 h 3226746"/>
                <a:gd name="connsiteX3" fmla="*/ 3740956 w 3969686"/>
                <a:gd name="connsiteY3" fmla="*/ 785861 h 3226746"/>
                <a:gd name="connsiteX4" fmla="*/ 3782519 w 3969686"/>
                <a:gd name="connsiteY4" fmla="*/ 688879 h 3226746"/>
                <a:gd name="connsiteX5" fmla="*/ 3837937 w 3969686"/>
                <a:gd name="connsiteY5" fmla="*/ 640388 h 3226746"/>
                <a:gd name="connsiteX6" fmla="*/ 3921065 w 3969686"/>
                <a:gd name="connsiteY6" fmla="*/ 404861 h 3226746"/>
                <a:gd name="connsiteX7" fmla="*/ 3969556 w 3969686"/>
                <a:gd name="connsiteY7" fmla="*/ 93133 h 3226746"/>
                <a:gd name="connsiteX8" fmla="*/ 3907210 w 3969686"/>
                <a:gd name="connsiteY8" fmla="*/ 51570 h 3226746"/>
                <a:gd name="connsiteX9" fmla="*/ 3692465 w 3969686"/>
                <a:gd name="connsiteY9" fmla="*/ 3079 h 3226746"/>
                <a:gd name="connsiteX10" fmla="*/ 3477719 w 3969686"/>
                <a:gd name="connsiteY10" fmla="*/ 16933 h 3226746"/>
                <a:gd name="connsiteX11" fmla="*/ 3401519 w 3969686"/>
                <a:gd name="connsiteY11" fmla="*/ 113915 h 3226746"/>
                <a:gd name="connsiteX12" fmla="*/ 3304537 w 3969686"/>
                <a:gd name="connsiteY12" fmla="*/ 377152 h 3226746"/>
                <a:gd name="connsiteX13" fmla="*/ 3159065 w 3969686"/>
                <a:gd name="connsiteY13" fmla="*/ 605752 h 3226746"/>
                <a:gd name="connsiteX14" fmla="*/ 2888901 w 3969686"/>
                <a:gd name="connsiteY14" fmla="*/ 979824 h 3226746"/>
                <a:gd name="connsiteX15" fmla="*/ 2549465 w 3969686"/>
                <a:gd name="connsiteY15" fmla="*/ 1360824 h 3226746"/>
                <a:gd name="connsiteX16" fmla="*/ 2320865 w 3969686"/>
                <a:gd name="connsiteY16" fmla="*/ 1644842 h 3226746"/>
                <a:gd name="connsiteX17" fmla="*/ 2168465 w 3969686"/>
                <a:gd name="connsiteY17" fmla="*/ 2102042 h 3226746"/>
                <a:gd name="connsiteX18" fmla="*/ 2196174 w 3969686"/>
                <a:gd name="connsiteY18" fmla="*/ 2531533 h 3226746"/>
                <a:gd name="connsiteX19" fmla="*/ 2272374 w 3969686"/>
                <a:gd name="connsiteY19" fmla="*/ 2767061 h 3226746"/>
                <a:gd name="connsiteX20" fmla="*/ 2272374 w 3969686"/>
                <a:gd name="connsiteY20" fmla="*/ 2787842 h 3226746"/>
                <a:gd name="connsiteX21" fmla="*/ 2230810 w 3969686"/>
                <a:gd name="connsiteY21" fmla="*/ 2760133 h 3226746"/>
                <a:gd name="connsiteX22" fmla="*/ 1856737 w 3969686"/>
                <a:gd name="connsiteY22" fmla="*/ 2621588 h 3226746"/>
                <a:gd name="connsiteX23" fmla="*/ 1420319 w 3969686"/>
                <a:gd name="connsiteY23" fmla="*/ 2427624 h 3226746"/>
                <a:gd name="connsiteX24" fmla="*/ 1032392 w 3969686"/>
                <a:gd name="connsiteY24" fmla="*/ 2275224 h 3226746"/>
                <a:gd name="connsiteX25" fmla="*/ 727592 w 3969686"/>
                <a:gd name="connsiteY25" fmla="*/ 2219806 h 3226746"/>
                <a:gd name="connsiteX26" fmla="*/ 443574 w 3969686"/>
                <a:gd name="connsiteY26" fmla="*/ 2233661 h 3226746"/>
                <a:gd name="connsiteX27" fmla="*/ 249610 w 3969686"/>
                <a:gd name="connsiteY27" fmla="*/ 2302933 h 3226746"/>
                <a:gd name="connsiteX28" fmla="*/ 173410 w 3969686"/>
                <a:gd name="connsiteY28" fmla="*/ 2309861 h 3226746"/>
                <a:gd name="connsiteX29" fmla="*/ 83356 w 3969686"/>
                <a:gd name="connsiteY29" fmla="*/ 2302933 h 3226746"/>
                <a:gd name="connsiteX30" fmla="*/ 7156 w 3969686"/>
                <a:gd name="connsiteY30" fmla="*/ 2358352 h 3226746"/>
                <a:gd name="connsiteX31" fmla="*/ 7156 w 3969686"/>
                <a:gd name="connsiteY31" fmla="*/ 2573097 h 3226746"/>
                <a:gd name="connsiteX32" fmla="*/ 41792 w 3969686"/>
                <a:gd name="connsiteY32" fmla="*/ 2780915 h 3226746"/>
                <a:gd name="connsiteX33" fmla="*/ 48719 w 3969686"/>
                <a:gd name="connsiteY33" fmla="*/ 2850188 h 3226746"/>
                <a:gd name="connsiteX34" fmla="*/ 152628 w 3969686"/>
                <a:gd name="connsiteY34" fmla="*/ 2870970 h 3226746"/>
                <a:gd name="connsiteX35" fmla="*/ 803792 w 3969686"/>
                <a:gd name="connsiteY35" fmla="*/ 2954097 h 3226746"/>
                <a:gd name="connsiteX36" fmla="*/ 1822101 w 3969686"/>
                <a:gd name="connsiteY36" fmla="*/ 3099570 h 3226746"/>
                <a:gd name="connsiteX37" fmla="*/ 2376283 w 3969686"/>
                <a:gd name="connsiteY37" fmla="*/ 3189624 h 3226746"/>
                <a:gd name="connsiteX38" fmla="*/ 2701865 w 3969686"/>
                <a:gd name="connsiteY38" fmla="*/ 3224261 h 3226746"/>
                <a:gd name="connsiteX39" fmla="*/ 2743428 w 3969686"/>
                <a:gd name="connsiteY39" fmla="*/ 3127279 h 3226746"/>
                <a:gd name="connsiteX40" fmla="*/ 2757283 w 3969686"/>
                <a:gd name="connsiteY40" fmla="*/ 2967952 h 3226746"/>
                <a:gd name="connsiteX0" fmla="*/ 2756944 w 3969347"/>
                <a:gd name="connsiteY0" fmla="*/ 2967952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56944 w 3969347"/>
                <a:gd name="connsiteY40" fmla="*/ 2967952 h 3226746"/>
                <a:gd name="connsiteX0" fmla="*/ 2770799 w 3969347"/>
                <a:gd name="connsiteY0" fmla="*/ 2961024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70799 w 3969347"/>
                <a:gd name="connsiteY40" fmla="*/ 2961024 h 3226746"/>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88562 w 3969347"/>
                <a:gd name="connsiteY14" fmla="*/ 979824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42466 w 3968724"/>
                <a:gd name="connsiteY39" fmla="*/ 3127279 h 3220325"/>
                <a:gd name="connsiteX40" fmla="*/ 2770176 w 3968724"/>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18836"/>
                <a:gd name="connsiteX1" fmla="*/ 2971067 w 3968724"/>
                <a:gd name="connsiteY1" fmla="*/ 2392988 h 3218836"/>
                <a:gd name="connsiteX2" fmla="*/ 3268939 w 3968724"/>
                <a:gd name="connsiteY2" fmla="*/ 1630988 h 3218836"/>
                <a:gd name="connsiteX3" fmla="*/ 3739994 w 3968724"/>
                <a:gd name="connsiteY3" fmla="*/ 785861 h 3218836"/>
                <a:gd name="connsiteX4" fmla="*/ 3781557 w 3968724"/>
                <a:gd name="connsiteY4" fmla="*/ 688879 h 3218836"/>
                <a:gd name="connsiteX5" fmla="*/ 3836975 w 3968724"/>
                <a:gd name="connsiteY5" fmla="*/ 640388 h 3218836"/>
                <a:gd name="connsiteX6" fmla="*/ 3920103 w 3968724"/>
                <a:gd name="connsiteY6" fmla="*/ 404861 h 3218836"/>
                <a:gd name="connsiteX7" fmla="*/ 3968594 w 3968724"/>
                <a:gd name="connsiteY7" fmla="*/ 93133 h 3218836"/>
                <a:gd name="connsiteX8" fmla="*/ 3906248 w 3968724"/>
                <a:gd name="connsiteY8" fmla="*/ 51570 h 3218836"/>
                <a:gd name="connsiteX9" fmla="*/ 3691503 w 3968724"/>
                <a:gd name="connsiteY9" fmla="*/ 3079 h 3218836"/>
                <a:gd name="connsiteX10" fmla="*/ 3476757 w 3968724"/>
                <a:gd name="connsiteY10" fmla="*/ 16933 h 3218836"/>
                <a:gd name="connsiteX11" fmla="*/ 3400557 w 3968724"/>
                <a:gd name="connsiteY11" fmla="*/ 113915 h 3218836"/>
                <a:gd name="connsiteX12" fmla="*/ 3289720 w 3968724"/>
                <a:gd name="connsiteY12" fmla="*/ 370225 h 3218836"/>
                <a:gd name="connsiteX13" fmla="*/ 3158103 w 3968724"/>
                <a:gd name="connsiteY13" fmla="*/ 605752 h 3218836"/>
                <a:gd name="connsiteX14" fmla="*/ 2867157 w 3968724"/>
                <a:gd name="connsiteY14" fmla="*/ 972897 h 3218836"/>
                <a:gd name="connsiteX15" fmla="*/ 2548503 w 3968724"/>
                <a:gd name="connsiteY15" fmla="*/ 1360824 h 3218836"/>
                <a:gd name="connsiteX16" fmla="*/ 2319903 w 3968724"/>
                <a:gd name="connsiteY16" fmla="*/ 1644842 h 3218836"/>
                <a:gd name="connsiteX17" fmla="*/ 2167503 w 3968724"/>
                <a:gd name="connsiteY17" fmla="*/ 2102042 h 3218836"/>
                <a:gd name="connsiteX18" fmla="*/ 2195212 w 3968724"/>
                <a:gd name="connsiteY18" fmla="*/ 2531533 h 3218836"/>
                <a:gd name="connsiteX19" fmla="*/ 2271412 w 3968724"/>
                <a:gd name="connsiteY19" fmla="*/ 2767061 h 3218836"/>
                <a:gd name="connsiteX20" fmla="*/ 2271412 w 3968724"/>
                <a:gd name="connsiteY20" fmla="*/ 2787842 h 3218836"/>
                <a:gd name="connsiteX21" fmla="*/ 2229848 w 3968724"/>
                <a:gd name="connsiteY21" fmla="*/ 2760133 h 3218836"/>
                <a:gd name="connsiteX22" fmla="*/ 1855775 w 3968724"/>
                <a:gd name="connsiteY22" fmla="*/ 2621588 h 3218836"/>
                <a:gd name="connsiteX23" fmla="*/ 1419357 w 3968724"/>
                <a:gd name="connsiteY23" fmla="*/ 2427624 h 3218836"/>
                <a:gd name="connsiteX24" fmla="*/ 1031430 w 3968724"/>
                <a:gd name="connsiteY24" fmla="*/ 2275224 h 3218836"/>
                <a:gd name="connsiteX25" fmla="*/ 726630 w 3968724"/>
                <a:gd name="connsiteY25" fmla="*/ 2219806 h 3218836"/>
                <a:gd name="connsiteX26" fmla="*/ 442612 w 3968724"/>
                <a:gd name="connsiteY26" fmla="*/ 2233661 h 3218836"/>
                <a:gd name="connsiteX27" fmla="*/ 248648 w 3968724"/>
                <a:gd name="connsiteY27" fmla="*/ 2302933 h 3218836"/>
                <a:gd name="connsiteX28" fmla="*/ 172448 w 3968724"/>
                <a:gd name="connsiteY28" fmla="*/ 2309861 h 3218836"/>
                <a:gd name="connsiteX29" fmla="*/ 82394 w 3968724"/>
                <a:gd name="connsiteY29" fmla="*/ 2302933 h 3218836"/>
                <a:gd name="connsiteX30" fmla="*/ 6194 w 3968724"/>
                <a:gd name="connsiteY30" fmla="*/ 2358352 h 3218836"/>
                <a:gd name="connsiteX31" fmla="*/ 6194 w 3968724"/>
                <a:gd name="connsiteY31" fmla="*/ 2573097 h 3218836"/>
                <a:gd name="connsiteX32" fmla="*/ 20047 w 3968724"/>
                <a:gd name="connsiteY32" fmla="*/ 2746279 h 3218836"/>
                <a:gd name="connsiteX33" fmla="*/ 47757 w 3968724"/>
                <a:gd name="connsiteY33" fmla="*/ 2850188 h 3218836"/>
                <a:gd name="connsiteX34" fmla="*/ 151666 w 3968724"/>
                <a:gd name="connsiteY34" fmla="*/ 2870970 h 3218836"/>
                <a:gd name="connsiteX35" fmla="*/ 802830 w 3968724"/>
                <a:gd name="connsiteY35" fmla="*/ 2954097 h 3218836"/>
                <a:gd name="connsiteX36" fmla="*/ 1821139 w 3968724"/>
                <a:gd name="connsiteY36" fmla="*/ 3099570 h 3218836"/>
                <a:gd name="connsiteX37" fmla="*/ 2375321 w 3968724"/>
                <a:gd name="connsiteY37" fmla="*/ 3161915 h 3218836"/>
                <a:gd name="connsiteX38" fmla="*/ 2680121 w 3968724"/>
                <a:gd name="connsiteY38" fmla="*/ 3217333 h 3218836"/>
                <a:gd name="connsiteX39" fmla="*/ 2770176 w 3968724"/>
                <a:gd name="connsiteY39" fmla="*/ 2961024 h 3218836"/>
                <a:gd name="connsiteX0" fmla="*/ 2770176 w 3968724"/>
                <a:gd name="connsiteY0" fmla="*/ 2961024 h 3219342"/>
                <a:gd name="connsiteX1" fmla="*/ 2971067 w 3968724"/>
                <a:gd name="connsiteY1" fmla="*/ 2392988 h 3219342"/>
                <a:gd name="connsiteX2" fmla="*/ 3268939 w 3968724"/>
                <a:gd name="connsiteY2" fmla="*/ 1630988 h 3219342"/>
                <a:gd name="connsiteX3" fmla="*/ 3739994 w 3968724"/>
                <a:gd name="connsiteY3" fmla="*/ 785861 h 3219342"/>
                <a:gd name="connsiteX4" fmla="*/ 3781557 w 3968724"/>
                <a:gd name="connsiteY4" fmla="*/ 688879 h 3219342"/>
                <a:gd name="connsiteX5" fmla="*/ 3836975 w 3968724"/>
                <a:gd name="connsiteY5" fmla="*/ 640388 h 3219342"/>
                <a:gd name="connsiteX6" fmla="*/ 3920103 w 3968724"/>
                <a:gd name="connsiteY6" fmla="*/ 404861 h 3219342"/>
                <a:gd name="connsiteX7" fmla="*/ 3968594 w 3968724"/>
                <a:gd name="connsiteY7" fmla="*/ 93133 h 3219342"/>
                <a:gd name="connsiteX8" fmla="*/ 3906248 w 3968724"/>
                <a:gd name="connsiteY8" fmla="*/ 51570 h 3219342"/>
                <a:gd name="connsiteX9" fmla="*/ 3691503 w 3968724"/>
                <a:gd name="connsiteY9" fmla="*/ 3079 h 3219342"/>
                <a:gd name="connsiteX10" fmla="*/ 3476757 w 3968724"/>
                <a:gd name="connsiteY10" fmla="*/ 16933 h 3219342"/>
                <a:gd name="connsiteX11" fmla="*/ 3400557 w 3968724"/>
                <a:gd name="connsiteY11" fmla="*/ 113915 h 3219342"/>
                <a:gd name="connsiteX12" fmla="*/ 3289720 w 3968724"/>
                <a:gd name="connsiteY12" fmla="*/ 370225 h 3219342"/>
                <a:gd name="connsiteX13" fmla="*/ 3158103 w 3968724"/>
                <a:gd name="connsiteY13" fmla="*/ 605752 h 3219342"/>
                <a:gd name="connsiteX14" fmla="*/ 2867157 w 3968724"/>
                <a:gd name="connsiteY14" fmla="*/ 972897 h 3219342"/>
                <a:gd name="connsiteX15" fmla="*/ 2548503 w 3968724"/>
                <a:gd name="connsiteY15" fmla="*/ 1360824 h 3219342"/>
                <a:gd name="connsiteX16" fmla="*/ 2319903 w 3968724"/>
                <a:gd name="connsiteY16" fmla="*/ 1644842 h 3219342"/>
                <a:gd name="connsiteX17" fmla="*/ 2167503 w 3968724"/>
                <a:gd name="connsiteY17" fmla="*/ 2102042 h 3219342"/>
                <a:gd name="connsiteX18" fmla="*/ 2195212 w 3968724"/>
                <a:gd name="connsiteY18" fmla="*/ 2531533 h 3219342"/>
                <a:gd name="connsiteX19" fmla="*/ 2271412 w 3968724"/>
                <a:gd name="connsiteY19" fmla="*/ 2767061 h 3219342"/>
                <a:gd name="connsiteX20" fmla="*/ 2271412 w 3968724"/>
                <a:gd name="connsiteY20" fmla="*/ 2787842 h 3219342"/>
                <a:gd name="connsiteX21" fmla="*/ 2229848 w 3968724"/>
                <a:gd name="connsiteY21" fmla="*/ 2760133 h 3219342"/>
                <a:gd name="connsiteX22" fmla="*/ 1855775 w 3968724"/>
                <a:gd name="connsiteY22" fmla="*/ 2621588 h 3219342"/>
                <a:gd name="connsiteX23" fmla="*/ 1419357 w 3968724"/>
                <a:gd name="connsiteY23" fmla="*/ 2427624 h 3219342"/>
                <a:gd name="connsiteX24" fmla="*/ 1031430 w 3968724"/>
                <a:gd name="connsiteY24" fmla="*/ 2275224 h 3219342"/>
                <a:gd name="connsiteX25" fmla="*/ 726630 w 3968724"/>
                <a:gd name="connsiteY25" fmla="*/ 2219806 h 3219342"/>
                <a:gd name="connsiteX26" fmla="*/ 442612 w 3968724"/>
                <a:gd name="connsiteY26" fmla="*/ 2233661 h 3219342"/>
                <a:gd name="connsiteX27" fmla="*/ 248648 w 3968724"/>
                <a:gd name="connsiteY27" fmla="*/ 2302933 h 3219342"/>
                <a:gd name="connsiteX28" fmla="*/ 172448 w 3968724"/>
                <a:gd name="connsiteY28" fmla="*/ 2309861 h 3219342"/>
                <a:gd name="connsiteX29" fmla="*/ 82394 w 3968724"/>
                <a:gd name="connsiteY29" fmla="*/ 2302933 h 3219342"/>
                <a:gd name="connsiteX30" fmla="*/ 6194 w 3968724"/>
                <a:gd name="connsiteY30" fmla="*/ 2358352 h 3219342"/>
                <a:gd name="connsiteX31" fmla="*/ 6194 w 3968724"/>
                <a:gd name="connsiteY31" fmla="*/ 2573097 h 3219342"/>
                <a:gd name="connsiteX32" fmla="*/ 20047 w 3968724"/>
                <a:gd name="connsiteY32" fmla="*/ 2746279 h 3219342"/>
                <a:gd name="connsiteX33" fmla="*/ 47757 w 3968724"/>
                <a:gd name="connsiteY33" fmla="*/ 2850188 h 3219342"/>
                <a:gd name="connsiteX34" fmla="*/ 151666 w 3968724"/>
                <a:gd name="connsiteY34" fmla="*/ 2870970 h 3219342"/>
                <a:gd name="connsiteX35" fmla="*/ 802830 w 3968724"/>
                <a:gd name="connsiteY35" fmla="*/ 2954097 h 3219342"/>
                <a:gd name="connsiteX36" fmla="*/ 1821139 w 3968724"/>
                <a:gd name="connsiteY36" fmla="*/ 3099570 h 3219342"/>
                <a:gd name="connsiteX37" fmla="*/ 2368394 w 3968724"/>
                <a:gd name="connsiteY37" fmla="*/ 3175770 h 3219342"/>
                <a:gd name="connsiteX38" fmla="*/ 2680121 w 3968724"/>
                <a:gd name="connsiteY38" fmla="*/ 3217333 h 3219342"/>
                <a:gd name="connsiteX39" fmla="*/ 2770176 w 3968724"/>
                <a:gd name="connsiteY39" fmla="*/ 2961024 h 321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968724" h="3219342">
                  <a:moveTo>
                    <a:pt x="2770176" y="2961024"/>
                  </a:moveTo>
                  <a:cubicBezTo>
                    <a:pt x="2825595" y="2809779"/>
                    <a:pt x="2887940" y="2614661"/>
                    <a:pt x="2971067" y="2392988"/>
                  </a:cubicBezTo>
                  <a:cubicBezTo>
                    <a:pt x="3054194" y="2171315"/>
                    <a:pt x="3140785" y="1898842"/>
                    <a:pt x="3268939" y="1630988"/>
                  </a:cubicBezTo>
                  <a:cubicBezTo>
                    <a:pt x="3397093" y="1363134"/>
                    <a:pt x="3654558" y="942879"/>
                    <a:pt x="3739994" y="785861"/>
                  </a:cubicBezTo>
                  <a:cubicBezTo>
                    <a:pt x="3825430" y="628843"/>
                    <a:pt x="3765394" y="713124"/>
                    <a:pt x="3781557" y="688879"/>
                  </a:cubicBezTo>
                  <a:cubicBezTo>
                    <a:pt x="3797720" y="664634"/>
                    <a:pt x="3813884" y="687724"/>
                    <a:pt x="3836975" y="640388"/>
                  </a:cubicBezTo>
                  <a:cubicBezTo>
                    <a:pt x="3860066" y="593052"/>
                    <a:pt x="3898166" y="496070"/>
                    <a:pt x="3920103" y="404861"/>
                  </a:cubicBezTo>
                  <a:cubicBezTo>
                    <a:pt x="3942040" y="313652"/>
                    <a:pt x="3970903" y="152015"/>
                    <a:pt x="3968594" y="93133"/>
                  </a:cubicBezTo>
                  <a:cubicBezTo>
                    <a:pt x="3966285" y="34251"/>
                    <a:pt x="3952430" y="66579"/>
                    <a:pt x="3906248" y="51570"/>
                  </a:cubicBezTo>
                  <a:cubicBezTo>
                    <a:pt x="3860066" y="36561"/>
                    <a:pt x="3763085" y="8852"/>
                    <a:pt x="3691503" y="3079"/>
                  </a:cubicBezTo>
                  <a:cubicBezTo>
                    <a:pt x="3619921" y="-2694"/>
                    <a:pt x="3525248" y="-1540"/>
                    <a:pt x="3476757" y="16933"/>
                  </a:cubicBezTo>
                  <a:cubicBezTo>
                    <a:pt x="3428266" y="35406"/>
                    <a:pt x="3431730" y="55033"/>
                    <a:pt x="3400557" y="113915"/>
                  </a:cubicBezTo>
                  <a:cubicBezTo>
                    <a:pt x="3369384" y="172797"/>
                    <a:pt x="3330129" y="288252"/>
                    <a:pt x="3289720" y="370225"/>
                  </a:cubicBezTo>
                  <a:cubicBezTo>
                    <a:pt x="3249311" y="452198"/>
                    <a:pt x="3228530" y="505307"/>
                    <a:pt x="3158103" y="605752"/>
                  </a:cubicBezTo>
                  <a:cubicBezTo>
                    <a:pt x="3087676" y="706197"/>
                    <a:pt x="2968757" y="847052"/>
                    <a:pt x="2867157" y="972897"/>
                  </a:cubicBezTo>
                  <a:cubicBezTo>
                    <a:pt x="2765557" y="1098742"/>
                    <a:pt x="2639712" y="1248833"/>
                    <a:pt x="2548503" y="1360824"/>
                  </a:cubicBezTo>
                  <a:cubicBezTo>
                    <a:pt x="2457294" y="1472815"/>
                    <a:pt x="2383403" y="1521306"/>
                    <a:pt x="2319903" y="1644842"/>
                  </a:cubicBezTo>
                  <a:cubicBezTo>
                    <a:pt x="2256403" y="1768378"/>
                    <a:pt x="2188285" y="1954260"/>
                    <a:pt x="2167503" y="2102042"/>
                  </a:cubicBezTo>
                  <a:cubicBezTo>
                    <a:pt x="2146721" y="2249824"/>
                    <a:pt x="2164040" y="2441478"/>
                    <a:pt x="2195212" y="2531533"/>
                  </a:cubicBezTo>
                  <a:cubicBezTo>
                    <a:pt x="2226384" y="2621588"/>
                    <a:pt x="2271412" y="2767061"/>
                    <a:pt x="2271412" y="2767061"/>
                  </a:cubicBezTo>
                  <a:cubicBezTo>
                    <a:pt x="2284112" y="2809779"/>
                    <a:pt x="2278339" y="2788997"/>
                    <a:pt x="2271412" y="2787842"/>
                  </a:cubicBezTo>
                  <a:cubicBezTo>
                    <a:pt x="2264485" y="2786687"/>
                    <a:pt x="2299121" y="2787842"/>
                    <a:pt x="2229848" y="2760133"/>
                  </a:cubicBezTo>
                  <a:cubicBezTo>
                    <a:pt x="2160575" y="2732424"/>
                    <a:pt x="1990857" y="2677006"/>
                    <a:pt x="1855775" y="2621588"/>
                  </a:cubicBezTo>
                  <a:cubicBezTo>
                    <a:pt x="1720693" y="2566170"/>
                    <a:pt x="1556748" y="2485351"/>
                    <a:pt x="1419357" y="2427624"/>
                  </a:cubicBezTo>
                  <a:cubicBezTo>
                    <a:pt x="1281966" y="2369897"/>
                    <a:pt x="1146884" y="2309860"/>
                    <a:pt x="1031430" y="2275224"/>
                  </a:cubicBezTo>
                  <a:cubicBezTo>
                    <a:pt x="915975" y="2240588"/>
                    <a:pt x="824766" y="2226733"/>
                    <a:pt x="726630" y="2219806"/>
                  </a:cubicBezTo>
                  <a:cubicBezTo>
                    <a:pt x="628494" y="2212879"/>
                    <a:pt x="522276" y="2219806"/>
                    <a:pt x="442612" y="2233661"/>
                  </a:cubicBezTo>
                  <a:cubicBezTo>
                    <a:pt x="362948" y="2247515"/>
                    <a:pt x="293675" y="2290233"/>
                    <a:pt x="248648" y="2302933"/>
                  </a:cubicBezTo>
                  <a:cubicBezTo>
                    <a:pt x="203621" y="2315633"/>
                    <a:pt x="200157" y="2309861"/>
                    <a:pt x="172448" y="2309861"/>
                  </a:cubicBezTo>
                  <a:cubicBezTo>
                    <a:pt x="144739" y="2309861"/>
                    <a:pt x="110103" y="2294851"/>
                    <a:pt x="82394" y="2302933"/>
                  </a:cubicBezTo>
                  <a:cubicBezTo>
                    <a:pt x="54685" y="2311015"/>
                    <a:pt x="18894" y="2313325"/>
                    <a:pt x="6194" y="2358352"/>
                  </a:cubicBezTo>
                  <a:cubicBezTo>
                    <a:pt x="-6506" y="2403379"/>
                    <a:pt x="3885" y="2508443"/>
                    <a:pt x="6194" y="2573097"/>
                  </a:cubicBezTo>
                  <a:cubicBezTo>
                    <a:pt x="8503" y="2637751"/>
                    <a:pt x="13120" y="2700097"/>
                    <a:pt x="20047" y="2746279"/>
                  </a:cubicBezTo>
                  <a:cubicBezTo>
                    <a:pt x="26974" y="2792461"/>
                    <a:pt x="25821" y="2829406"/>
                    <a:pt x="47757" y="2850188"/>
                  </a:cubicBezTo>
                  <a:cubicBezTo>
                    <a:pt x="69694" y="2870970"/>
                    <a:pt x="151666" y="2870970"/>
                    <a:pt x="151666" y="2870970"/>
                  </a:cubicBezTo>
                  <a:lnTo>
                    <a:pt x="802830" y="2954097"/>
                  </a:lnTo>
                  <a:lnTo>
                    <a:pt x="1821139" y="3099570"/>
                  </a:lnTo>
                  <a:lnTo>
                    <a:pt x="2368394" y="3175770"/>
                  </a:lnTo>
                  <a:cubicBezTo>
                    <a:pt x="2511558" y="3195397"/>
                    <a:pt x="2618930" y="3227724"/>
                    <a:pt x="2680121" y="3217333"/>
                  </a:cubicBezTo>
                  <a:cubicBezTo>
                    <a:pt x="2745930" y="3179233"/>
                    <a:pt x="2714757" y="3112269"/>
                    <a:pt x="2770176" y="296102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p:cNvGrpSpPr/>
            <p:nvPr/>
          </p:nvGrpSpPr>
          <p:grpSpPr>
            <a:xfrm>
              <a:off x="5241576" y="2140897"/>
              <a:ext cx="277053" cy="700727"/>
              <a:chOff x="8676358" y="4152459"/>
              <a:chExt cx="820933" cy="2076317"/>
            </a:xfrm>
          </p:grpSpPr>
          <p:sp>
            <p:nvSpPr>
              <p:cNvPr id="143" name="Rectangle: Rounded Corners 142"/>
              <p:cNvSpPr/>
              <p:nvPr/>
            </p:nvSpPr>
            <p:spPr bwMode="auto">
              <a:xfrm rot="20416543">
                <a:off x="9290794" y="4152459"/>
                <a:ext cx="161827" cy="1795600"/>
              </a:xfrm>
              <a:prstGeom prst="roundRect">
                <a:avLst>
                  <a:gd name="adj" fmla="val 50000"/>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4" name="Straight Connector 143"/>
              <p:cNvCxnSpPr/>
              <p:nvPr/>
            </p:nvCxnSpPr>
            <p:spPr>
              <a:xfrm flipV="1">
                <a:off x="8676358" y="5475393"/>
                <a:ext cx="418036" cy="175499"/>
              </a:xfrm>
              <a:prstGeom prst="line">
                <a:avLst/>
              </a:prstGeom>
              <a:noFill/>
              <a:ln w="9525" cap="rnd" cmpd="sng" algn="ctr">
                <a:solidFill>
                  <a:schemeClr val="bg1">
                    <a:lumMod val="50000"/>
                  </a:schemeClr>
                </a:solidFill>
                <a:prstDash val="solid"/>
                <a:headEnd type="none"/>
                <a:tailEnd type="none"/>
              </a:ln>
              <a:effectLst/>
            </p:spPr>
          </p:cxnSp>
          <p:cxnSp>
            <p:nvCxnSpPr>
              <p:cNvPr id="145" name="Straight Connector 144"/>
              <p:cNvCxnSpPr/>
              <p:nvPr/>
            </p:nvCxnSpPr>
            <p:spPr>
              <a:xfrm flipV="1">
                <a:off x="8915400" y="4738861"/>
                <a:ext cx="235466" cy="148404"/>
              </a:xfrm>
              <a:prstGeom prst="line">
                <a:avLst/>
              </a:prstGeom>
              <a:noFill/>
              <a:ln w="9525" cap="rnd" cmpd="sng" algn="ctr">
                <a:solidFill>
                  <a:schemeClr val="bg1">
                    <a:lumMod val="50000"/>
                  </a:schemeClr>
                </a:solidFill>
                <a:prstDash val="solid"/>
                <a:headEnd type="none"/>
                <a:tailEnd type="none"/>
              </a:ln>
              <a:effectLst/>
            </p:spPr>
          </p:cxnSp>
          <p:sp>
            <p:nvSpPr>
              <p:cNvPr id="146" name="Freeform: Shape 145"/>
              <p:cNvSpPr/>
              <p:nvPr/>
            </p:nvSpPr>
            <p:spPr bwMode="auto">
              <a:xfrm>
                <a:off x="8676400" y="5639958"/>
                <a:ext cx="124857" cy="588818"/>
              </a:xfrm>
              <a:custGeom>
                <a:avLst/>
                <a:gdLst>
                  <a:gd name="connsiteX0" fmla="*/ 0 w 136814"/>
                  <a:gd name="connsiteY0" fmla="*/ 0 h 588819"/>
                  <a:gd name="connsiteX1" fmla="*/ 96982 w 136814"/>
                  <a:gd name="connsiteY1" fmla="*/ 284019 h 588819"/>
                  <a:gd name="connsiteX2" fmla="*/ 131619 w 136814"/>
                  <a:gd name="connsiteY2" fmla="*/ 450273 h 588819"/>
                  <a:gd name="connsiteX3" fmla="*/ 124691 w 136814"/>
                  <a:gd name="connsiteY3" fmla="*/ 526473 h 588819"/>
                  <a:gd name="connsiteX4" fmla="*/ 20782 w 136814"/>
                  <a:gd name="connsiteY4" fmla="*/ 588819 h 588819"/>
                  <a:gd name="connsiteX0" fmla="*/ 0 w 132167"/>
                  <a:gd name="connsiteY0" fmla="*/ 0 h 588819"/>
                  <a:gd name="connsiteX1" fmla="*/ 96982 w 132167"/>
                  <a:gd name="connsiteY1" fmla="*/ 284019 h 588819"/>
                  <a:gd name="connsiteX2" fmla="*/ 131619 w 132167"/>
                  <a:gd name="connsiteY2" fmla="*/ 450273 h 588819"/>
                  <a:gd name="connsiteX3" fmla="*/ 110837 w 132167"/>
                  <a:gd name="connsiteY3" fmla="*/ 519546 h 588819"/>
                  <a:gd name="connsiteX4" fmla="*/ 20782 w 132167"/>
                  <a:gd name="connsiteY4" fmla="*/ 588819 h 588819"/>
                  <a:gd name="connsiteX0" fmla="*/ 0 w 131706"/>
                  <a:gd name="connsiteY0" fmla="*/ 0 h 588819"/>
                  <a:gd name="connsiteX1" fmla="*/ 96982 w 131706"/>
                  <a:gd name="connsiteY1" fmla="*/ 284019 h 588819"/>
                  <a:gd name="connsiteX2" fmla="*/ 131619 w 131706"/>
                  <a:gd name="connsiteY2" fmla="*/ 450273 h 588819"/>
                  <a:gd name="connsiteX3" fmla="*/ 103910 w 131706"/>
                  <a:gd name="connsiteY3" fmla="*/ 512619 h 588819"/>
                  <a:gd name="connsiteX4" fmla="*/ 20782 w 131706"/>
                  <a:gd name="connsiteY4" fmla="*/ 588819 h 588819"/>
                  <a:gd name="connsiteX0" fmla="*/ 0 w 124858"/>
                  <a:gd name="connsiteY0" fmla="*/ 0 h 588819"/>
                  <a:gd name="connsiteX1" fmla="*/ 96982 w 124858"/>
                  <a:gd name="connsiteY1" fmla="*/ 284019 h 588819"/>
                  <a:gd name="connsiteX2" fmla="*/ 124692 w 124858"/>
                  <a:gd name="connsiteY2" fmla="*/ 436418 h 588819"/>
                  <a:gd name="connsiteX3" fmla="*/ 103910 w 124858"/>
                  <a:gd name="connsiteY3" fmla="*/ 512619 h 588819"/>
                  <a:gd name="connsiteX4" fmla="*/ 20782 w 124858"/>
                  <a:gd name="connsiteY4" fmla="*/ 588819 h 588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58" h="588819">
                    <a:moveTo>
                      <a:pt x="0" y="0"/>
                    </a:moveTo>
                    <a:cubicBezTo>
                      <a:pt x="37523" y="104487"/>
                      <a:pt x="76200" y="211283"/>
                      <a:pt x="96982" y="284019"/>
                    </a:cubicBezTo>
                    <a:cubicBezTo>
                      <a:pt x="117764" y="356755"/>
                      <a:pt x="123537" y="398318"/>
                      <a:pt x="124692" y="436418"/>
                    </a:cubicBezTo>
                    <a:cubicBezTo>
                      <a:pt x="125847" y="474518"/>
                      <a:pt x="121228" y="487219"/>
                      <a:pt x="103910" y="512619"/>
                    </a:cubicBezTo>
                    <a:cubicBezTo>
                      <a:pt x="86592" y="538019"/>
                      <a:pt x="63500" y="569191"/>
                      <a:pt x="20782" y="58881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p:cNvSpPr/>
              <p:nvPr/>
            </p:nvSpPr>
            <p:spPr bwMode="auto">
              <a:xfrm>
                <a:off x="8894618" y="4883727"/>
                <a:ext cx="602673" cy="782782"/>
              </a:xfrm>
              <a:custGeom>
                <a:avLst/>
                <a:gdLst>
                  <a:gd name="connsiteX0" fmla="*/ 0 w 602673"/>
                  <a:gd name="connsiteY0" fmla="*/ 0 h 782782"/>
                  <a:gd name="connsiteX1" fmla="*/ 145473 w 602673"/>
                  <a:gd name="connsiteY1" fmla="*/ 381000 h 782782"/>
                  <a:gd name="connsiteX2" fmla="*/ 221673 w 602673"/>
                  <a:gd name="connsiteY2" fmla="*/ 602673 h 782782"/>
                  <a:gd name="connsiteX3" fmla="*/ 290946 w 602673"/>
                  <a:gd name="connsiteY3" fmla="*/ 671945 h 782782"/>
                  <a:gd name="connsiteX4" fmla="*/ 408709 w 602673"/>
                  <a:gd name="connsiteY4" fmla="*/ 699655 h 782782"/>
                  <a:gd name="connsiteX5" fmla="*/ 519546 w 602673"/>
                  <a:gd name="connsiteY5" fmla="*/ 734291 h 782782"/>
                  <a:gd name="connsiteX6" fmla="*/ 602673 w 602673"/>
                  <a:gd name="connsiteY6" fmla="*/ 782782 h 78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673" h="782782">
                    <a:moveTo>
                      <a:pt x="0" y="0"/>
                    </a:moveTo>
                    <a:cubicBezTo>
                      <a:pt x="54264" y="140277"/>
                      <a:pt x="108528" y="280555"/>
                      <a:pt x="145473" y="381000"/>
                    </a:cubicBezTo>
                    <a:cubicBezTo>
                      <a:pt x="182418" y="481445"/>
                      <a:pt x="197428" y="554182"/>
                      <a:pt x="221673" y="602673"/>
                    </a:cubicBezTo>
                    <a:cubicBezTo>
                      <a:pt x="245918" y="651164"/>
                      <a:pt x="259773" y="655781"/>
                      <a:pt x="290946" y="671945"/>
                    </a:cubicBezTo>
                    <a:cubicBezTo>
                      <a:pt x="322119" y="688109"/>
                      <a:pt x="370609" y="689264"/>
                      <a:pt x="408709" y="699655"/>
                    </a:cubicBezTo>
                    <a:cubicBezTo>
                      <a:pt x="446809" y="710046"/>
                      <a:pt x="487219" y="720437"/>
                      <a:pt x="519546" y="734291"/>
                    </a:cubicBezTo>
                    <a:cubicBezTo>
                      <a:pt x="551873" y="748145"/>
                      <a:pt x="577273" y="765463"/>
                      <a:pt x="602673" y="782782"/>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29" name="Freeform: Shape 28"/>
            <p:cNvSpPr/>
            <p:nvPr/>
          </p:nvSpPr>
          <p:spPr bwMode="auto">
            <a:xfrm>
              <a:off x="8555505" y="3174074"/>
              <a:ext cx="628884" cy="195515"/>
            </a:xfrm>
            <a:custGeom>
              <a:avLst/>
              <a:gdLst>
                <a:gd name="connsiteX0" fmla="*/ 0 w 1863437"/>
                <a:gd name="connsiteY0" fmla="*/ 579328 h 579328"/>
                <a:gd name="connsiteX1" fmla="*/ 713509 w 1863437"/>
                <a:gd name="connsiteY1" fmla="*/ 364582 h 579328"/>
                <a:gd name="connsiteX2" fmla="*/ 1281546 w 1863437"/>
                <a:gd name="connsiteY2" fmla="*/ 149837 h 579328"/>
                <a:gd name="connsiteX3" fmla="*/ 1745673 w 1863437"/>
                <a:gd name="connsiteY3" fmla="*/ 18219 h 579328"/>
                <a:gd name="connsiteX4" fmla="*/ 1863437 w 1863437"/>
                <a:gd name="connsiteY4" fmla="*/ 4364 h 579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437" h="579328">
                  <a:moveTo>
                    <a:pt x="0" y="579328"/>
                  </a:moveTo>
                  <a:cubicBezTo>
                    <a:pt x="249959" y="507746"/>
                    <a:pt x="499918" y="436164"/>
                    <a:pt x="713509" y="364582"/>
                  </a:cubicBezTo>
                  <a:cubicBezTo>
                    <a:pt x="927100" y="293000"/>
                    <a:pt x="1109519" y="207564"/>
                    <a:pt x="1281546" y="149837"/>
                  </a:cubicBezTo>
                  <a:cubicBezTo>
                    <a:pt x="1453573" y="92110"/>
                    <a:pt x="1648691" y="42464"/>
                    <a:pt x="1745673" y="18219"/>
                  </a:cubicBezTo>
                  <a:cubicBezTo>
                    <a:pt x="1842655" y="-6026"/>
                    <a:pt x="1853046" y="-831"/>
                    <a:pt x="1863437" y="43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p:cNvSpPr/>
            <p:nvPr/>
          </p:nvSpPr>
          <p:spPr bwMode="auto">
            <a:xfrm>
              <a:off x="8590573" y="2207675"/>
              <a:ext cx="558747" cy="477301"/>
            </a:xfrm>
            <a:custGeom>
              <a:avLst/>
              <a:gdLst>
                <a:gd name="connsiteX0" fmla="*/ 332509 w 1641763"/>
                <a:gd name="connsiteY0" fmla="*/ 0 h 1435067"/>
                <a:gd name="connsiteX1" fmla="*/ 193963 w 1641763"/>
                <a:gd name="connsiteY1" fmla="*/ 221673 h 1435067"/>
                <a:gd name="connsiteX2" fmla="*/ 48491 w 1641763"/>
                <a:gd name="connsiteY2" fmla="*/ 429491 h 1435067"/>
                <a:gd name="connsiteX3" fmla="*/ 0 w 1641763"/>
                <a:gd name="connsiteY3" fmla="*/ 519546 h 1435067"/>
                <a:gd name="connsiteX4" fmla="*/ 48491 w 1641763"/>
                <a:gd name="connsiteY4" fmla="*/ 699655 h 1435067"/>
                <a:gd name="connsiteX5" fmla="*/ 235527 w 1641763"/>
                <a:gd name="connsiteY5" fmla="*/ 914400 h 1435067"/>
                <a:gd name="connsiteX6" fmla="*/ 540327 w 1641763"/>
                <a:gd name="connsiteY6" fmla="*/ 1149928 h 1435067"/>
                <a:gd name="connsiteX7" fmla="*/ 886691 w 1641763"/>
                <a:gd name="connsiteY7" fmla="*/ 1330037 h 1435067"/>
                <a:gd name="connsiteX8" fmla="*/ 1184563 w 1641763"/>
                <a:gd name="connsiteY8" fmla="*/ 1406237 h 1435067"/>
                <a:gd name="connsiteX9" fmla="*/ 1406236 w 1641763"/>
                <a:gd name="connsiteY9" fmla="*/ 1433946 h 1435067"/>
                <a:gd name="connsiteX10" fmla="*/ 1641763 w 1641763"/>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699655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720437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53290 w 1655617"/>
                <a:gd name="connsiteY0" fmla="*/ 0 h 1414285"/>
                <a:gd name="connsiteX1" fmla="*/ 207817 w 1655617"/>
                <a:gd name="connsiteY1" fmla="*/ 200891 h 1414285"/>
                <a:gd name="connsiteX2" fmla="*/ 62345 w 1655617"/>
                <a:gd name="connsiteY2" fmla="*/ 408709 h 1414285"/>
                <a:gd name="connsiteX3" fmla="*/ 0 w 1655617"/>
                <a:gd name="connsiteY3" fmla="*/ 526473 h 1414285"/>
                <a:gd name="connsiteX4" fmla="*/ 62345 w 1655617"/>
                <a:gd name="connsiteY4" fmla="*/ 699655 h 1414285"/>
                <a:gd name="connsiteX5" fmla="*/ 249381 w 1655617"/>
                <a:gd name="connsiteY5" fmla="*/ 893618 h 1414285"/>
                <a:gd name="connsiteX6" fmla="*/ 554181 w 1655617"/>
                <a:gd name="connsiteY6" fmla="*/ 1129146 h 1414285"/>
                <a:gd name="connsiteX7" fmla="*/ 900545 w 1655617"/>
                <a:gd name="connsiteY7" fmla="*/ 1309255 h 1414285"/>
                <a:gd name="connsiteX8" fmla="*/ 1198417 w 1655617"/>
                <a:gd name="connsiteY8" fmla="*/ 1385455 h 1414285"/>
                <a:gd name="connsiteX9" fmla="*/ 1420090 w 1655617"/>
                <a:gd name="connsiteY9" fmla="*/ 1413164 h 1414285"/>
                <a:gd name="connsiteX10" fmla="*/ 1655617 w 1655617"/>
                <a:gd name="connsiteY10" fmla="*/ 1406237 h 141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5617" h="1414285">
                  <a:moveTo>
                    <a:pt x="353290" y="0"/>
                  </a:moveTo>
                  <a:cubicBezTo>
                    <a:pt x="307685" y="75045"/>
                    <a:pt x="256308" y="132773"/>
                    <a:pt x="207817" y="200891"/>
                  </a:cubicBezTo>
                  <a:cubicBezTo>
                    <a:pt x="159326" y="269009"/>
                    <a:pt x="96981" y="354445"/>
                    <a:pt x="62345" y="408709"/>
                  </a:cubicBezTo>
                  <a:cubicBezTo>
                    <a:pt x="27709" y="462973"/>
                    <a:pt x="0" y="477982"/>
                    <a:pt x="0" y="526473"/>
                  </a:cubicBezTo>
                  <a:cubicBezTo>
                    <a:pt x="0" y="574964"/>
                    <a:pt x="20782" y="638464"/>
                    <a:pt x="62345" y="699655"/>
                  </a:cubicBezTo>
                  <a:cubicBezTo>
                    <a:pt x="103908" y="760846"/>
                    <a:pt x="167408" y="822036"/>
                    <a:pt x="249381" y="893618"/>
                  </a:cubicBezTo>
                  <a:cubicBezTo>
                    <a:pt x="331354" y="965200"/>
                    <a:pt x="445654" y="1059873"/>
                    <a:pt x="554181" y="1129146"/>
                  </a:cubicBezTo>
                  <a:cubicBezTo>
                    <a:pt x="662708" y="1198419"/>
                    <a:pt x="793172" y="1266537"/>
                    <a:pt x="900545" y="1309255"/>
                  </a:cubicBezTo>
                  <a:cubicBezTo>
                    <a:pt x="1007918" y="1351973"/>
                    <a:pt x="1111826" y="1368137"/>
                    <a:pt x="1198417" y="1385455"/>
                  </a:cubicBezTo>
                  <a:cubicBezTo>
                    <a:pt x="1285008" y="1402773"/>
                    <a:pt x="1343890" y="1409700"/>
                    <a:pt x="1420090" y="1413164"/>
                  </a:cubicBezTo>
                  <a:cubicBezTo>
                    <a:pt x="1496290" y="1416628"/>
                    <a:pt x="1575953" y="1411432"/>
                    <a:pt x="1655617" y="140623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p:cNvSpPr/>
            <p:nvPr/>
          </p:nvSpPr>
          <p:spPr bwMode="auto">
            <a:xfrm>
              <a:off x="8207165" y="2605110"/>
              <a:ext cx="596153" cy="257164"/>
            </a:xfrm>
            <a:custGeom>
              <a:avLst/>
              <a:gdLst>
                <a:gd name="connsiteX0" fmla="*/ 0 w 1766454"/>
                <a:gd name="connsiteY0" fmla="*/ 762000 h 762000"/>
                <a:gd name="connsiteX1" fmla="*/ 616527 w 1766454"/>
                <a:gd name="connsiteY1" fmla="*/ 665018 h 762000"/>
                <a:gd name="connsiteX2" fmla="*/ 1357745 w 1766454"/>
                <a:gd name="connsiteY2" fmla="*/ 554181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86345 w 1766454"/>
                <a:gd name="connsiteY4" fmla="*/ 346363 h 762000"/>
                <a:gd name="connsiteX5" fmla="*/ 1766454 w 1766454"/>
                <a:gd name="connsiteY5"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6454" h="762000">
                  <a:moveTo>
                    <a:pt x="0" y="762000"/>
                  </a:moveTo>
                  <a:lnTo>
                    <a:pt x="616527" y="665018"/>
                  </a:lnTo>
                  <a:cubicBezTo>
                    <a:pt x="849745" y="625763"/>
                    <a:pt x="1169554" y="578426"/>
                    <a:pt x="1316181" y="547253"/>
                  </a:cubicBezTo>
                  <a:cubicBezTo>
                    <a:pt x="1462808" y="516080"/>
                    <a:pt x="1451263" y="511464"/>
                    <a:pt x="1496290" y="477982"/>
                  </a:cubicBezTo>
                  <a:cubicBezTo>
                    <a:pt x="1541317" y="444500"/>
                    <a:pt x="1541318" y="426027"/>
                    <a:pt x="1586345" y="346363"/>
                  </a:cubicBezTo>
                  <a:cubicBezTo>
                    <a:pt x="1631372" y="266699"/>
                    <a:pt x="1704109" y="115454"/>
                    <a:pt x="1766454"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p:cNvSpPr/>
            <p:nvPr/>
          </p:nvSpPr>
          <p:spPr bwMode="auto">
            <a:xfrm>
              <a:off x="8852413" y="2630827"/>
              <a:ext cx="70136" cy="170664"/>
            </a:xfrm>
            <a:custGeom>
              <a:avLst/>
              <a:gdLst>
                <a:gd name="connsiteX0" fmla="*/ 0 w 207818"/>
                <a:gd name="connsiteY0" fmla="*/ 0 h 505691"/>
                <a:gd name="connsiteX1" fmla="*/ 69273 w 207818"/>
                <a:gd name="connsiteY1" fmla="*/ 256309 h 505691"/>
                <a:gd name="connsiteX2" fmla="*/ 207818 w 207818"/>
                <a:gd name="connsiteY2" fmla="*/ 505691 h 505691"/>
              </a:gdLst>
              <a:ahLst/>
              <a:cxnLst>
                <a:cxn ang="0">
                  <a:pos x="connsiteX0" y="connsiteY0"/>
                </a:cxn>
                <a:cxn ang="0">
                  <a:pos x="connsiteX1" y="connsiteY1"/>
                </a:cxn>
                <a:cxn ang="0">
                  <a:pos x="connsiteX2" y="connsiteY2"/>
                </a:cxn>
              </a:cxnLst>
              <a:rect l="l" t="t" r="r" b="b"/>
              <a:pathLst>
                <a:path w="207818" h="505691">
                  <a:moveTo>
                    <a:pt x="0" y="0"/>
                  </a:moveTo>
                  <a:cubicBezTo>
                    <a:pt x="17318" y="86013"/>
                    <a:pt x="34637" y="172027"/>
                    <a:pt x="69273" y="256309"/>
                  </a:cubicBezTo>
                  <a:cubicBezTo>
                    <a:pt x="103909" y="340591"/>
                    <a:pt x="155863" y="423141"/>
                    <a:pt x="207818" y="505691"/>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cxnSp>
          <p:nvCxnSpPr>
            <p:cNvPr id="33" name="Straight Connector 32"/>
            <p:cNvCxnSpPr/>
            <p:nvPr/>
          </p:nvCxnSpPr>
          <p:spPr>
            <a:xfrm>
              <a:off x="7831031" y="2380676"/>
              <a:ext cx="724474" cy="0"/>
            </a:xfrm>
            <a:prstGeom prst="line">
              <a:avLst/>
            </a:prstGeom>
            <a:noFill/>
            <a:ln w="9525" cap="rnd" cmpd="sng" algn="ctr">
              <a:solidFill>
                <a:schemeClr val="bg1">
                  <a:lumMod val="50000"/>
                </a:schemeClr>
              </a:solidFill>
              <a:prstDash val="solid"/>
              <a:headEnd type="none"/>
              <a:tailEnd type="none"/>
            </a:ln>
            <a:effectLst/>
            <a:scene3d>
              <a:camera prst="orthographicFront">
                <a:rot lat="0" lon="0" rev="18000"/>
              </a:camera>
              <a:lightRig rig="threePt" dir="t"/>
            </a:scene3d>
          </p:spPr>
        </p:cxnSp>
        <p:cxnSp>
          <p:nvCxnSpPr>
            <p:cNvPr id="34" name="Straight Connector 33"/>
            <p:cNvCxnSpPr/>
            <p:nvPr/>
          </p:nvCxnSpPr>
          <p:spPr>
            <a:xfrm>
              <a:off x="7969626" y="2238326"/>
              <a:ext cx="652092" cy="0"/>
            </a:xfrm>
            <a:prstGeom prst="line">
              <a:avLst/>
            </a:prstGeom>
            <a:noFill/>
            <a:ln w="9525" cap="rnd" cmpd="sng" algn="ctr">
              <a:solidFill>
                <a:schemeClr val="bg1">
                  <a:lumMod val="50000"/>
                </a:schemeClr>
              </a:solidFill>
              <a:prstDash val="solid"/>
              <a:headEnd type="none"/>
              <a:tailEnd type="none"/>
            </a:ln>
            <a:effectLst/>
            <a:scene3d>
              <a:camera prst="orthographicFront">
                <a:rot lat="0" lon="0" rev="36000"/>
              </a:camera>
              <a:lightRig rig="threePt" dir="t"/>
            </a:scene3d>
          </p:spPr>
        </p:cxnSp>
        <p:sp>
          <p:nvSpPr>
            <p:cNvPr id="35" name="Freeform: Shape 34"/>
            <p:cNvSpPr/>
            <p:nvPr/>
          </p:nvSpPr>
          <p:spPr bwMode="auto">
            <a:xfrm>
              <a:off x="8286077" y="1693346"/>
              <a:ext cx="774405" cy="575754"/>
            </a:xfrm>
            <a:custGeom>
              <a:avLst/>
              <a:gdLst>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72412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697348"/>
                <a:gd name="connsiteX1" fmla="*/ 8630 w 2294630"/>
                <a:gd name="connsiteY1" fmla="*/ 152400 h 1697348"/>
                <a:gd name="connsiteX2" fmla="*/ 119466 w 2294630"/>
                <a:gd name="connsiteY2" fmla="*/ 284018 h 1697348"/>
                <a:gd name="connsiteX3" fmla="*/ 576666 w 2294630"/>
                <a:gd name="connsiteY3" fmla="*/ 748146 h 1697348"/>
                <a:gd name="connsiteX4" fmla="*/ 1144703 w 2294630"/>
                <a:gd name="connsiteY4" fmla="*/ 1385455 h 1697348"/>
                <a:gd name="connsiteX5" fmla="*/ 1248612 w 2294630"/>
                <a:gd name="connsiteY5" fmla="*/ 1503218 h 1697348"/>
                <a:gd name="connsiteX6" fmla="*/ 1435648 w 2294630"/>
                <a:gd name="connsiteY6" fmla="*/ 1593273 h 1697348"/>
                <a:gd name="connsiteX7" fmla="*/ 1858212 w 2294630"/>
                <a:gd name="connsiteY7" fmla="*/ 1676401 h 1697348"/>
                <a:gd name="connsiteX8" fmla="*/ 2072957 w 2294630"/>
                <a:gd name="connsiteY8" fmla="*/ 1697182 h 1697348"/>
                <a:gd name="connsiteX9" fmla="*/ 2294630 w 2294630"/>
                <a:gd name="connsiteY9" fmla="*/ 1669473 h 1697348"/>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9884 w 2294630"/>
                <a:gd name="connsiteY8" fmla="*/ 1697182 h 1706011"/>
                <a:gd name="connsiteX9" fmla="*/ 2294630 w 2294630"/>
                <a:gd name="connsiteY9" fmla="*/ 1669473 h 170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4630" h="1706011">
                  <a:moveTo>
                    <a:pt x="15557" y="0"/>
                  </a:moveTo>
                  <a:cubicBezTo>
                    <a:pt x="3434" y="42141"/>
                    <a:pt x="-8688" y="105064"/>
                    <a:pt x="8630" y="152400"/>
                  </a:cubicBezTo>
                  <a:cubicBezTo>
                    <a:pt x="25948" y="199736"/>
                    <a:pt x="24793" y="184727"/>
                    <a:pt x="119466" y="284018"/>
                  </a:cubicBezTo>
                  <a:cubicBezTo>
                    <a:pt x="214139" y="383309"/>
                    <a:pt x="405793" y="564573"/>
                    <a:pt x="576666" y="748146"/>
                  </a:cubicBezTo>
                  <a:cubicBezTo>
                    <a:pt x="747539" y="931719"/>
                    <a:pt x="1032712" y="1259610"/>
                    <a:pt x="1144703" y="1385455"/>
                  </a:cubicBezTo>
                  <a:cubicBezTo>
                    <a:pt x="1256694" y="1511300"/>
                    <a:pt x="1200121" y="1468582"/>
                    <a:pt x="1248612" y="1503218"/>
                  </a:cubicBezTo>
                  <a:cubicBezTo>
                    <a:pt x="1297103" y="1537854"/>
                    <a:pt x="1334048" y="1560946"/>
                    <a:pt x="1435648" y="1593273"/>
                  </a:cubicBezTo>
                  <a:cubicBezTo>
                    <a:pt x="1537248" y="1625600"/>
                    <a:pt x="1750839" y="1679864"/>
                    <a:pt x="1858212" y="1697182"/>
                  </a:cubicBezTo>
                  <a:cubicBezTo>
                    <a:pt x="1965585" y="1714500"/>
                    <a:pt x="2007148" y="1701800"/>
                    <a:pt x="2079884" y="1697182"/>
                  </a:cubicBezTo>
                  <a:cubicBezTo>
                    <a:pt x="2152620" y="1692564"/>
                    <a:pt x="2220161" y="1681018"/>
                    <a:pt x="2294630" y="166947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p:cNvSpPr/>
            <p:nvPr/>
          </p:nvSpPr>
          <p:spPr bwMode="auto">
            <a:xfrm>
              <a:off x="8607563" y="1812576"/>
              <a:ext cx="403823" cy="397494"/>
            </a:xfrm>
            <a:custGeom>
              <a:avLst/>
              <a:gdLst>
                <a:gd name="connsiteX0" fmla="*/ 1185130 w 1185130"/>
                <a:gd name="connsiteY0" fmla="*/ 1136073 h 1157026"/>
                <a:gd name="connsiteX1" fmla="*/ 1032730 w 1185130"/>
                <a:gd name="connsiteY1" fmla="*/ 1156855 h 1157026"/>
                <a:gd name="connsiteX2" fmla="*/ 928821 w 1185130"/>
                <a:gd name="connsiteY2" fmla="*/ 1136073 h 1157026"/>
                <a:gd name="connsiteX3" fmla="*/ 734858 w 1185130"/>
                <a:gd name="connsiteY3" fmla="*/ 1011382 h 1157026"/>
                <a:gd name="connsiteX4" fmla="*/ 249949 w 1185130"/>
                <a:gd name="connsiteY4" fmla="*/ 526473 h 1157026"/>
                <a:gd name="connsiteX5" fmla="*/ 28276 w 1185130"/>
                <a:gd name="connsiteY5" fmla="*/ 242455 h 1157026"/>
                <a:gd name="connsiteX6" fmla="*/ 7494 w 1185130"/>
                <a:gd name="connsiteY6" fmla="*/ 131618 h 1157026"/>
                <a:gd name="connsiteX7" fmla="*/ 69839 w 1185130"/>
                <a:gd name="connsiteY7" fmla="*/ 34636 h 1157026"/>
                <a:gd name="connsiteX8" fmla="*/ 180676 w 1185130"/>
                <a:gd name="connsiteY8" fmla="*/ 0 h 1157026"/>
                <a:gd name="connsiteX0" fmla="*/ 1188932 w 1188932"/>
                <a:gd name="connsiteY0" fmla="*/ 1136073 h 1157026"/>
                <a:gd name="connsiteX1" fmla="*/ 1036532 w 1188932"/>
                <a:gd name="connsiteY1" fmla="*/ 1156855 h 1157026"/>
                <a:gd name="connsiteX2" fmla="*/ 932623 w 1188932"/>
                <a:gd name="connsiteY2" fmla="*/ 1136073 h 1157026"/>
                <a:gd name="connsiteX3" fmla="*/ 738660 w 1188932"/>
                <a:gd name="connsiteY3" fmla="*/ 1011382 h 1157026"/>
                <a:gd name="connsiteX4" fmla="*/ 253751 w 1188932"/>
                <a:gd name="connsiteY4" fmla="*/ 526473 h 1157026"/>
                <a:gd name="connsiteX5" fmla="*/ 25151 w 1188932"/>
                <a:gd name="connsiteY5" fmla="*/ 249382 h 1157026"/>
                <a:gd name="connsiteX6" fmla="*/ 11296 w 1188932"/>
                <a:gd name="connsiteY6" fmla="*/ 131618 h 1157026"/>
                <a:gd name="connsiteX7" fmla="*/ 73641 w 1188932"/>
                <a:gd name="connsiteY7" fmla="*/ 34636 h 1157026"/>
                <a:gd name="connsiteX8" fmla="*/ 184478 w 1188932"/>
                <a:gd name="connsiteY8" fmla="*/ 0 h 1157026"/>
                <a:gd name="connsiteX0" fmla="*/ 1189347 w 1189347"/>
                <a:gd name="connsiteY0" fmla="*/ 1136073 h 1157026"/>
                <a:gd name="connsiteX1" fmla="*/ 1036947 w 1189347"/>
                <a:gd name="connsiteY1" fmla="*/ 1156855 h 1157026"/>
                <a:gd name="connsiteX2" fmla="*/ 933038 w 1189347"/>
                <a:gd name="connsiteY2" fmla="*/ 1136073 h 1157026"/>
                <a:gd name="connsiteX3" fmla="*/ 739075 w 1189347"/>
                <a:gd name="connsiteY3" fmla="*/ 1011382 h 1157026"/>
                <a:gd name="connsiteX4" fmla="*/ 254166 w 1189347"/>
                <a:gd name="connsiteY4" fmla="*/ 526473 h 1157026"/>
                <a:gd name="connsiteX5" fmla="*/ 25566 w 1189347"/>
                <a:gd name="connsiteY5" fmla="*/ 249382 h 1157026"/>
                <a:gd name="connsiteX6" fmla="*/ 11711 w 1189347"/>
                <a:gd name="connsiteY6" fmla="*/ 131618 h 1157026"/>
                <a:gd name="connsiteX7" fmla="*/ 80983 w 1189347"/>
                <a:gd name="connsiteY7" fmla="*/ 48490 h 1157026"/>
                <a:gd name="connsiteX8" fmla="*/ 184893 w 1189347"/>
                <a:gd name="connsiteY8" fmla="*/ 0 h 1157026"/>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087583 h 1108536"/>
                <a:gd name="connsiteX1" fmla="*/ 1036947 w 1189347"/>
                <a:gd name="connsiteY1" fmla="*/ 1108365 h 1108536"/>
                <a:gd name="connsiteX2" fmla="*/ 933038 w 1189347"/>
                <a:gd name="connsiteY2" fmla="*/ 1087583 h 1108536"/>
                <a:gd name="connsiteX3" fmla="*/ 739075 w 1189347"/>
                <a:gd name="connsiteY3" fmla="*/ 962892 h 1108536"/>
                <a:gd name="connsiteX4" fmla="*/ 254166 w 1189347"/>
                <a:gd name="connsiteY4" fmla="*/ 477983 h 1108536"/>
                <a:gd name="connsiteX5" fmla="*/ 25566 w 1189347"/>
                <a:gd name="connsiteY5" fmla="*/ 200892 h 1108536"/>
                <a:gd name="connsiteX6" fmla="*/ 11711 w 1189347"/>
                <a:gd name="connsiteY6" fmla="*/ 83128 h 1108536"/>
                <a:gd name="connsiteX7" fmla="*/ 80983 w 1189347"/>
                <a:gd name="connsiteY7" fmla="*/ 0 h 1108536"/>
                <a:gd name="connsiteX0" fmla="*/ 1196564 w 1196564"/>
                <a:gd name="connsiteY0" fmla="*/ 1156856 h 1177809"/>
                <a:gd name="connsiteX1" fmla="*/ 1044164 w 1196564"/>
                <a:gd name="connsiteY1" fmla="*/ 1177638 h 1177809"/>
                <a:gd name="connsiteX2" fmla="*/ 940255 w 1196564"/>
                <a:gd name="connsiteY2" fmla="*/ 1156856 h 1177809"/>
                <a:gd name="connsiteX3" fmla="*/ 746292 w 1196564"/>
                <a:gd name="connsiteY3" fmla="*/ 1032165 h 1177809"/>
                <a:gd name="connsiteX4" fmla="*/ 261383 w 1196564"/>
                <a:gd name="connsiteY4" fmla="*/ 547256 h 1177809"/>
                <a:gd name="connsiteX5" fmla="*/ 32783 w 1196564"/>
                <a:gd name="connsiteY5" fmla="*/ 270165 h 1177809"/>
                <a:gd name="connsiteX6" fmla="*/ 18928 w 1196564"/>
                <a:gd name="connsiteY6" fmla="*/ 152401 h 1177809"/>
                <a:gd name="connsiteX7" fmla="*/ 199036 w 1196564"/>
                <a:gd name="connsiteY7" fmla="*/ 0 h 117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564" h="1177809">
                  <a:moveTo>
                    <a:pt x="1196564" y="1156856"/>
                  </a:moveTo>
                  <a:cubicBezTo>
                    <a:pt x="1141723" y="1167247"/>
                    <a:pt x="1086882" y="1177638"/>
                    <a:pt x="1044164" y="1177638"/>
                  </a:cubicBezTo>
                  <a:cubicBezTo>
                    <a:pt x="1001446" y="1177638"/>
                    <a:pt x="989900" y="1181102"/>
                    <a:pt x="940255" y="1156856"/>
                  </a:cubicBezTo>
                  <a:cubicBezTo>
                    <a:pt x="890610" y="1132610"/>
                    <a:pt x="859437" y="1133765"/>
                    <a:pt x="746292" y="1032165"/>
                  </a:cubicBezTo>
                  <a:cubicBezTo>
                    <a:pt x="633147" y="930565"/>
                    <a:pt x="380301" y="674256"/>
                    <a:pt x="261383" y="547256"/>
                  </a:cubicBezTo>
                  <a:cubicBezTo>
                    <a:pt x="142465" y="420256"/>
                    <a:pt x="73192" y="335974"/>
                    <a:pt x="32783" y="270165"/>
                  </a:cubicBezTo>
                  <a:cubicBezTo>
                    <a:pt x="-7626" y="204356"/>
                    <a:pt x="-8781" y="197428"/>
                    <a:pt x="18928" y="152401"/>
                  </a:cubicBezTo>
                  <a:cubicBezTo>
                    <a:pt x="46637" y="107374"/>
                    <a:pt x="172482" y="23091"/>
                    <a:pt x="199036"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p:cNvSpPr/>
            <p:nvPr/>
          </p:nvSpPr>
          <p:spPr bwMode="auto">
            <a:xfrm>
              <a:off x="6673636" y="2160565"/>
              <a:ext cx="1248310" cy="1031347"/>
            </a:xfrm>
            <a:custGeom>
              <a:avLst/>
              <a:gdLst>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03782 w 3703782"/>
                <a:gd name="connsiteY0" fmla="*/ 1044 h 3055971"/>
                <a:gd name="connsiteX1" fmla="*/ 3537528 w 3703782"/>
                <a:gd name="connsiteY1" fmla="*/ 14898 h 3055971"/>
                <a:gd name="connsiteX2" fmla="*/ 3405910 w 3703782"/>
                <a:gd name="connsiteY2" fmla="*/ 104953 h 3055971"/>
                <a:gd name="connsiteX3" fmla="*/ 3295073 w 3703782"/>
                <a:gd name="connsiteY3" fmla="*/ 298917 h 3055971"/>
                <a:gd name="connsiteX4" fmla="*/ 3184237 w 3703782"/>
                <a:gd name="connsiteY4" fmla="*/ 513662 h 3055971"/>
                <a:gd name="connsiteX5" fmla="*/ 2990273 w 3703782"/>
                <a:gd name="connsiteY5" fmla="*/ 776898 h 3055971"/>
                <a:gd name="connsiteX6" fmla="*/ 2678546 w 3703782"/>
                <a:gd name="connsiteY6" fmla="*/ 1116335 h 3055971"/>
                <a:gd name="connsiteX7" fmla="*/ 2387600 w 3703782"/>
                <a:gd name="connsiteY7" fmla="*/ 1511189 h 3055971"/>
                <a:gd name="connsiteX8" fmla="*/ 2165928 w 3703782"/>
                <a:gd name="connsiteY8" fmla="*/ 1836771 h 3055971"/>
                <a:gd name="connsiteX9" fmla="*/ 1985819 w 3703782"/>
                <a:gd name="connsiteY9" fmla="*/ 2176207 h 3055971"/>
                <a:gd name="connsiteX10" fmla="*/ 1833419 w 3703782"/>
                <a:gd name="connsiteY10" fmla="*/ 2411735 h 3055971"/>
                <a:gd name="connsiteX11" fmla="*/ 1798782 w 3703782"/>
                <a:gd name="connsiteY11" fmla="*/ 2487935 h 3055971"/>
                <a:gd name="connsiteX12" fmla="*/ 1708728 w 3703782"/>
                <a:gd name="connsiteY12" fmla="*/ 2487935 h 3055971"/>
                <a:gd name="connsiteX13" fmla="*/ 1099128 w 3703782"/>
                <a:gd name="connsiteY13" fmla="*/ 2460226 h 3055971"/>
                <a:gd name="connsiteX14" fmla="*/ 496455 w 3703782"/>
                <a:gd name="connsiteY14" fmla="*/ 2460226 h 3055971"/>
                <a:gd name="connsiteX15" fmla="*/ 260928 w 3703782"/>
                <a:gd name="connsiteY15" fmla="*/ 2474080 h 3055971"/>
                <a:gd name="connsiteX16" fmla="*/ 73891 w 3703782"/>
                <a:gd name="connsiteY16" fmla="*/ 2591844 h 3055971"/>
                <a:gd name="connsiteX17" fmla="*/ 4619 w 3703782"/>
                <a:gd name="connsiteY17" fmla="*/ 2744244 h 3055971"/>
                <a:gd name="connsiteX18" fmla="*/ 18473 w 3703782"/>
                <a:gd name="connsiteY18" fmla="*/ 2889717 h 3055971"/>
                <a:gd name="connsiteX19" fmla="*/ 115455 w 3703782"/>
                <a:gd name="connsiteY19" fmla="*/ 2910498 h 3055971"/>
                <a:gd name="connsiteX20" fmla="*/ 988291 w 3703782"/>
                <a:gd name="connsiteY20" fmla="*/ 2993626 h 3055971"/>
                <a:gd name="connsiteX21" fmla="*/ 1362364 w 3703782"/>
                <a:gd name="connsiteY21" fmla="*/ 3035189 h 3055971"/>
                <a:gd name="connsiteX22" fmla="*/ 1639455 w 3703782"/>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160996 w 3698850"/>
                <a:gd name="connsiteY7" fmla="*/ 1836771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49269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98850" h="3055971">
                  <a:moveTo>
                    <a:pt x="3698850" y="1044"/>
                  </a:moveTo>
                  <a:cubicBezTo>
                    <a:pt x="3640545" y="-688"/>
                    <a:pt x="3582241" y="-2420"/>
                    <a:pt x="3532596" y="14898"/>
                  </a:cubicBezTo>
                  <a:cubicBezTo>
                    <a:pt x="3482951" y="32216"/>
                    <a:pt x="3441387" y="57616"/>
                    <a:pt x="3400978" y="104953"/>
                  </a:cubicBezTo>
                  <a:cubicBezTo>
                    <a:pt x="3360569" y="152290"/>
                    <a:pt x="3327086" y="230799"/>
                    <a:pt x="3290141" y="298917"/>
                  </a:cubicBezTo>
                  <a:cubicBezTo>
                    <a:pt x="3253196" y="367035"/>
                    <a:pt x="3223178" y="427071"/>
                    <a:pt x="3179305" y="513662"/>
                  </a:cubicBezTo>
                  <a:cubicBezTo>
                    <a:pt x="3135432" y="600253"/>
                    <a:pt x="3069623" y="676453"/>
                    <a:pt x="2985341" y="776898"/>
                  </a:cubicBezTo>
                  <a:cubicBezTo>
                    <a:pt x="2901059" y="877343"/>
                    <a:pt x="2786759" y="976635"/>
                    <a:pt x="2673614" y="1116335"/>
                  </a:cubicBezTo>
                  <a:cubicBezTo>
                    <a:pt x="2560469" y="1256035"/>
                    <a:pt x="2421922" y="1438453"/>
                    <a:pt x="2306468" y="1615098"/>
                  </a:cubicBezTo>
                  <a:cubicBezTo>
                    <a:pt x="2191014" y="1791743"/>
                    <a:pt x="2057087" y="2043434"/>
                    <a:pt x="1980887" y="2176207"/>
                  </a:cubicBezTo>
                  <a:cubicBezTo>
                    <a:pt x="1904687" y="2308980"/>
                    <a:pt x="1880442" y="2359780"/>
                    <a:pt x="1849269" y="2411735"/>
                  </a:cubicBezTo>
                  <a:cubicBezTo>
                    <a:pt x="1818096" y="2463690"/>
                    <a:pt x="1818095" y="2475235"/>
                    <a:pt x="1793850" y="2487935"/>
                  </a:cubicBezTo>
                  <a:cubicBezTo>
                    <a:pt x="1769605" y="2500635"/>
                    <a:pt x="1703796" y="2487935"/>
                    <a:pt x="1703796" y="2487935"/>
                  </a:cubicBezTo>
                  <a:cubicBezTo>
                    <a:pt x="1587187" y="2483317"/>
                    <a:pt x="1296241" y="2464844"/>
                    <a:pt x="1094196" y="2460226"/>
                  </a:cubicBezTo>
                  <a:cubicBezTo>
                    <a:pt x="892151" y="2455608"/>
                    <a:pt x="631223" y="2457917"/>
                    <a:pt x="491523" y="2460226"/>
                  </a:cubicBezTo>
                  <a:cubicBezTo>
                    <a:pt x="351823" y="2462535"/>
                    <a:pt x="326423" y="2452144"/>
                    <a:pt x="255996" y="2474080"/>
                  </a:cubicBezTo>
                  <a:cubicBezTo>
                    <a:pt x="185569" y="2496016"/>
                    <a:pt x="110523" y="2546817"/>
                    <a:pt x="68959" y="2591844"/>
                  </a:cubicBezTo>
                  <a:cubicBezTo>
                    <a:pt x="27395" y="2636871"/>
                    <a:pt x="15850" y="2694599"/>
                    <a:pt x="6614" y="2744244"/>
                  </a:cubicBezTo>
                  <a:cubicBezTo>
                    <a:pt x="-2622" y="2793889"/>
                    <a:pt x="-3777" y="2862008"/>
                    <a:pt x="13541" y="2889717"/>
                  </a:cubicBezTo>
                  <a:cubicBezTo>
                    <a:pt x="30859" y="2917426"/>
                    <a:pt x="-51113" y="2893180"/>
                    <a:pt x="110523" y="2910498"/>
                  </a:cubicBezTo>
                  <a:cubicBezTo>
                    <a:pt x="272159" y="2927816"/>
                    <a:pt x="775541" y="2972844"/>
                    <a:pt x="983359" y="2993626"/>
                  </a:cubicBezTo>
                  <a:cubicBezTo>
                    <a:pt x="1191177" y="3014408"/>
                    <a:pt x="1248905" y="3024798"/>
                    <a:pt x="1357432" y="3035189"/>
                  </a:cubicBezTo>
                  <a:cubicBezTo>
                    <a:pt x="1465959" y="3045580"/>
                    <a:pt x="1550241" y="3050775"/>
                    <a:pt x="1634523" y="3055971"/>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p:cNvSpPr/>
            <p:nvPr/>
          </p:nvSpPr>
          <p:spPr bwMode="auto">
            <a:xfrm>
              <a:off x="6584045" y="1928341"/>
              <a:ext cx="186929" cy="298376"/>
            </a:xfrm>
            <a:custGeom>
              <a:avLst/>
              <a:gdLst>
                <a:gd name="connsiteX0" fmla="*/ 42145 w 552240"/>
                <a:gd name="connsiteY0" fmla="*/ 820135 h 884678"/>
                <a:gd name="connsiteX1" fmla="*/ 312309 w 552240"/>
                <a:gd name="connsiteY1" fmla="*/ 875553 h 884678"/>
                <a:gd name="connsiteX2" fmla="*/ 492418 w 552240"/>
                <a:gd name="connsiteY2" fmla="*/ 868626 h 884678"/>
                <a:gd name="connsiteX3" fmla="*/ 547836 w 552240"/>
                <a:gd name="connsiteY3" fmla="*/ 723153 h 884678"/>
                <a:gd name="connsiteX4" fmla="*/ 540909 w 552240"/>
                <a:gd name="connsiteY4" fmla="*/ 418353 h 884678"/>
                <a:gd name="connsiteX5" fmla="*/ 478563 w 552240"/>
                <a:gd name="connsiteY5" fmla="*/ 85844 h 884678"/>
                <a:gd name="connsiteX6" fmla="*/ 388509 w 552240"/>
                <a:gd name="connsiteY6" fmla="*/ 16571 h 884678"/>
                <a:gd name="connsiteX7" fmla="*/ 215327 w 552240"/>
                <a:gd name="connsiteY7" fmla="*/ 2717 h 884678"/>
                <a:gd name="connsiteX8" fmla="*/ 152981 w 552240"/>
                <a:gd name="connsiteY8" fmla="*/ 58135 h 884678"/>
                <a:gd name="connsiteX9" fmla="*/ 97563 w 552240"/>
                <a:gd name="connsiteY9" fmla="*/ 286735 h 884678"/>
                <a:gd name="connsiteX10" fmla="*/ 7509 w 552240"/>
                <a:gd name="connsiteY10" fmla="*/ 640026 h 884678"/>
                <a:gd name="connsiteX11" fmla="*/ 7509 w 552240"/>
                <a:gd name="connsiteY11" fmla="*/ 771644 h 884678"/>
                <a:gd name="connsiteX12" fmla="*/ 42145 w 552240"/>
                <a:gd name="connsiteY12" fmla="*/ 820135 h 884678"/>
                <a:gd name="connsiteX0" fmla="*/ 42145 w 552550"/>
                <a:gd name="connsiteY0" fmla="*/ 820762 h 885305"/>
                <a:gd name="connsiteX1" fmla="*/ 312309 w 552550"/>
                <a:gd name="connsiteY1" fmla="*/ 876180 h 885305"/>
                <a:gd name="connsiteX2" fmla="*/ 492418 w 552550"/>
                <a:gd name="connsiteY2" fmla="*/ 869253 h 885305"/>
                <a:gd name="connsiteX3" fmla="*/ 547836 w 552550"/>
                <a:gd name="connsiteY3" fmla="*/ 723780 h 885305"/>
                <a:gd name="connsiteX4" fmla="*/ 540909 w 552550"/>
                <a:gd name="connsiteY4" fmla="*/ 418980 h 885305"/>
                <a:gd name="connsiteX5" fmla="*/ 471635 w 552550"/>
                <a:gd name="connsiteY5" fmla="*/ 107252 h 885305"/>
                <a:gd name="connsiteX6" fmla="*/ 388509 w 552550"/>
                <a:gd name="connsiteY6" fmla="*/ 17198 h 885305"/>
                <a:gd name="connsiteX7" fmla="*/ 215327 w 552550"/>
                <a:gd name="connsiteY7" fmla="*/ 3344 h 885305"/>
                <a:gd name="connsiteX8" fmla="*/ 152981 w 552550"/>
                <a:gd name="connsiteY8" fmla="*/ 58762 h 885305"/>
                <a:gd name="connsiteX9" fmla="*/ 97563 w 552550"/>
                <a:gd name="connsiteY9" fmla="*/ 287362 h 885305"/>
                <a:gd name="connsiteX10" fmla="*/ 7509 w 552550"/>
                <a:gd name="connsiteY10" fmla="*/ 640653 h 885305"/>
                <a:gd name="connsiteX11" fmla="*/ 7509 w 552550"/>
                <a:gd name="connsiteY11" fmla="*/ 772271 h 885305"/>
                <a:gd name="connsiteX12" fmla="*/ 42145 w 552550"/>
                <a:gd name="connsiteY12" fmla="*/ 820762 h 885305"/>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98899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85044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886" h="884114">
                  <a:moveTo>
                    <a:pt x="57336" y="841544"/>
                  </a:moveTo>
                  <a:cubicBezTo>
                    <a:pt x="108136" y="858862"/>
                    <a:pt x="240909" y="871562"/>
                    <a:pt x="313645" y="876180"/>
                  </a:cubicBezTo>
                  <a:cubicBezTo>
                    <a:pt x="386381" y="880798"/>
                    <a:pt x="454500" y="894653"/>
                    <a:pt x="493754" y="869253"/>
                  </a:cubicBezTo>
                  <a:cubicBezTo>
                    <a:pt x="533009" y="843853"/>
                    <a:pt x="541090" y="798825"/>
                    <a:pt x="549172" y="723780"/>
                  </a:cubicBezTo>
                  <a:cubicBezTo>
                    <a:pt x="557254" y="648735"/>
                    <a:pt x="554945" y="521735"/>
                    <a:pt x="542245" y="418980"/>
                  </a:cubicBezTo>
                  <a:cubicBezTo>
                    <a:pt x="529545" y="316225"/>
                    <a:pt x="498371" y="174216"/>
                    <a:pt x="472971" y="107252"/>
                  </a:cubicBezTo>
                  <a:cubicBezTo>
                    <a:pt x="447571" y="40288"/>
                    <a:pt x="432563" y="34516"/>
                    <a:pt x="389845" y="17198"/>
                  </a:cubicBezTo>
                  <a:cubicBezTo>
                    <a:pt x="347127" y="-120"/>
                    <a:pt x="255918" y="-3583"/>
                    <a:pt x="216663" y="3344"/>
                  </a:cubicBezTo>
                  <a:cubicBezTo>
                    <a:pt x="177408" y="10271"/>
                    <a:pt x="176253" y="11426"/>
                    <a:pt x="154317" y="58762"/>
                  </a:cubicBezTo>
                  <a:cubicBezTo>
                    <a:pt x="132381" y="106098"/>
                    <a:pt x="109289" y="190380"/>
                    <a:pt x="85044" y="287362"/>
                  </a:cubicBezTo>
                  <a:cubicBezTo>
                    <a:pt x="60799" y="384344"/>
                    <a:pt x="23854" y="559835"/>
                    <a:pt x="8845" y="640653"/>
                  </a:cubicBezTo>
                  <a:cubicBezTo>
                    <a:pt x="-6164" y="721471"/>
                    <a:pt x="763" y="738789"/>
                    <a:pt x="8845" y="772271"/>
                  </a:cubicBezTo>
                  <a:cubicBezTo>
                    <a:pt x="16927" y="805753"/>
                    <a:pt x="6536" y="824226"/>
                    <a:pt x="57336" y="84154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Freeform: Shape 38"/>
            <p:cNvSpPr/>
            <p:nvPr/>
          </p:nvSpPr>
          <p:spPr bwMode="auto">
            <a:xfrm>
              <a:off x="7761944" y="1965528"/>
              <a:ext cx="206759" cy="193090"/>
            </a:xfrm>
            <a:custGeom>
              <a:avLst/>
              <a:gdLst>
                <a:gd name="connsiteX0" fmla="*/ 457897 w 589515"/>
                <a:gd name="connsiteY0" fmla="*/ 557554 h 571523"/>
                <a:gd name="connsiteX1" fmla="*/ 153097 w 589515"/>
                <a:gd name="connsiteY1" fmla="*/ 571409 h 571523"/>
                <a:gd name="connsiteX2" fmla="*/ 49187 w 589515"/>
                <a:gd name="connsiteY2" fmla="*/ 557554 h 571523"/>
                <a:gd name="connsiteX3" fmla="*/ 697 w 589515"/>
                <a:gd name="connsiteY3" fmla="*/ 474427 h 571523"/>
                <a:gd name="connsiteX4" fmla="*/ 21478 w 589515"/>
                <a:gd name="connsiteY4" fmla="*/ 183481 h 571523"/>
                <a:gd name="connsiteX5" fmla="*/ 35333 w 589515"/>
                <a:gd name="connsiteY5" fmla="*/ 24154 h 571523"/>
                <a:gd name="connsiteX6" fmla="*/ 180806 w 589515"/>
                <a:gd name="connsiteY6" fmla="*/ 3372 h 571523"/>
                <a:gd name="connsiteX7" fmla="*/ 402478 w 589515"/>
                <a:gd name="connsiteY7" fmla="*/ 51863 h 571523"/>
                <a:gd name="connsiteX8" fmla="*/ 513315 w 589515"/>
                <a:gd name="connsiteY8" fmla="*/ 218118 h 571523"/>
                <a:gd name="connsiteX9" fmla="*/ 589515 w 589515"/>
                <a:gd name="connsiteY9" fmla="*/ 377445 h 571523"/>
                <a:gd name="connsiteX0" fmla="*/ 466950 w 598568"/>
                <a:gd name="connsiteY0" fmla="*/ 558173 h 572142"/>
                <a:gd name="connsiteX1" fmla="*/ 162150 w 598568"/>
                <a:gd name="connsiteY1" fmla="*/ 572028 h 572142"/>
                <a:gd name="connsiteX2" fmla="*/ 58240 w 598568"/>
                <a:gd name="connsiteY2" fmla="*/ 558173 h 572142"/>
                <a:gd name="connsiteX3" fmla="*/ 9750 w 598568"/>
                <a:gd name="connsiteY3" fmla="*/ 475046 h 572142"/>
                <a:gd name="connsiteX4" fmla="*/ 2822 w 598568"/>
                <a:gd name="connsiteY4" fmla="*/ 197954 h 572142"/>
                <a:gd name="connsiteX5" fmla="*/ 44386 w 598568"/>
                <a:gd name="connsiteY5" fmla="*/ 24773 h 572142"/>
                <a:gd name="connsiteX6" fmla="*/ 189859 w 598568"/>
                <a:gd name="connsiteY6" fmla="*/ 3991 h 572142"/>
                <a:gd name="connsiteX7" fmla="*/ 411531 w 598568"/>
                <a:gd name="connsiteY7" fmla="*/ 52482 h 572142"/>
                <a:gd name="connsiteX8" fmla="*/ 522368 w 598568"/>
                <a:gd name="connsiteY8" fmla="*/ 218737 h 572142"/>
                <a:gd name="connsiteX9" fmla="*/ 598568 w 598568"/>
                <a:gd name="connsiteY9" fmla="*/ 378064 h 572142"/>
                <a:gd name="connsiteX0" fmla="*/ 481027 w 612645"/>
                <a:gd name="connsiteY0" fmla="*/ 558173 h 572142"/>
                <a:gd name="connsiteX1" fmla="*/ 176227 w 612645"/>
                <a:gd name="connsiteY1" fmla="*/ 572028 h 572142"/>
                <a:gd name="connsiteX2" fmla="*/ 72317 w 612645"/>
                <a:gd name="connsiteY2" fmla="*/ 558173 h 572142"/>
                <a:gd name="connsiteX3" fmla="*/ 3045 w 612645"/>
                <a:gd name="connsiteY3" fmla="*/ 475046 h 572142"/>
                <a:gd name="connsiteX4" fmla="*/ 16899 w 612645"/>
                <a:gd name="connsiteY4" fmla="*/ 197954 h 572142"/>
                <a:gd name="connsiteX5" fmla="*/ 58463 w 612645"/>
                <a:gd name="connsiteY5" fmla="*/ 24773 h 572142"/>
                <a:gd name="connsiteX6" fmla="*/ 203936 w 612645"/>
                <a:gd name="connsiteY6" fmla="*/ 3991 h 572142"/>
                <a:gd name="connsiteX7" fmla="*/ 425608 w 612645"/>
                <a:gd name="connsiteY7" fmla="*/ 52482 h 572142"/>
                <a:gd name="connsiteX8" fmla="*/ 536445 w 612645"/>
                <a:gd name="connsiteY8" fmla="*/ 218737 h 572142"/>
                <a:gd name="connsiteX9" fmla="*/ 612645 w 612645"/>
                <a:gd name="connsiteY9" fmla="*/ 378064 h 57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2645" h="572142">
                  <a:moveTo>
                    <a:pt x="481027" y="558173"/>
                  </a:moveTo>
                  <a:cubicBezTo>
                    <a:pt x="362686" y="565100"/>
                    <a:pt x="244345" y="572028"/>
                    <a:pt x="176227" y="572028"/>
                  </a:cubicBezTo>
                  <a:cubicBezTo>
                    <a:pt x="108109" y="572028"/>
                    <a:pt x="101181" y="574337"/>
                    <a:pt x="72317" y="558173"/>
                  </a:cubicBezTo>
                  <a:cubicBezTo>
                    <a:pt x="43453" y="542009"/>
                    <a:pt x="12281" y="535082"/>
                    <a:pt x="3045" y="475046"/>
                  </a:cubicBezTo>
                  <a:cubicBezTo>
                    <a:pt x="-6191" y="415010"/>
                    <a:pt x="7663" y="273000"/>
                    <a:pt x="16899" y="197954"/>
                  </a:cubicBezTo>
                  <a:cubicBezTo>
                    <a:pt x="26135" y="122909"/>
                    <a:pt x="27290" y="57100"/>
                    <a:pt x="58463" y="24773"/>
                  </a:cubicBezTo>
                  <a:cubicBezTo>
                    <a:pt x="89636" y="-7554"/>
                    <a:pt x="142745" y="-627"/>
                    <a:pt x="203936" y="3991"/>
                  </a:cubicBezTo>
                  <a:cubicBezTo>
                    <a:pt x="265127" y="8609"/>
                    <a:pt x="370190" y="16691"/>
                    <a:pt x="425608" y="52482"/>
                  </a:cubicBezTo>
                  <a:cubicBezTo>
                    <a:pt x="481026" y="88273"/>
                    <a:pt x="505272" y="164473"/>
                    <a:pt x="536445" y="218737"/>
                  </a:cubicBezTo>
                  <a:cubicBezTo>
                    <a:pt x="567618" y="273001"/>
                    <a:pt x="590131" y="325532"/>
                    <a:pt x="612645" y="3780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p:cNvSpPr/>
            <p:nvPr/>
          </p:nvSpPr>
          <p:spPr bwMode="auto">
            <a:xfrm>
              <a:off x="4385028" y="3499088"/>
              <a:ext cx="2848808" cy="43502"/>
            </a:xfrm>
            <a:custGeom>
              <a:avLst/>
              <a:gdLst>
                <a:gd name="connsiteX0" fmla="*/ 0 w 8458200"/>
                <a:gd name="connsiteY0" fmla="*/ 110095 h 110095"/>
                <a:gd name="connsiteX1" fmla="*/ 3953933 w 8458200"/>
                <a:gd name="connsiteY1" fmla="*/ 28 h 110095"/>
                <a:gd name="connsiteX2" fmla="*/ 8458200 w 8458200"/>
                <a:gd name="connsiteY2" fmla="*/ 101628 h 110095"/>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41266"/>
                <a:gd name="connsiteY0" fmla="*/ 147705 h 147705"/>
                <a:gd name="connsiteX1" fmla="*/ 3936999 w 8441266"/>
                <a:gd name="connsiteY1" fmla="*/ 3772 h 147705"/>
                <a:gd name="connsiteX2" fmla="*/ 8441266 w 8441266"/>
                <a:gd name="connsiteY2" fmla="*/ 105372 h 147705"/>
                <a:gd name="connsiteX0" fmla="*/ 0 w 8441266"/>
                <a:gd name="connsiteY0" fmla="*/ 128901 h 128901"/>
                <a:gd name="connsiteX1" fmla="*/ 3936999 w 8441266"/>
                <a:gd name="connsiteY1" fmla="*/ 10368 h 128901"/>
                <a:gd name="connsiteX2" fmla="*/ 8441266 w 8441266"/>
                <a:gd name="connsiteY2" fmla="*/ 86568 h 128901"/>
              </a:gdLst>
              <a:ahLst/>
              <a:cxnLst>
                <a:cxn ang="0">
                  <a:pos x="connsiteX0" y="connsiteY0"/>
                </a:cxn>
                <a:cxn ang="0">
                  <a:pos x="connsiteX1" y="connsiteY1"/>
                </a:cxn>
                <a:cxn ang="0">
                  <a:pos x="connsiteX2" y="connsiteY2"/>
                </a:cxn>
              </a:cxnLst>
              <a:rect l="l" t="t" r="r" b="b"/>
              <a:pathLst>
                <a:path w="8441266" h="128901">
                  <a:moveTo>
                    <a:pt x="0" y="128901"/>
                  </a:moveTo>
                  <a:cubicBezTo>
                    <a:pt x="1272116" y="74573"/>
                    <a:pt x="2530121" y="17424"/>
                    <a:pt x="3936999" y="10368"/>
                  </a:cubicBezTo>
                  <a:cubicBezTo>
                    <a:pt x="5343877" y="3312"/>
                    <a:pt x="6939844" y="-31966"/>
                    <a:pt x="8441266" y="8656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cxnSp>
          <p:nvCxnSpPr>
            <p:cNvPr id="41" name="Straight Connector 40"/>
            <p:cNvCxnSpPr/>
            <p:nvPr/>
          </p:nvCxnSpPr>
          <p:spPr>
            <a:xfrm flipV="1">
              <a:off x="4323776" y="3542590"/>
              <a:ext cx="2952922" cy="25717"/>
            </a:xfrm>
            <a:prstGeom prst="line">
              <a:avLst/>
            </a:prstGeom>
            <a:noFill/>
            <a:ln w="9525" cap="rnd" cmpd="sng" algn="ctr">
              <a:solidFill>
                <a:schemeClr val="bg1">
                  <a:lumMod val="50000"/>
                </a:schemeClr>
              </a:solidFill>
              <a:prstDash val="solid"/>
              <a:headEnd type="none"/>
              <a:tailEnd type="none"/>
            </a:ln>
            <a:effectLst/>
          </p:spPr>
        </p:cxnSp>
        <p:sp>
          <p:nvSpPr>
            <p:cNvPr id="42" name="Freeform: Shape 41"/>
            <p:cNvSpPr/>
            <p:nvPr/>
          </p:nvSpPr>
          <p:spPr bwMode="auto">
            <a:xfrm>
              <a:off x="4639335" y="2730282"/>
              <a:ext cx="4006055" cy="706585"/>
            </a:xfrm>
            <a:custGeom>
              <a:avLst/>
              <a:gdLst>
                <a:gd name="connsiteX0" fmla="*/ 0 w 11870537"/>
                <a:gd name="connsiteY0" fmla="*/ 1585830 h 2093830"/>
                <a:gd name="connsiteX1" fmla="*/ 1617133 w 11870537"/>
                <a:gd name="connsiteY1" fmla="*/ 1645097 h 2093830"/>
                <a:gd name="connsiteX2" fmla="*/ 3843866 w 11870537"/>
                <a:gd name="connsiteY2" fmla="*/ 1585830 h 2093830"/>
                <a:gd name="connsiteX3" fmla="*/ 5190066 w 11870537"/>
                <a:gd name="connsiteY3" fmla="*/ 1501164 h 2093830"/>
                <a:gd name="connsiteX4" fmla="*/ 6663266 w 11870537"/>
                <a:gd name="connsiteY4" fmla="*/ 1382630 h 2093830"/>
                <a:gd name="connsiteX5" fmla="*/ 7704666 w 11870537"/>
                <a:gd name="connsiteY5" fmla="*/ 1289497 h 2093830"/>
                <a:gd name="connsiteX6" fmla="*/ 7806266 w 11870537"/>
                <a:gd name="connsiteY6" fmla="*/ 1272564 h 2093830"/>
                <a:gd name="connsiteX7" fmla="*/ 7924800 w 11870537"/>
                <a:gd name="connsiteY7" fmla="*/ 1137097 h 2093830"/>
                <a:gd name="connsiteX8" fmla="*/ 8161866 w 11870537"/>
                <a:gd name="connsiteY8" fmla="*/ 798430 h 2093830"/>
                <a:gd name="connsiteX9" fmla="*/ 8525933 w 11870537"/>
                <a:gd name="connsiteY9" fmla="*/ 476697 h 2093830"/>
                <a:gd name="connsiteX10" fmla="*/ 9110133 w 11870537"/>
                <a:gd name="connsiteY10" fmla="*/ 112630 h 2093830"/>
                <a:gd name="connsiteX11" fmla="*/ 9787466 w 11870537"/>
                <a:gd name="connsiteY11" fmla="*/ 2564 h 2093830"/>
                <a:gd name="connsiteX12" fmla="*/ 10718800 w 11870537"/>
                <a:gd name="connsiteY12" fmla="*/ 197297 h 2093830"/>
                <a:gd name="connsiteX13" fmla="*/ 11125200 w 11870537"/>
                <a:gd name="connsiteY13" fmla="*/ 493630 h 2093830"/>
                <a:gd name="connsiteX14" fmla="*/ 11557000 w 11870537"/>
                <a:gd name="connsiteY14" fmla="*/ 967764 h 2093830"/>
                <a:gd name="connsiteX15" fmla="*/ 11760200 w 11870537"/>
                <a:gd name="connsiteY15" fmla="*/ 1416497 h 2093830"/>
                <a:gd name="connsiteX16" fmla="*/ 11853333 w 11870537"/>
                <a:gd name="connsiteY16" fmla="*/ 1763630 h 2093830"/>
                <a:gd name="connsiteX17" fmla="*/ 11870266 w 11870537"/>
                <a:gd name="connsiteY17" fmla="*/ 2093830 h 2093830"/>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718800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8534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70288" h="2093673">
                  <a:moveTo>
                    <a:pt x="0" y="1585673"/>
                  </a:moveTo>
                  <a:cubicBezTo>
                    <a:pt x="488244" y="1615306"/>
                    <a:pt x="976489" y="1644940"/>
                    <a:pt x="1617133" y="1644940"/>
                  </a:cubicBezTo>
                  <a:cubicBezTo>
                    <a:pt x="2257777" y="1644940"/>
                    <a:pt x="3248377" y="1609662"/>
                    <a:pt x="3843866" y="1585673"/>
                  </a:cubicBezTo>
                  <a:cubicBezTo>
                    <a:pt x="4439355" y="1561684"/>
                    <a:pt x="5190066" y="1501007"/>
                    <a:pt x="5190066" y="1501007"/>
                  </a:cubicBezTo>
                  <a:lnTo>
                    <a:pt x="6663266" y="1382473"/>
                  </a:lnTo>
                  <a:lnTo>
                    <a:pt x="7704666" y="1289340"/>
                  </a:lnTo>
                  <a:cubicBezTo>
                    <a:pt x="7895166" y="1270996"/>
                    <a:pt x="7769577" y="1297807"/>
                    <a:pt x="7806266" y="1272407"/>
                  </a:cubicBezTo>
                  <a:cubicBezTo>
                    <a:pt x="7842955" y="1247007"/>
                    <a:pt x="7865533" y="1215962"/>
                    <a:pt x="7924800" y="1136940"/>
                  </a:cubicBezTo>
                  <a:cubicBezTo>
                    <a:pt x="7984067" y="1057918"/>
                    <a:pt x="8063088" y="912573"/>
                    <a:pt x="8161866" y="798273"/>
                  </a:cubicBezTo>
                  <a:cubicBezTo>
                    <a:pt x="8260644" y="683973"/>
                    <a:pt x="8359422" y="565440"/>
                    <a:pt x="8517466" y="451140"/>
                  </a:cubicBezTo>
                  <a:cubicBezTo>
                    <a:pt x="8675510" y="336840"/>
                    <a:pt x="8898466" y="187262"/>
                    <a:pt x="9110133" y="112473"/>
                  </a:cubicBezTo>
                  <a:cubicBezTo>
                    <a:pt x="9321800" y="37684"/>
                    <a:pt x="9526410" y="-11704"/>
                    <a:pt x="9787466" y="2407"/>
                  </a:cubicBezTo>
                  <a:cubicBezTo>
                    <a:pt x="10048522" y="16518"/>
                    <a:pt x="10461978" y="98363"/>
                    <a:pt x="10676467" y="197140"/>
                  </a:cubicBezTo>
                  <a:cubicBezTo>
                    <a:pt x="10890956" y="295917"/>
                    <a:pt x="10981267" y="365062"/>
                    <a:pt x="11125200" y="493473"/>
                  </a:cubicBezTo>
                  <a:cubicBezTo>
                    <a:pt x="11269133" y="621884"/>
                    <a:pt x="11434234" y="813796"/>
                    <a:pt x="11540067" y="967607"/>
                  </a:cubicBezTo>
                  <a:cubicBezTo>
                    <a:pt x="11645900" y="1121418"/>
                    <a:pt x="11710811" y="1285107"/>
                    <a:pt x="11760200" y="1416340"/>
                  </a:cubicBezTo>
                  <a:cubicBezTo>
                    <a:pt x="11809589" y="1547573"/>
                    <a:pt x="11818056" y="1642117"/>
                    <a:pt x="11836400" y="1755006"/>
                  </a:cubicBezTo>
                  <a:cubicBezTo>
                    <a:pt x="11854744" y="1867895"/>
                    <a:pt x="11870971" y="1985017"/>
                    <a:pt x="11870266" y="209367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p:cNvSpPr/>
            <p:nvPr/>
          </p:nvSpPr>
          <p:spPr bwMode="auto">
            <a:xfrm>
              <a:off x="8879688" y="3308091"/>
              <a:ext cx="288595" cy="40197"/>
            </a:xfrm>
            <a:custGeom>
              <a:avLst/>
              <a:gdLst>
                <a:gd name="connsiteX0" fmla="*/ 0 w 855133"/>
                <a:gd name="connsiteY0" fmla="*/ 116336 h 116336"/>
                <a:gd name="connsiteX1" fmla="*/ 448733 w 855133"/>
                <a:gd name="connsiteY1" fmla="*/ 6269 h 116336"/>
                <a:gd name="connsiteX2" fmla="*/ 855133 w 855133"/>
                <a:gd name="connsiteY2" fmla="*/ 23202 h 116336"/>
                <a:gd name="connsiteX0" fmla="*/ 0 w 855133"/>
                <a:gd name="connsiteY0" fmla="*/ 119108 h 119108"/>
                <a:gd name="connsiteX1" fmla="*/ 448733 w 855133"/>
                <a:gd name="connsiteY1" fmla="*/ 9041 h 119108"/>
                <a:gd name="connsiteX2" fmla="*/ 855133 w 855133"/>
                <a:gd name="connsiteY2" fmla="*/ 17507 h 119108"/>
              </a:gdLst>
              <a:ahLst/>
              <a:cxnLst>
                <a:cxn ang="0">
                  <a:pos x="connsiteX0" y="connsiteY0"/>
                </a:cxn>
                <a:cxn ang="0">
                  <a:pos x="connsiteX1" y="connsiteY1"/>
                </a:cxn>
                <a:cxn ang="0">
                  <a:pos x="connsiteX2" y="connsiteY2"/>
                </a:cxn>
              </a:cxnLst>
              <a:rect l="l" t="t" r="r" b="b"/>
              <a:pathLst>
                <a:path w="855133" h="119108">
                  <a:moveTo>
                    <a:pt x="0" y="119108"/>
                  </a:moveTo>
                  <a:cubicBezTo>
                    <a:pt x="153105" y="71835"/>
                    <a:pt x="306211" y="25974"/>
                    <a:pt x="448733" y="9041"/>
                  </a:cubicBezTo>
                  <a:cubicBezTo>
                    <a:pt x="591255" y="-7892"/>
                    <a:pt x="723194" y="1279"/>
                    <a:pt x="855133" y="1750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4" name="Oval 43"/>
            <p:cNvSpPr/>
            <p:nvPr/>
          </p:nvSpPr>
          <p:spPr bwMode="auto">
            <a:xfrm>
              <a:off x="7547029" y="2975359"/>
              <a:ext cx="776357" cy="776356"/>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Shape 44"/>
            <p:cNvSpPr/>
            <p:nvPr/>
          </p:nvSpPr>
          <p:spPr bwMode="auto">
            <a:xfrm>
              <a:off x="7640607" y="3077565"/>
              <a:ext cx="589122" cy="579980"/>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Shape 45"/>
            <p:cNvSpPr/>
            <p:nvPr/>
          </p:nvSpPr>
          <p:spPr bwMode="auto">
            <a:xfrm>
              <a:off x="7566244" y="2986778"/>
              <a:ext cx="738326" cy="711139"/>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p:cNvSpPr/>
            <p:nvPr/>
          </p:nvSpPr>
          <p:spPr bwMode="auto">
            <a:xfrm>
              <a:off x="7851929"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p:cNvSpPr/>
            <p:nvPr/>
          </p:nvSpPr>
          <p:spPr bwMode="auto">
            <a:xfrm>
              <a:off x="8002797"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Oval 48"/>
            <p:cNvSpPr/>
            <p:nvPr/>
          </p:nvSpPr>
          <p:spPr bwMode="auto">
            <a:xfrm>
              <a:off x="7817239"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p:cNvSpPr/>
            <p:nvPr/>
          </p:nvSpPr>
          <p:spPr bwMode="auto">
            <a:xfrm>
              <a:off x="7968703"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p:cNvSpPr/>
            <p:nvPr/>
          </p:nvSpPr>
          <p:spPr bwMode="auto">
            <a:xfrm>
              <a:off x="7910949" y="3240503"/>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p:cNvSpPr/>
            <p:nvPr/>
          </p:nvSpPr>
          <p:spPr bwMode="auto">
            <a:xfrm>
              <a:off x="7604243" y="3012020"/>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p:cNvSpPr/>
            <p:nvPr/>
          </p:nvSpPr>
          <p:spPr bwMode="auto">
            <a:xfrm rot="4374466">
              <a:off x="7933937" y="2996944"/>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p:cNvSpPr/>
            <p:nvPr/>
          </p:nvSpPr>
          <p:spPr bwMode="auto">
            <a:xfrm rot="17319209">
              <a:off x="7518808" y="333295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p:cNvSpPr/>
            <p:nvPr/>
          </p:nvSpPr>
          <p:spPr bwMode="auto">
            <a:xfrm rot="8698688">
              <a:off x="8052533" y="3303658"/>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p:cNvSpPr/>
            <p:nvPr/>
          </p:nvSpPr>
          <p:spPr bwMode="auto">
            <a:xfrm rot="12956291">
              <a:off x="7796038" y="351074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nvGrpSpPr>
            <p:cNvPr id="57" name="Group 56"/>
            <p:cNvGrpSpPr/>
            <p:nvPr/>
          </p:nvGrpSpPr>
          <p:grpSpPr>
            <a:xfrm>
              <a:off x="7574467" y="3164176"/>
              <a:ext cx="119666" cy="202459"/>
              <a:chOff x="15588916" y="7188536"/>
              <a:chExt cx="354582" cy="599905"/>
            </a:xfrm>
          </p:grpSpPr>
          <p:sp>
            <p:nvSpPr>
              <p:cNvPr id="141" name="Freeform: Shape 140"/>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8" name="Group 57"/>
            <p:cNvGrpSpPr/>
            <p:nvPr/>
          </p:nvGrpSpPr>
          <p:grpSpPr>
            <a:xfrm rot="4323909">
              <a:off x="7876283" y="2944917"/>
              <a:ext cx="119666" cy="202459"/>
              <a:chOff x="15588916" y="7188536"/>
              <a:chExt cx="354582" cy="599905"/>
            </a:xfrm>
          </p:grpSpPr>
          <p:sp>
            <p:nvSpPr>
              <p:cNvPr id="139" name="Freeform: Shape 138"/>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9" name="Group 58"/>
            <p:cNvGrpSpPr/>
            <p:nvPr/>
          </p:nvGrpSpPr>
          <p:grpSpPr>
            <a:xfrm rot="8686591" flipH="1">
              <a:off x="7686147" y="3521466"/>
              <a:ext cx="127761" cy="198470"/>
              <a:chOff x="15588916" y="7188536"/>
              <a:chExt cx="354582" cy="599905"/>
            </a:xfrm>
          </p:grpSpPr>
          <p:sp>
            <p:nvSpPr>
              <p:cNvPr id="137" name="Freeform: Shape 136"/>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60" name="Freeform: Shape 59"/>
            <p:cNvSpPr/>
            <p:nvPr/>
          </p:nvSpPr>
          <p:spPr bwMode="auto">
            <a:xfrm rot="4398861" flipV="1">
              <a:off x="8025316" y="3647622"/>
              <a:ext cx="56576" cy="41687"/>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p:cNvSpPr/>
            <p:nvPr/>
          </p:nvSpPr>
          <p:spPr bwMode="auto">
            <a:xfrm rot="17414756" flipV="1">
              <a:off x="8156490" y="3540962"/>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2" name="Oval 61"/>
            <p:cNvSpPr/>
            <p:nvPr/>
          </p:nvSpPr>
          <p:spPr bwMode="auto">
            <a:xfrm>
              <a:off x="7896717" y="3323557"/>
              <a:ext cx="79608" cy="79608"/>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Shape 62"/>
            <p:cNvSpPr/>
            <p:nvPr/>
          </p:nvSpPr>
          <p:spPr bwMode="auto">
            <a:xfrm rot="12965245" flipV="1">
              <a:off x="8181489" y="315098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p:cNvSpPr/>
            <p:nvPr/>
          </p:nvSpPr>
          <p:spPr bwMode="auto">
            <a:xfrm rot="6683114">
              <a:off x="8231228" y="332125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5" name="Oval 64"/>
            <p:cNvSpPr/>
            <p:nvPr/>
          </p:nvSpPr>
          <p:spPr bwMode="auto">
            <a:xfrm>
              <a:off x="3225828" y="2975359"/>
              <a:ext cx="776357" cy="776356"/>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Shape 65"/>
            <p:cNvSpPr/>
            <p:nvPr/>
          </p:nvSpPr>
          <p:spPr bwMode="auto">
            <a:xfrm>
              <a:off x="3319406" y="3077565"/>
              <a:ext cx="589122" cy="579980"/>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Shape 66"/>
            <p:cNvSpPr/>
            <p:nvPr/>
          </p:nvSpPr>
          <p:spPr bwMode="auto">
            <a:xfrm>
              <a:off x="3245043" y="2986778"/>
              <a:ext cx="738326" cy="711139"/>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p:cNvSpPr/>
            <p:nvPr/>
          </p:nvSpPr>
          <p:spPr bwMode="auto">
            <a:xfrm>
              <a:off x="3530728"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p:cNvSpPr/>
            <p:nvPr/>
          </p:nvSpPr>
          <p:spPr bwMode="auto">
            <a:xfrm>
              <a:off x="3681596"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p:cNvSpPr/>
            <p:nvPr/>
          </p:nvSpPr>
          <p:spPr bwMode="auto">
            <a:xfrm>
              <a:off x="3496037"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p:cNvSpPr/>
            <p:nvPr/>
          </p:nvSpPr>
          <p:spPr bwMode="auto">
            <a:xfrm>
              <a:off x="3647501"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p:cNvSpPr/>
            <p:nvPr/>
          </p:nvSpPr>
          <p:spPr bwMode="auto">
            <a:xfrm>
              <a:off x="3589748" y="3240503"/>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Freeform: Shape 72"/>
            <p:cNvSpPr/>
            <p:nvPr/>
          </p:nvSpPr>
          <p:spPr bwMode="auto">
            <a:xfrm>
              <a:off x="3283042" y="3012020"/>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p:cNvSpPr/>
            <p:nvPr/>
          </p:nvSpPr>
          <p:spPr bwMode="auto">
            <a:xfrm rot="4374466">
              <a:off x="3612735" y="2996944"/>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p:cNvSpPr/>
            <p:nvPr/>
          </p:nvSpPr>
          <p:spPr bwMode="auto">
            <a:xfrm rot="17319209">
              <a:off x="3197607" y="333295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p:cNvSpPr/>
            <p:nvPr/>
          </p:nvSpPr>
          <p:spPr bwMode="auto">
            <a:xfrm rot="8698688">
              <a:off x="3731331" y="3303658"/>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p:cNvSpPr/>
            <p:nvPr/>
          </p:nvSpPr>
          <p:spPr bwMode="auto">
            <a:xfrm rot="12956291">
              <a:off x="3474837" y="351074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nvGrpSpPr>
            <p:cNvPr id="78" name="Group 77"/>
            <p:cNvGrpSpPr/>
            <p:nvPr/>
          </p:nvGrpSpPr>
          <p:grpSpPr>
            <a:xfrm>
              <a:off x="3253265" y="3164176"/>
              <a:ext cx="119666" cy="202459"/>
              <a:chOff x="15588916" y="7188536"/>
              <a:chExt cx="354582" cy="599905"/>
            </a:xfrm>
          </p:grpSpPr>
          <p:sp>
            <p:nvSpPr>
              <p:cNvPr id="135" name="Freeform: Shape 134"/>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9" name="Group 78"/>
            <p:cNvGrpSpPr/>
            <p:nvPr/>
          </p:nvGrpSpPr>
          <p:grpSpPr>
            <a:xfrm rot="4323909">
              <a:off x="3555082" y="2944917"/>
              <a:ext cx="119666" cy="202459"/>
              <a:chOff x="15588916" y="7188536"/>
              <a:chExt cx="354582" cy="599905"/>
            </a:xfrm>
          </p:grpSpPr>
          <p:sp>
            <p:nvSpPr>
              <p:cNvPr id="133" name="Freeform: Shape 132"/>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4" name="Freeform: Shape 133"/>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80" name="Group 79"/>
            <p:cNvGrpSpPr/>
            <p:nvPr/>
          </p:nvGrpSpPr>
          <p:grpSpPr>
            <a:xfrm rot="8686591" flipH="1">
              <a:off x="3364946" y="3521466"/>
              <a:ext cx="127761" cy="198470"/>
              <a:chOff x="15588916" y="7188536"/>
              <a:chExt cx="354582" cy="599905"/>
            </a:xfrm>
          </p:grpSpPr>
          <p:sp>
            <p:nvSpPr>
              <p:cNvPr id="131" name="Freeform: Shape 130"/>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2" name="Freeform: Shape 131"/>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81" name="Freeform: Shape 80"/>
            <p:cNvSpPr/>
            <p:nvPr/>
          </p:nvSpPr>
          <p:spPr bwMode="auto">
            <a:xfrm rot="4398861" flipV="1">
              <a:off x="3704115" y="3647622"/>
              <a:ext cx="56576" cy="41687"/>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p:cNvSpPr/>
            <p:nvPr/>
          </p:nvSpPr>
          <p:spPr bwMode="auto">
            <a:xfrm rot="17414756" flipV="1">
              <a:off x="3835288" y="3540962"/>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3" name="Oval 82"/>
            <p:cNvSpPr/>
            <p:nvPr/>
          </p:nvSpPr>
          <p:spPr bwMode="auto">
            <a:xfrm>
              <a:off x="3575516" y="3323557"/>
              <a:ext cx="79608" cy="79608"/>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Freeform: Shape 83"/>
            <p:cNvSpPr/>
            <p:nvPr/>
          </p:nvSpPr>
          <p:spPr bwMode="auto">
            <a:xfrm rot="12965245" flipV="1">
              <a:off x="3860287" y="315098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p:cNvSpPr/>
            <p:nvPr/>
          </p:nvSpPr>
          <p:spPr bwMode="auto">
            <a:xfrm rot="6683114">
              <a:off x="3910027" y="332125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p:cNvSpPr/>
            <p:nvPr/>
          </p:nvSpPr>
          <p:spPr bwMode="auto">
            <a:xfrm>
              <a:off x="2570591" y="2702513"/>
              <a:ext cx="1713649" cy="812098"/>
            </a:xfrm>
            <a:custGeom>
              <a:avLst/>
              <a:gdLst>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77691"/>
                <a:gd name="connsiteY0" fmla="*/ 2392240 h 2406318"/>
                <a:gd name="connsiteX1" fmla="*/ 526473 w 5077691"/>
                <a:gd name="connsiteY1" fmla="*/ 2406095 h 2406318"/>
                <a:gd name="connsiteX2" fmla="*/ 921327 w 5077691"/>
                <a:gd name="connsiteY2" fmla="*/ 2399167 h 2406318"/>
                <a:gd name="connsiteX3" fmla="*/ 1025236 w 5077691"/>
                <a:gd name="connsiteY3" fmla="*/ 2378386 h 2406318"/>
                <a:gd name="connsiteX4" fmla="*/ 1101436 w 5077691"/>
                <a:gd name="connsiteY4" fmla="*/ 2239840 h 2406318"/>
                <a:gd name="connsiteX5" fmla="*/ 1129145 w 5077691"/>
                <a:gd name="connsiteY5" fmla="*/ 1713367 h 2406318"/>
                <a:gd name="connsiteX6" fmla="*/ 1253836 w 5077691"/>
                <a:gd name="connsiteY6" fmla="*/ 1221531 h 2406318"/>
                <a:gd name="connsiteX7" fmla="*/ 1551709 w 5077691"/>
                <a:gd name="connsiteY7" fmla="*/ 701986 h 2406318"/>
                <a:gd name="connsiteX8" fmla="*/ 2105891 w 5077691"/>
                <a:gd name="connsiteY8" fmla="*/ 244786 h 2406318"/>
                <a:gd name="connsiteX9" fmla="*/ 2646218 w 5077691"/>
                <a:gd name="connsiteY9" fmla="*/ 57750 h 2406318"/>
                <a:gd name="connsiteX10" fmla="*/ 3241964 w 5077691"/>
                <a:gd name="connsiteY10" fmla="*/ 2331 h 2406318"/>
                <a:gd name="connsiteX11" fmla="*/ 3837709 w 5077691"/>
                <a:gd name="connsiteY11" fmla="*/ 120094 h 2406318"/>
                <a:gd name="connsiteX12" fmla="*/ 4281055 w 5077691"/>
                <a:gd name="connsiteY12" fmla="*/ 341767 h 2406318"/>
                <a:gd name="connsiteX13" fmla="*/ 4717473 w 5077691"/>
                <a:gd name="connsiteY13" fmla="*/ 764331 h 2406318"/>
                <a:gd name="connsiteX14" fmla="*/ 4925291 w 5077691"/>
                <a:gd name="connsiteY14" fmla="*/ 1103767 h 2406318"/>
                <a:gd name="connsiteX15" fmla="*/ 5036127 w 5077691"/>
                <a:gd name="connsiteY15" fmla="*/ 1387786 h 2406318"/>
                <a:gd name="connsiteX16" fmla="*/ 5077691 w 5077691"/>
                <a:gd name="connsiteY16" fmla="*/ 1554040 h 240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77691" h="2406318">
                  <a:moveTo>
                    <a:pt x="0" y="2392240"/>
                  </a:moveTo>
                  <a:lnTo>
                    <a:pt x="526473" y="2406095"/>
                  </a:lnTo>
                  <a:cubicBezTo>
                    <a:pt x="680027" y="2407249"/>
                    <a:pt x="838200" y="2403785"/>
                    <a:pt x="921327" y="2399167"/>
                  </a:cubicBezTo>
                  <a:cubicBezTo>
                    <a:pt x="1004454" y="2394549"/>
                    <a:pt x="995218" y="2404940"/>
                    <a:pt x="1025236" y="2378386"/>
                  </a:cubicBezTo>
                  <a:cubicBezTo>
                    <a:pt x="1055254" y="2351832"/>
                    <a:pt x="1104900" y="2364532"/>
                    <a:pt x="1101436" y="2239840"/>
                  </a:cubicBezTo>
                  <a:cubicBezTo>
                    <a:pt x="1097972" y="2115148"/>
                    <a:pt x="1103745" y="1883085"/>
                    <a:pt x="1129145" y="1713367"/>
                  </a:cubicBezTo>
                  <a:cubicBezTo>
                    <a:pt x="1154545" y="1543649"/>
                    <a:pt x="1183409" y="1390094"/>
                    <a:pt x="1253836" y="1221531"/>
                  </a:cubicBezTo>
                  <a:cubicBezTo>
                    <a:pt x="1324263" y="1052968"/>
                    <a:pt x="1409700" y="864777"/>
                    <a:pt x="1551709" y="701986"/>
                  </a:cubicBezTo>
                  <a:cubicBezTo>
                    <a:pt x="1693718" y="539195"/>
                    <a:pt x="1923473" y="352159"/>
                    <a:pt x="2105891" y="244786"/>
                  </a:cubicBezTo>
                  <a:cubicBezTo>
                    <a:pt x="2288309" y="137413"/>
                    <a:pt x="2456873" y="98159"/>
                    <a:pt x="2646218" y="57750"/>
                  </a:cubicBezTo>
                  <a:cubicBezTo>
                    <a:pt x="2835564" y="17341"/>
                    <a:pt x="3043382" y="-8060"/>
                    <a:pt x="3241964" y="2331"/>
                  </a:cubicBezTo>
                  <a:cubicBezTo>
                    <a:pt x="3440546" y="12722"/>
                    <a:pt x="3664527" y="63521"/>
                    <a:pt x="3837709" y="120094"/>
                  </a:cubicBezTo>
                  <a:cubicBezTo>
                    <a:pt x="4010891" y="176667"/>
                    <a:pt x="4120574" y="241321"/>
                    <a:pt x="4281055" y="341767"/>
                  </a:cubicBezTo>
                  <a:cubicBezTo>
                    <a:pt x="4441536" y="442213"/>
                    <a:pt x="4610100" y="637331"/>
                    <a:pt x="4717473" y="764331"/>
                  </a:cubicBezTo>
                  <a:cubicBezTo>
                    <a:pt x="4824846" y="891331"/>
                    <a:pt x="4872182" y="999858"/>
                    <a:pt x="4925291" y="1103767"/>
                  </a:cubicBezTo>
                  <a:cubicBezTo>
                    <a:pt x="4978400" y="1207676"/>
                    <a:pt x="5010727" y="1312741"/>
                    <a:pt x="5036127" y="1387786"/>
                  </a:cubicBezTo>
                  <a:cubicBezTo>
                    <a:pt x="5061527" y="1462831"/>
                    <a:pt x="5069609" y="1508435"/>
                    <a:pt x="5077691" y="155404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p:cNvSpPr/>
            <p:nvPr/>
          </p:nvSpPr>
          <p:spPr bwMode="auto">
            <a:xfrm>
              <a:off x="2699161" y="3234492"/>
              <a:ext cx="121941" cy="163758"/>
            </a:xfrm>
            <a:custGeom>
              <a:avLst/>
              <a:gdLst>
                <a:gd name="connsiteX0" fmla="*/ 104438 w 376383"/>
                <a:gd name="connsiteY0" fmla="*/ 7725 h 508285"/>
                <a:gd name="connsiteX1" fmla="*/ 528 w 376383"/>
                <a:gd name="connsiteY1" fmla="*/ 194762 h 508285"/>
                <a:gd name="connsiteX2" fmla="*/ 69801 w 376383"/>
                <a:gd name="connsiteY2" fmla="*/ 388725 h 508285"/>
                <a:gd name="connsiteX3" fmla="*/ 194492 w 376383"/>
                <a:gd name="connsiteY3" fmla="*/ 485707 h 508285"/>
                <a:gd name="connsiteX4" fmla="*/ 291474 w 376383"/>
                <a:gd name="connsiteY4" fmla="*/ 499562 h 508285"/>
                <a:gd name="connsiteX5" fmla="*/ 374601 w 376383"/>
                <a:gd name="connsiteY5" fmla="*/ 374871 h 508285"/>
                <a:gd name="connsiteX6" fmla="*/ 339965 w 376383"/>
                <a:gd name="connsiteY6" fmla="*/ 173980 h 508285"/>
                <a:gd name="connsiteX7" fmla="*/ 242983 w 376383"/>
                <a:gd name="connsiteY7" fmla="*/ 49289 h 508285"/>
                <a:gd name="connsiteX8" fmla="*/ 104438 w 376383"/>
                <a:gd name="connsiteY8" fmla="*/ 7725 h 508285"/>
                <a:gd name="connsiteX0" fmla="*/ 97336 w 376209"/>
                <a:gd name="connsiteY0" fmla="*/ 10808 h 490586"/>
                <a:gd name="connsiteX1" fmla="*/ 354 w 376209"/>
                <a:gd name="connsiteY1" fmla="*/ 177063 h 490586"/>
                <a:gd name="connsiteX2" fmla="*/ 69627 w 376209"/>
                <a:gd name="connsiteY2" fmla="*/ 371026 h 490586"/>
                <a:gd name="connsiteX3" fmla="*/ 194318 w 376209"/>
                <a:gd name="connsiteY3" fmla="*/ 468008 h 490586"/>
                <a:gd name="connsiteX4" fmla="*/ 291300 w 376209"/>
                <a:gd name="connsiteY4" fmla="*/ 481863 h 490586"/>
                <a:gd name="connsiteX5" fmla="*/ 374427 w 376209"/>
                <a:gd name="connsiteY5" fmla="*/ 357172 h 490586"/>
                <a:gd name="connsiteX6" fmla="*/ 339791 w 376209"/>
                <a:gd name="connsiteY6" fmla="*/ 156281 h 490586"/>
                <a:gd name="connsiteX7" fmla="*/ 242809 w 376209"/>
                <a:gd name="connsiteY7" fmla="*/ 31590 h 490586"/>
                <a:gd name="connsiteX8" fmla="*/ 97336 w 376209"/>
                <a:gd name="connsiteY8" fmla="*/ 10808 h 490586"/>
                <a:gd name="connsiteX0" fmla="*/ 83600 w 362473"/>
                <a:gd name="connsiteY0" fmla="*/ 10808 h 490586"/>
                <a:gd name="connsiteX1" fmla="*/ 473 w 362473"/>
                <a:gd name="connsiteY1" fmla="*/ 177063 h 490586"/>
                <a:gd name="connsiteX2" fmla="*/ 55891 w 362473"/>
                <a:gd name="connsiteY2" fmla="*/ 371026 h 490586"/>
                <a:gd name="connsiteX3" fmla="*/ 180582 w 362473"/>
                <a:gd name="connsiteY3" fmla="*/ 468008 h 490586"/>
                <a:gd name="connsiteX4" fmla="*/ 277564 w 362473"/>
                <a:gd name="connsiteY4" fmla="*/ 481863 h 490586"/>
                <a:gd name="connsiteX5" fmla="*/ 360691 w 362473"/>
                <a:gd name="connsiteY5" fmla="*/ 357172 h 490586"/>
                <a:gd name="connsiteX6" fmla="*/ 326055 w 362473"/>
                <a:gd name="connsiteY6" fmla="*/ 156281 h 490586"/>
                <a:gd name="connsiteX7" fmla="*/ 229073 w 362473"/>
                <a:gd name="connsiteY7" fmla="*/ 31590 h 490586"/>
                <a:gd name="connsiteX8" fmla="*/ 83600 w 362473"/>
                <a:gd name="connsiteY8" fmla="*/ 10808 h 490586"/>
                <a:gd name="connsiteX0" fmla="*/ 83600 w 361759"/>
                <a:gd name="connsiteY0" fmla="*/ 10808 h 490586"/>
                <a:gd name="connsiteX1" fmla="*/ 473 w 361759"/>
                <a:gd name="connsiteY1" fmla="*/ 177063 h 490586"/>
                <a:gd name="connsiteX2" fmla="*/ 55891 w 361759"/>
                <a:gd name="connsiteY2" fmla="*/ 371026 h 490586"/>
                <a:gd name="connsiteX3" fmla="*/ 180582 w 361759"/>
                <a:gd name="connsiteY3" fmla="*/ 468008 h 490586"/>
                <a:gd name="connsiteX4" fmla="*/ 291418 w 361759"/>
                <a:gd name="connsiteY4" fmla="*/ 481863 h 490586"/>
                <a:gd name="connsiteX5" fmla="*/ 360691 w 361759"/>
                <a:gd name="connsiteY5" fmla="*/ 357172 h 490586"/>
                <a:gd name="connsiteX6" fmla="*/ 326055 w 361759"/>
                <a:gd name="connsiteY6" fmla="*/ 156281 h 490586"/>
                <a:gd name="connsiteX7" fmla="*/ 229073 w 361759"/>
                <a:gd name="connsiteY7" fmla="*/ 31590 h 490586"/>
                <a:gd name="connsiteX8" fmla="*/ 83600 w 361759"/>
                <a:gd name="connsiteY8" fmla="*/ 10808 h 490586"/>
                <a:gd name="connsiteX0" fmla="*/ 85293 w 363452"/>
                <a:gd name="connsiteY0" fmla="*/ 10808 h 490586"/>
                <a:gd name="connsiteX1" fmla="*/ 2166 w 363452"/>
                <a:gd name="connsiteY1" fmla="*/ 177063 h 490586"/>
                <a:gd name="connsiteX2" fmla="*/ 57584 w 363452"/>
                <a:gd name="connsiteY2" fmla="*/ 371026 h 490586"/>
                <a:gd name="connsiteX3" fmla="*/ 182275 w 363452"/>
                <a:gd name="connsiteY3" fmla="*/ 468008 h 490586"/>
                <a:gd name="connsiteX4" fmla="*/ 293111 w 363452"/>
                <a:gd name="connsiteY4" fmla="*/ 481863 h 490586"/>
                <a:gd name="connsiteX5" fmla="*/ 362384 w 363452"/>
                <a:gd name="connsiteY5" fmla="*/ 357172 h 490586"/>
                <a:gd name="connsiteX6" fmla="*/ 327748 w 363452"/>
                <a:gd name="connsiteY6" fmla="*/ 156281 h 490586"/>
                <a:gd name="connsiteX7" fmla="*/ 230766 w 363452"/>
                <a:gd name="connsiteY7" fmla="*/ 31590 h 490586"/>
                <a:gd name="connsiteX8" fmla="*/ 85293 w 363452"/>
                <a:gd name="connsiteY8" fmla="*/ 10808 h 490586"/>
                <a:gd name="connsiteX0" fmla="*/ 62382 w 361323"/>
                <a:gd name="connsiteY0" fmla="*/ 12378 h 485229"/>
                <a:gd name="connsiteX1" fmla="*/ 37 w 361323"/>
                <a:gd name="connsiteY1" fmla="*/ 171706 h 485229"/>
                <a:gd name="connsiteX2" fmla="*/ 55455 w 361323"/>
                <a:gd name="connsiteY2" fmla="*/ 365669 h 485229"/>
                <a:gd name="connsiteX3" fmla="*/ 180146 w 361323"/>
                <a:gd name="connsiteY3" fmla="*/ 462651 h 485229"/>
                <a:gd name="connsiteX4" fmla="*/ 290982 w 361323"/>
                <a:gd name="connsiteY4" fmla="*/ 476506 h 485229"/>
                <a:gd name="connsiteX5" fmla="*/ 360255 w 361323"/>
                <a:gd name="connsiteY5" fmla="*/ 351815 h 485229"/>
                <a:gd name="connsiteX6" fmla="*/ 325619 w 361323"/>
                <a:gd name="connsiteY6" fmla="*/ 150924 h 485229"/>
                <a:gd name="connsiteX7" fmla="*/ 228637 w 361323"/>
                <a:gd name="connsiteY7" fmla="*/ 26233 h 485229"/>
                <a:gd name="connsiteX8" fmla="*/ 62382 w 361323"/>
                <a:gd name="connsiteY8" fmla="*/ 12378 h 48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3" h="485229">
                  <a:moveTo>
                    <a:pt x="62382" y="12378"/>
                  </a:moveTo>
                  <a:cubicBezTo>
                    <a:pt x="24282" y="36623"/>
                    <a:pt x="1191" y="112824"/>
                    <a:pt x="37" y="171706"/>
                  </a:cubicBezTo>
                  <a:cubicBezTo>
                    <a:pt x="-1117" y="230588"/>
                    <a:pt x="25437" y="317178"/>
                    <a:pt x="55455" y="365669"/>
                  </a:cubicBezTo>
                  <a:cubicBezTo>
                    <a:pt x="85473" y="414160"/>
                    <a:pt x="140892" y="444178"/>
                    <a:pt x="180146" y="462651"/>
                  </a:cubicBezTo>
                  <a:cubicBezTo>
                    <a:pt x="219401" y="481124"/>
                    <a:pt x="260964" y="494979"/>
                    <a:pt x="290982" y="476506"/>
                  </a:cubicBezTo>
                  <a:cubicBezTo>
                    <a:pt x="321000" y="458033"/>
                    <a:pt x="354482" y="406079"/>
                    <a:pt x="360255" y="351815"/>
                  </a:cubicBezTo>
                  <a:cubicBezTo>
                    <a:pt x="366028" y="297551"/>
                    <a:pt x="347555" y="205188"/>
                    <a:pt x="325619" y="150924"/>
                  </a:cubicBezTo>
                  <a:cubicBezTo>
                    <a:pt x="303683" y="96660"/>
                    <a:pt x="272510" y="49324"/>
                    <a:pt x="228637" y="26233"/>
                  </a:cubicBezTo>
                  <a:cubicBezTo>
                    <a:pt x="184764" y="3142"/>
                    <a:pt x="100482" y="-11867"/>
                    <a:pt x="62382" y="1237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Freeform: Shape 87"/>
            <p:cNvSpPr/>
            <p:nvPr/>
          </p:nvSpPr>
          <p:spPr bwMode="auto">
            <a:xfrm>
              <a:off x="2746898" y="3252696"/>
              <a:ext cx="59817" cy="128846"/>
            </a:xfrm>
            <a:custGeom>
              <a:avLst/>
              <a:gdLst>
                <a:gd name="connsiteX0" fmla="*/ 79417 w 155617"/>
                <a:gd name="connsiteY0" fmla="*/ 0 h 381782"/>
                <a:gd name="connsiteX1" fmla="*/ 10144 w 155617"/>
                <a:gd name="connsiteY1" fmla="*/ 90055 h 381782"/>
                <a:gd name="connsiteX2" fmla="*/ 3217 w 155617"/>
                <a:gd name="connsiteY2" fmla="*/ 207818 h 381782"/>
                <a:gd name="connsiteX3" fmla="*/ 37853 w 155617"/>
                <a:gd name="connsiteY3" fmla="*/ 346364 h 381782"/>
                <a:gd name="connsiteX4" fmla="*/ 100199 w 155617"/>
                <a:gd name="connsiteY4" fmla="*/ 381000 h 381782"/>
                <a:gd name="connsiteX5" fmla="*/ 155617 w 155617"/>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74913"/>
                <a:gd name="connsiteY0" fmla="*/ 0 h 381782"/>
                <a:gd name="connsiteX1" fmla="*/ 15586 w 174913"/>
                <a:gd name="connsiteY1" fmla="*/ 90055 h 381782"/>
                <a:gd name="connsiteX2" fmla="*/ 1731 w 174913"/>
                <a:gd name="connsiteY2" fmla="*/ 200891 h 381782"/>
                <a:gd name="connsiteX3" fmla="*/ 43295 w 174913"/>
                <a:gd name="connsiteY3" fmla="*/ 346364 h 381782"/>
                <a:gd name="connsiteX4" fmla="*/ 105641 w 174913"/>
                <a:gd name="connsiteY4" fmla="*/ 381000 h 381782"/>
                <a:gd name="connsiteX5" fmla="*/ 174913 w 174913"/>
                <a:gd name="connsiteY5" fmla="*/ 367146 h 381782"/>
                <a:gd name="connsiteX0" fmla="*/ 87188 w 177242"/>
                <a:gd name="connsiteY0" fmla="*/ 0 h 381782"/>
                <a:gd name="connsiteX1" fmla="*/ 10987 w 177242"/>
                <a:gd name="connsiteY1" fmla="*/ 90055 h 381782"/>
                <a:gd name="connsiteX2" fmla="*/ 4060 w 177242"/>
                <a:gd name="connsiteY2" fmla="*/ 200891 h 381782"/>
                <a:gd name="connsiteX3" fmla="*/ 45624 w 177242"/>
                <a:gd name="connsiteY3" fmla="*/ 346364 h 381782"/>
                <a:gd name="connsiteX4" fmla="*/ 107970 w 177242"/>
                <a:gd name="connsiteY4" fmla="*/ 381000 h 381782"/>
                <a:gd name="connsiteX5" fmla="*/ 177242 w 177242"/>
                <a:gd name="connsiteY5" fmla="*/ 367146 h 3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242" h="381782">
                  <a:moveTo>
                    <a:pt x="87188" y="0"/>
                  </a:moveTo>
                  <a:cubicBezTo>
                    <a:pt x="58901" y="27709"/>
                    <a:pt x="24842" y="56573"/>
                    <a:pt x="10987" y="90055"/>
                  </a:cubicBezTo>
                  <a:cubicBezTo>
                    <a:pt x="-2868" y="123537"/>
                    <a:pt x="-1713" y="158173"/>
                    <a:pt x="4060" y="200891"/>
                  </a:cubicBezTo>
                  <a:cubicBezTo>
                    <a:pt x="9833" y="243609"/>
                    <a:pt x="28306" y="316346"/>
                    <a:pt x="45624" y="346364"/>
                  </a:cubicBezTo>
                  <a:cubicBezTo>
                    <a:pt x="62942" y="376382"/>
                    <a:pt x="86034" y="377536"/>
                    <a:pt x="107970" y="381000"/>
                  </a:cubicBezTo>
                  <a:cubicBezTo>
                    <a:pt x="129906" y="384464"/>
                    <a:pt x="159346" y="375805"/>
                    <a:pt x="177242" y="367146"/>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p:cNvSpPr/>
            <p:nvPr/>
          </p:nvSpPr>
          <p:spPr bwMode="auto">
            <a:xfrm>
              <a:off x="4340667" y="2560687"/>
              <a:ext cx="190414" cy="46378"/>
            </a:xfrm>
            <a:custGeom>
              <a:avLst/>
              <a:gdLst>
                <a:gd name="connsiteX0" fmla="*/ 144530 w 564212"/>
                <a:gd name="connsiteY0" fmla="*/ 117774 h 137423"/>
                <a:gd name="connsiteX1" fmla="*/ 428548 w 564212"/>
                <a:gd name="connsiteY1" fmla="*/ 131629 h 137423"/>
                <a:gd name="connsiteX2" fmla="*/ 553239 w 564212"/>
                <a:gd name="connsiteY2" fmla="*/ 20792 h 137423"/>
                <a:gd name="connsiteX3" fmla="*/ 511676 w 564212"/>
                <a:gd name="connsiteY3" fmla="*/ 10 h 137423"/>
                <a:gd name="connsiteX4" fmla="*/ 144530 w 564212"/>
                <a:gd name="connsiteY4" fmla="*/ 20792 h 137423"/>
                <a:gd name="connsiteX5" fmla="*/ 26767 w 564212"/>
                <a:gd name="connsiteY5" fmla="*/ 34647 h 137423"/>
                <a:gd name="connsiteX6" fmla="*/ 5985 w 564212"/>
                <a:gd name="connsiteY6" fmla="*/ 83138 h 137423"/>
                <a:gd name="connsiteX7" fmla="*/ 144530 w 564212"/>
                <a:gd name="connsiteY7" fmla="*/ 117774 h 137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4212" h="137423">
                  <a:moveTo>
                    <a:pt x="144530" y="117774"/>
                  </a:moveTo>
                  <a:cubicBezTo>
                    <a:pt x="214957" y="125856"/>
                    <a:pt x="360430" y="147793"/>
                    <a:pt x="428548" y="131629"/>
                  </a:cubicBezTo>
                  <a:cubicBezTo>
                    <a:pt x="496666" y="115465"/>
                    <a:pt x="539384" y="42728"/>
                    <a:pt x="553239" y="20792"/>
                  </a:cubicBezTo>
                  <a:cubicBezTo>
                    <a:pt x="567094" y="-1144"/>
                    <a:pt x="579794" y="10"/>
                    <a:pt x="511676" y="10"/>
                  </a:cubicBezTo>
                  <a:cubicBezTo>
                    <a:pt x="443558" y="10"/>
                    <a:pt x="225348" y="15019"/>
                    <a:pt x="144530" y="20792"/>
                  </a:cubicBezTo>
                  <a:cubicBezTo>
                    <a:pt x="63712" y="26565"/>
                    <a:pt x="49858" y="24256"/>
                    <a:pt x="26767" y="34647"/>
                  </a:cubicBezTo>
                  <a:cubicBezTo>
                    <a:pt x="3676" y="45038"/>
                    <a:pt x="-7869" y="69284"/>
                    <a:pt x="5985" y="83138"/>
                  </a:cubicBezTo>
                  <a:cubicBezTo>
                    <a:pt x="19839" y="96992"/>
                    <a:pt x="74103" y="109692"/>
                    <a:pt x="144530" y="11777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Shape 89"/>
            <p:cNvSpPr/>
            <p:nvPr/>
          </p:nvSpPr>
          <p:spPr bwMode="auto">
            <a:xfrm>
              <a:off x="2610335" y="2331581"/>
              <a:ext cx="1804826" cy="353016"/>
            </a:xfrm>
            <a:custGeom>
              <a:avLst/>
              <a:gdLst>
                <a:gd name="connsiteX0" fmla="*/ 0 w 5320146"/>
                <a:gd name="connsiteY0" fmla="*/ 1046018 h 1046018"/>
                <a:gd name="connsiteX1" fmla="*/ 581891 w 5320146"/>
                <a:gd name="connsiteY1" fmla="*/ 762000 h 1046018"/>
                <a:gd name="connsiteX2" fmla="*/ 1371600 w 5320146"/>
                <a:gd name="connsiteY2" fmla="*/ 540327 h 1046018"/>
                <a:gd name="connsiteX3" fmla="*/ 2528455 w 5320146"/>
                <a:gd name="connsiteY3" fmla="*/ 325582 h 1046018"/>
                <a:gd name="connsiteX4" fmla="*/ 3913909 w 5320146"/>
                <a:gd name="connsiteY4" fmla="*/ 138545 h 1046018"/>
                <a:gd name="connsiteX5" fmla="*/ 4814455 w 5320146"/>
                <a:gd name="connsiteY5" fmla="*/ 34636 h 1046018"/>
                <a:gd name="connsiteX6" fmla="*/ 5320146 w 5320146"/>
                <a:gd name="connsiteY6" fmla="*/ 0 h 1046018"/>
                <a:gd name="connsiteX0" fmla="*/ 0 w 5347855"/>
                <a:gd name="connsiteY0" fmla="*/ 1046018 h 1046018"/>
                <a:gd name="connsiteX1" fmla="*/ 581891 w 5347855"/>
                <a:gd name="connsiteY1" fmla="*/ 762000 h 1046018"/>
                <a:gd name="connsiteX2" fmla="*/ 1371600 w 5347855"/>
                <a:gd name="connsiteY2" fmla="*/ 540327 h 1046018"/>
                <a:gd name="connsiteX3" fmla="*/ 2528455 w 5347855"/>
                <a:gd name="connsiteY3" fmla="*/ 325582 h 1046018"/>
                <a:gd name="connsiteX4" fmla="*/ 3913909 w 5347855"/>
                <a:gd name="connsiteY4" fmla="*/ 138545 h 1046018"/>
                <a:gd name="connsiteX5" fmla="*/ 4814455 w 5347855"/>
                <a:gd name="connsiteY5" fmla="*/ 34636 h 1046018"/>
                <a:gd name="connsiteX6" fmla="*/ 5347855 w 5347855"/>
                <a:gd name="connsiteY6" fmla="*/ 0 h 10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7855" h="1046018">
                  <a:moveTo>
                    <a:pt x="0" y="1046018"/>
                  </a:moveTo>
                  <a:cubicBezTo>
                    <a:pt x="176645" y="946150"/>
                    <a:pt x="353291" y="846282"/>
                    <a:pt x="581891" y="762000"/>
                  </a:cubicBezTo>
                  <a:cubicBezTo>
                    <a:pt x="810491" y="677718"/>
                    <a:pt x="1047173" y="613063"/>
                    <a:pt x="1371600" y="540327"/>
                  </a:cubicBezTo>
                  <a:cubicBezTo>
                    <a:pt x="1696027" y="467591"/>
                    <a:pt x="2104737" y="392546"/>
                    <a:pt x="2528455" y="325582"/>
                  </a:cubicBezTo>
                  <a:cubicBezTo>
                    <a:pt x="2952173" y="258618"/>
                    <a:pt x="3532909" y="187036"/>
                    <a:pt x="3913909" y="138545"/>
                  </a:cubicBezTo>
                  <a:cubicBezTo>
                    <a:pt x="4294909" y="90054"/>
                    <a:pt x="4575464" y="57727"/>
                    <a:pt x="4814455" y="34636"/>
                  </a:cubicBezTo>
                  <a:cubicBezTo>
                    <a:pt x="5053446" y="11545"/>
                    <a:pt x="5212196" y="5772"/>
                    <a:pt x="5347855"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p:cNvSpPr/>
            <p:nvPr/>
          </p:nvSpPr>
          <p:spPr bwMode="auto">
            <a:xfrm>
              <a:off x="2900229" y="2357297"/>
              <a:ext cx="1713649" cy="292232"/>
            </a:xfrm>
            <a:custGeom>
              <a:avLst/>
              <a:gdLst>
                <a:gd name="connsiteX0" fmla="*/ 5077691 w 5077691"/>
                <a:gd name="connsiteY0" fmla="*/ 0 h 865909"/>
                <a:gd name="connsiteX1" fmla="*/ 4918364 w 5077691"/>
                <a:gd name="connsiteY1" fmla="*/ 103909 h 865909"/>
                <a:gd name="connsiteX2" fmla="*/ 4475019 w 5077691"/>
                <a:gd name="connsiteY2" fmla="*/ 228600 h 865909"/>
                <a:gd name="connsiteX3" fmla="*/ 3851564 w 5077691"/>
                <a:gd name="connsiteY3" fmla="*/ 297872 h 865909"/>
                <a:gd name="connsiteX4" fmla="*/ 2930237 w 5077691"/>
                <a:gd name="connsiteY4" fmla="*/ 381000 h 865909"/>
                <a:gd name="connsiteX5" fmla="*/ 1953491 w 5077691"/>
                <a:gd name="connsiteY5" fmla="*/ 477982 h 865909"/>
                <a:gd name="connsiteX6" fmla="*/ 1094510 w 5077691"/>
                <a:gd name="connsiteY6" fmla="*/ 609600 h 865909"/>
                <a:gd name="connsiteX7" fmla="*/ 526473 w 5077691"/>
                <a:gd name="connsiteY7" fmla="*/ 699654 h 865909"/>
                <a:gd name="connsiteX8" fmla="*/ 96982 w 5077691"/>
                <a:gd name="connsiteY8" fmla="*/ 831272 h 865909"/>
                <a:gd name="connsiteX9" fmla="*/ 0 w 5077691"/>
                <a:gd name="connsiteY9" fmla="*/ 865909 h 8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7691" h="865909">
                  <a:moveTo>
                    <a:pt x="5077691" y="0"/>
                  </a:moveTo>
                  <a:cubicBezTo>
                    <a:pt x="5048250" y="32904"/>
                    <a:pt x="5018809" y="65809"/>
                    <a:pt x="4918364" y="103909"/>
                  </a:cubicBezTo>
                  <a:cubicBezTo>
                    <a:pt x="4817919" y="142009"/>
                    <a:pt x="4652819" y="196273"/>
                    <a:pt x="4475019" y="228600"/>
                  </a:cubicBezTo>
                  <a:cubicBezTo>
                    <a:pt x="4297219" y="260927"/>
                    <a:pt x="3851564" y="297872"/>
                    <a:pt x="3851564" y="297872"/>
                  </a:cubicBezTo>
                  <a:lnTo>
                    <a:pt x="2930237" y="381000"/>
                  </a:lnTo>
                  <a:cubicBezTo>
                    <a:pt x="2613892" y="411018"/>
                    <a:pt x="2259445" y="439882"/>
                    <a:pt x="1953491" y="477982"/>
                  </a:cubicBezTo>
                  <a:cubicBezTo>
                    <a:pt x="1647537" y="516082"/>
                    <a:pt x="1094510" y="609600"/>
                    <a:pt x="1094510" y="609600"/>
                  </a:cubicBezTo>
                  <a:cubicBezTo>
                    <a:pt x="856674" y="646545"/>
                    <a:pt x="692728" y="662709"/>
                    <a:pt x="526473" y="699654"/>
                  </a:cubicBezTo>
                  <a:cubicBezTo>
                    <a:pt x="360218" y="736599"/>
                    <a:pt x="184727" y="803563"/>
                    <a:pt x="96982" y="831272"/>
                  </a:cubicBezTo>
                  <a:cubicBezTo>
                    <a:pt x="9236" y="858981"/>
                    <a:pt x="4618" y="862445"/>
                    <a:pt x="0" y="86590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p:cNvSpPr/>
            <p:nvPr/>
          </p:nvSpPr>
          <p:spPr bwMode="auto">
            <a:xfrm>
              <a:off x="2914256" y="2485880"/>
              <a:ext cx="1713649" cy="161312"/>
            </a:xfrm>
            <a:custGeom>
              <a:avLst/>
              <a:gdLst>
                <a:gd name="connsiteX0" fmla="*/ 0 w 5077691"/>
                <a:gd name="connsiteY0" fmla="*/ 477982 h 477982"/>
                <a:gd name="connsiteX1" fmla="*/ 727364 w 5077691"/>
                <a:gd name="connsiteY1" fmla="*/ 339436 h 477982"/>
                <a:gd name="connsiteX2" fmla="*/ 1711036 w 5077691"/>
                <a:gd name="connsiteY2" fmla="*/ 214745 h 477982"/>
                <a:gd name="connsiteX3" fmla="*/ 2902527 w 5077691"/>
                <a:gd name="connsiteY3" fmla="*/ 117763 h 477982"/>
                <a:gd name="connsiteX4" fmla="*/ 4135582 w 5077691"/>
                <a:gd name="connsiteY4" fmla="*/ 34636 h 477982"/>
                <a:gd name="connsiteX5" fmla="*/ 4807527 w 5077691"/>
                <a:gd name="connsiteY5" fmla="*/ 13854 h 477982"/>
                <a:gd name="connsiteX6" fmla="*/ 5077691 w 5077691"/>
                <a:gd name="connsiteY6" fmla="*/ 0 h 47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7691" h="477982">
                  <a:moveTo>
                    <a:pt x="0" y="477982"/>
                  </a:moveTo>
                  <a:cubicBezTo>
                    <a:pt x="221095" y="430645"/>
                    <a:pt x="442191" y="383309"/>
                    <a:pt x="727364" y="339436"/>
                  </a:cubicBezTo>
                  <a:cubicBezTo>
                    <a:pt x="1012537" y="295563"/>
                    <a:pt x="1348509" y="251690"/>
                    <a:pt x="1711036" y="214745"/>
                  </a:cubicBezTo>
                  <a:cubicBezTo>
                    <a:pt x="2073563" y="177800"/>
                    <a:pt x="2902527" y="117763"/>
                    <a:pt x="2902527" y="117763"/>
                  </a:cubicBezTo>
                  <a:lnTo>
                    <a:pt x="4135582" y="34636"/>
                  </a:lnTo>
                  <a:cubicBezTo>
                    <a:pt x="4453082" y="17318"/>
                    <a:pt x="4650509" y="19627"/>
                    <a:pt x="4807527" y="13854"/>
                  </a:cubicBezTo>
                  <a:cubicBezTo>
                    <a:pt x="4964545" y="8081"/>
                    <a:pt x="5021118" y="4040"/>
                    <a:pt x="507769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p:cNvSpPr/>
            <p:nvPr/>
          </p:nvSpPr>
          <p:spPr bwMode="auto">
            <a:xfrm>
              <a:off x="2599280" y="2647492"/>
              <a:ext cx="745142" cy="300813"/>
            </a:xfrm>
            <a:custGeom>
              <a:avLst/>
              <a:gdLst>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32951 w 2219642"/>
                <a:gd name="connsiteY15" fmla="*/ 518656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1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23896 w 2219642"/>
                <a:gd name="connsiteY16" fmla="*/ 276202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51605 w 2219642"/>
                <a:gd name="connsiteY16" fmla="*/ 269274 h 891334"/>
                <a:gd name="connsiteX0" fmla="*/ 2214013 w 2214013"/>
                <a:gd name="connsiteY0" fmla="*/ 553292 h 891334"/>
                <a:gd name="connsiteX1" fmla="*/ 1860722 w 2214013"/>
                <a:gd name="connsiteY1" fmla="*/ 338547 h 891334"/>
                <a:gd name="connsiteX2" fmla="*/ 1278831 w 2214013"/>
                <a:gd name="connsiteY2" fmla="*/ 109947 h 891334"/>
                <a:gd name="connsiteX3" fmla="*/ 925541 w 2214013"/>
                <a:gd name="connsiteY3" fmla="*/ 6038 h 891334"/>
                <a:gd name="connsiteX4" fmla="*/ 579177 w 2214013"/>
                <a:gd name="connsiteY4" fmla="*/ 19892 h 891334"/>
                <a:gd name="connsiteX5" fmla="*/ 295159 w 2214013"/>
                <a:gd name="connsiteY5" fmla="*/ 82238 h 891334"/>
                <a:gd name="connsiteX6" fmla="*/ 87341 w 2214013"/>
                <a:gd name="connsiteY6" fmla="*/ 206929 h 891334"/>
                <a:gd name="connsiteX7" fmla="*/ 31922 w 2214013"/>
                <a:gd name="connsiteY7" fmla="*/ 435529 h 891334"/>
                <a:gd name="connsiteX8" fmla="*/ 4213 w 2214013"/>
                <a:gd name="connsiteY8" fmla="*/ 719547 h 891334"/>
                <a:gd name="connsiteX9" fmla="*/ 121977 w 2214013"/>
                <a:gd name="connsiteY9" fmla="*/ 802674 h 891334"/>
                <a:gd name="connsiteX10" fmla="*/ 267450 w 2214013"/>
                <a:gd name="connsiteY10" fmla="*/ 809601 h 891334"/>
                <a:gd name="connsiteX11" fmla="*/ 357504 w 2214013"/>
                <a:gd name="connsiteY11" fmla="*/ 871947 h 891334"/>
                <a:gd name="connsiteX12" fmla="*/ 461413 w 2214013"/>
                <a:gd name="connsiteY12" fmla="*/ 885801 h 891334"/>
                <a:gd name="connsiteX13" fmla="*/ 821631 w 2214013"/>
                <a:gd name="connsiteY13" fmla="*/ 788820 h 891334"/>
                <a:gd name="connsiteX14" fmla="*/ 1313467 w 2214013"/>
                <a:gd name="connsiteY14" fmla="*/ 511729 h 891334"/>
                <a:gd name="connsiteX15" fmla="*/ 1645976 w 2214013"/>
                <a:gd name="connsiteY15" fmla="*/ 269274 h 891334"/>
                <a:gd name="connsiteX0" fmla="*/ 2214123 w 2214123"/>
                <a:gd name="connsiteY0" fmla="*/ 553292 h 891334"/>
                <a:gd name="connsiteX1" fmla="*/ 1860832 w 2214123"/>
                <a:gd name="connsiteY1" fmla="*/ 338547 h 891334"/>
                <a:gd name="connsiteX2" fmla="*/ 1278941 w 2214123"/>
                <a:gd name="connsiteY2" fmla="*/ 109947 h 891334"/>
                <a:gd name="connsiteX3" fmla="*/ 925651 w 2214123"/>
                <a:gd name="connsiteY3" fmla="*/ 6038 h 891334"/>
                <a:gd name="connsiteX4" fmla="*/ 579287 w 2214123"/>
                <a:gd name="connsiteY4" fmla="*/ 19892 h 891334"/>
                <a:gd name="connsiteX5" fmla="*/ 295269 w 2214123"/>
                <a:gd name="connsiteY5" fmla="*/ 82238 h 891334"/>
                <a:gd name="connsiteX6" fmla="*/ 94378 w 2214123"/>
                <a:gd name="connsiteY6" fmla="*/ 206929 h 891334"/>
                <a:gd name="connsiteX7" fmla="*/ 32032 w 2214123"/>
                <a:gd name="connsiteY7" fmla="*/ 435529 h 891334"/>
                <a:gd name="connsiteX8" fmla="*/ 4323 w 2214123"/>
                <a:gd name="connsiteY8" fmla="*/ 719547 h 891334"/>
                <a:gd name="connsiteX9" fmla="*/ 122087 w 2214123"/>
                <a:gd name="connsiteY9" fmla="*/ 802674 h 891334"/>
                <a:gd name="connsiteX10" fmla="*/ 267560 w 2214123"/>
                <a:gd name="connsiteY10" fmla="*/ 809601 h 891334"/>
                <a:gd name="connsiteX11" fmla="*/ 357614 w 2214123"/>
                <a:gd name="connsiteY11" fmla="*/ 871947 h 891334"/>
                <a:gd name="connsiteX12" fmla="*/ 461523 w 2214123"/>
                <a:gd name="connsiteY12" fmla="*/ 885801 h 891334"/>
                <a:gd name="connsiteX13" fmla="*/ 821741 w 2214123"/>
                <a:gd name="connsiteY13" fmla="*/ 788820 h 891334"/>
                <a:gd name="connsiteX14" fmla="*/ 1313577 w 2214123"/>
                <a:gd name="connsiteY14" fmla="*/ 511729 h 891334"/>
                <a:gd name="connsiteX15" fmla="*/ 1646086 w 2214123"/>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07919" h="891334">
                  <a:moveTo>
                    <a:pt x="2207919" y="553292"/>
                  </a:moveTo>
                  <a:cubicBezTo>
                    <a:pt x="2109205" y="482865"/>
                    <a:pt x="2017419" y="398584"/>
                    <a:pt x="1854628" y="338547"/>
                  </a:cubicBezTo>
                  <a:cubicBezTo>
                    <a:pt x="1691837" y="278510"/>
                    <a:pt x="1428600" y="165365"/>
                    <a:pt x="1272737" y="109947"/>
                  </a:cubicBezTo>
                  <a:cubicBezTo>
                    <a:pt x="1116874" y="54529"/>
                    <a:pt x="1036056" y="21047"/>
                    <a:pt x="919447" y="6038"/>
                  </a:cubicBezTo>
                  <a:cubicBezTo>
                    <a:pt x="802838" y="-8971"/>
                    <a:pt x="678147" y="7192"/>
                    <a:pt x="573083" y="19892"/>
                  </a:cubicBezTo>
                  <a:cubicBezTo>
                    <a:pt x="468019" y="32592"/>
                    <a:pt x="369883" y="51065"/>
                    <a:pt x="289065" y="82238"/>
                  </a:cubicBezTo>
                  <a:cubicBezTo>
                    <a:pt x="208247" y="113411"/>
                    <a:pt x="132047" y="148047"/>
                    <a:pt x="88174" y="206929"/>
                  </a:cubicBezTo>
                  <a:cubicBezTo>
                    <a:pt x="44301" y="265811"/>
                    <a:pt x="39683" y="344320"/>
                    <a:pt x="25828" y="435529"/>
                  </a:cubicBezTo>
                  <a:cubicBezTo>
                    <a:pt x="11973" y="526738"/>
                    <a:pt x="-9963" y="692992"/>
                    <a:pt x="5046" y="754183"/>
                  </a:cubicBezTo>
                  <a:cubicBezTo>
                    <a:pt x="20055" y="815374"/>
                    <a:pt x="73165" y="793438"/>
                    <a:pt x="115883" y="802674"/>
                  </a:cubicBezTo>
                  <a:cubicBezTo>
                    <a:pt x="158601" y="811910"/>
                    <a:pt x="222102" y="798056"/>
                    <a:pt x="261356" y="809601"/>
                  </a:cubicBezTo>
                  <a:cubicBezTo>
                    <a:pt x="300610" y="821146"/>
                    <a:pt x="319083" y="859247"/>
                    <a:pt x="351410" y="871947"/>
                  </a:cubicBezTo>
                  <a:cubicBezTo>
                    <a:pt x="383737" y="884647"/>
                    <a:pt x="377965" y="899655"/>
                    <a:pt x="455319" y="885801"/>
                  </a:cubicBezTo>
                  <a:cubicBezTo>
                    <a:pt x="532673" y="871947"/>
                    <a:pt x="673528" y="851165"/>
                    <a:pt x="815537" y="788820"/>
                  </a:cubicBezTo>
                  <a:cubicBezTo>
                    <a:pt x="957546" y="726475"/>
                    <a:pt x="1169982" y="598320"/>
                    <a:pt x="1307373" y="511729"/>
                  </a:cubicBezTo>
                  <a:cubicBezTo>
                    <a:pt x="1444764" y="425138"/>
                    <a:pt x="1543477" y="353555"/>
                    <a:pt x="1639882" y="26927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p:cNvSpPr/>
            <p:nvPr/>
          </p:nvSpPr>
          <p:spPr bwMode="auto">
            <a:xfrm>
              <a:off x="2467395" y="3055147"/>
              <a:ext cx="462537" cy="85624"/>
            </a:xfrm>
            <a:custGeom>
              <a:avLst/>
              <a:gdLst>
                <a:gd name="connsiteX0" fmla="*/ 432524 w 1358737"/>
                <a:gd name="connsiteY0" fmla="*/ 255575 h 269762"/>
                <a:gd name="connsiteX1" fmla="*/ 1007488 w 1358737"/>
                <a:gd name="connsiteY1" fmla="*/ 262502 h 269762"/>
                <a:gd name="connsiteX2" fmla="*/ 1222234 w 1358737"/>
                <a:gd name="connsiteY2" fmla="*/ 214011 h 269762"/>
                <a:gd name="connsiteX3" fmla="*/ 1353852 w 1358737"/>
                <a:gd name="connsiteY3" fmla="*/ 54684 h 269762"/>
                <a:gd name="connsiteX4" fmla="*/ 1236088 w 1358737"/>
                <a:gd name="connsiteY4" fmla="*/ 33902 h 269762"/>
                <a:gd name="connsiteX5" fmla="*/ 425597 w 1358737"/>
                <a:gd name="connsiteY5" fmla="*/ 20047 h 269762"/>
                <a:gd name="connsiteX6" fmla="*/ 120797 w 1358737"/>
                <a:gd name="connsiteY6" fmla="*/ 6193 h 269762"/>
                <a:gd name="connsiteX7" fmla="*/ 23815 w 1358737"/>
                <a:gd name="connsiteY7" fmla="*/ 6193 h 269762"/>
                <a:gd name="connsiteX8" fmla="*/ 3034 w 1358737"/>
                <a:gd name="connsiteY8" fmla="*/ 82393 h 269762"/>
                <a:gd name="connsiteX9" fmla="*/ 3034 w 1358737"/>
                <a:gd name="connsiteY9" fmla="*/ 227865 h 269762"/>
                <a:gd name="connsiteX10" fmla="*/ 23815 w 1358737"/>
                <a:gd name="connsiteY10" fmla="*/ 262502 h 269762"/>
                <a:gd name="connsiteX11" fmla="*/ 238561 w 1358737"/>
                <a:gd name="connsiteY11" fmla="*/ 269429 h 269762"/>
                <a:gd name="connsiteX12" fmla="*/ 550288 w 1358737"/>
                <a:gd name="connsiteY12" fmla="*/ 269429 h 269762"/>
                <a:gd name="connsiteX13" fmla="*/ 432524 w 1358737"/>
                <a:gd name="connsiteY13" fmla="*/ 255575 h 269762"/>
                <a:gd name="connsiteX0" fmla="*/ 550288 w 1358737"/>
                <a:gd name="connsiteY0" fmla="*/ 269429 h 270294"/>
                <a:gd name="connsiteX1" fmla="*/ 1007488 w 1358737"/>
                <a:gd name="connsiteY1" fmla="*/ 262502 h 270294"/>
                <a:gd name="connsiteX2" fmla="*/ 1222234 w 1358737"/>
                <a:gd name="connsiteY2" fmla="*/ 214011 h 270294"/>
                <a:gd name="connsiteX3" fmla="*/ 1353852 w 1358737"/>
                <a:gd name="connsiteY3" fmla="*/ 54684 h 270294"/>
                <a:gd name="connsiteX4" fmla="*/ 1236088 w 1358737"/>
                <a:gd name="connsiteY4" fmla="*/ 33902 h 270294"/>
                <a:gd name="connsiteX5" fmla="*/ 425597 w 1358737"/>
                <a:gd name="connsiteY5" fmla="*/ 20047 h 270294"/>
                <a:gd name="connsiteX6" fmla="*/ 120797 w 1358737"/>
                <a:gd name="connsiteY6" fmla="*/ 6193 h 270294"/>
                <a:gd name="connsiteX7" fmla="*/ 23815 w 1358737"/>
                <a:gd name="connsiteY7" fmla="*/ 6193 h 270294"/>
                <a:gd name="connsiteX8" fmla="*/ 3034 w 1358737"/>
                <a:gd name="connsiteY8" fmla="*/ 82393 h 270294"/>
                <a:gd name="connsiteX9" fmla="*/ 3034 w 1358737"/>
                <a:gd name="connsiteY9" fmla="*/ 227865 h 270294"/>
                <a:gd name="connsiteX10" fmla="*/ 23815 w 1358737"/>
                <a:gd name="connsiteY10" fmla="*/ 262502 h 270294"/>
                <a:gd name="connsiteX11" fmla="*/ 238561 w 1358737"/>
                <a:gd name="connsiteY11" fmla="*/ 269429 h 270294"/>
                <a:gd name="connsiteX12" fmla="*/ 550288 w 1358737"/>
                <a:gd name="connsiteY12" fmla="*/ 269429 h 270294"/>
                <a:gd name="connsiteX0" fmla="*/ 550288 w 1358737"/>
                <a:gd name="connsiteY0" fmla="*/ 266015 h 266880"/>
                <a:gd name="connsiteX1" fmla="*/ 1007488 w 1358737"/>
                <a:gd name="connsiteY1" fmla="*/ 259088 h 266880"/>
                <a:gd name="connsiteX2" fmla="*/ 1222234 w 1358737"/>
                <a:gd name="connsiteY2" fmla="*/ 210597 h 266880"/>
                <a:gd name="connsiteX3" fmla="*/ 1353852 w 1358737"/>
                <a:gd name="connsiteY3" fmla="*/ 51270 h 266880"/>
                <a:gd name="connsiteX4" fmla="*/ 1236088 w 1358737"/>
                <a:gd name="connsiteY4" fmla="*/ 30488 h 266880"/>
                <a:gd name="connsiteX5" fmla="*/ 425597 w 1358737"/>
                <a:gd name="connsiteY5" fmla="*/ 16633 h 266880"/>
                <a:gd name="connsiteX6" fmla="*/ 134651 w 1358737"/>
                <a:gd name="connsiteY6" fmla="*/ 16634 h 266880"/>
                <a:gd name="connsiteX7" fmla="*/ 23815 w 1358737"/>
                <a:gd name="connsiteY7" fmla="*/ 2779 h 266880"/>
                <a:gd name="connsiteX8" fmla="*/ 3034 w 1358737"/>
                <a:gd name="connsiteY8" fmla="*/ 78979 h 266880"/>
                <a:gd name="connsiteX9" fmla="*/ 3034 w 1358737"/>
                <a:gd name="connsiteY9" fmla="*/ 224451 h 266880"/>
                <a:gd name="connsiteX10" fmla="*/ 23815 w 1358737"/>
                <a:gd name="connsiteY10" fmla="*/ 259088 h 266880"/>
                <a:gd name="connsiteX11" fmla="*/ 238561 w 1358737"/>
                <a:gd name="connsiteY11" fmla="*/ 266015 h 266880"/>
                <a:gd name="connsiteX12" fmla="*/ 550288 w 1358737"/>
                <a:gd name="connsiteY12" fmla="*/ 266015 h 266880"/>
                <a:gd name="connsiteX0" fmla="*/ 563217 w 1371666"/>
                <a:gd name="connsiteY0" fmla="*/ 266229 h 267094"/>
                <a:gd name="connsiteX1" fmla="*/ 1020417 w 1371666"/>
                <a:gd name="connsiteY1" fmla="*/ 259302 h 267094"/>
                <a:gd name="connsiteX2" fmla="*/ 1235163 w 1371666"/>
                <a:gd name="connsiteY2" fmla="*/ 210811 h 267094"/>
                <a:gd name="connsiteX3" fmla="*/ 1366781 w 1371666"/>
                <a:gd name="connsiteY3" fmla="*/ 51484 h 267094"/>
                <a:gd name="connsiteX4" fmla="*/ 1249017 w 1371666"/>
                <a:gd name="connsiteY4" fmla="*/ 30702 h 267094"/>
                <a:gd name="connsiteX5" fmla="*/ 438526 w 1371666"/>
                <a:gd name="connsiteY5" fmla="*/ 16847 h 267094"/>
                <a:gd name="connsiteX6" fmla="*/ 36744 w 1371666"/>
                <a:gd name="connsiteY6" fmla="*/ 2993 h 267094"/>
                <a:gd name="connsiteX7" fmla="*/ 15963 w 1371666"/>
                <a:gd name="connsiteY7" fmla="*/ 79193 h 267094"/>
                <a:gd name="connsiteX8" fmla="*/ 15963 w 1371666"/>
                <a:gd name="connsiteY8" fmla="*/ 224665 h 267094"/>
                <a:gd name="connsiteX9" fmla="*/ 36744 w 1371666"/>
                <a:gd name="connsiteY9" fmla="*/ 259302 h 267094"/>
                <a:gd name="connsiteX10" fmla="*/ 251490 w 1371666"/>
                <a:gd name="connsiteY10" fmla="*/ 266229 h 267094"/>
                <a:gd name="connsiteX11" fmla="*/ 563217 w 1371666"/>
                <a:gd name="connsiteY11" fmla="*/ 266229 h 267094"/>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79338 w 1387787"/>
                <a:gd name="connsiteY0" fmla="*/ 251602 h 252467"/>
                <a:gd name="connsiteX1" fmla="*/ 1036538 w 1387787"/>
                <a:gd name="connsiteY1" fmla="*/ 244675 h 252467"/>
                <a:gd name="connsiteX2" fmla="*/ 1251284 w 1387787"/>
                <a:gd name="connsiteY2" fmla="*/ 196184 h 252467"/>
                <a:gd name="connsiteX3" fmla="*/ 1382902 w 1387787"/>
                <a:gd name="connsiteY3" fmla="*/ 36857 h 252467"/>
                <a:gd name="connsiteX4" fmla="*/ 1265138 w 1387787"/>
                <a:gd name="connsiteY4" fmla="*/ 16075 h 252467"/>
                <a:gd name="connsiteX5" fmla="*/ 454647 w 1387787"/>
                <a:gd name="connsiteY5" fmla="*/ 2220 h 252467"/>
                <a:gd name="connsiteX6" fmla="*/ 32084 w 1387787"/>
                <a:gd name="connsiteY6" fmla="*/ 64566 h 252467"/>
                <a:gd name="connsiteX7" fmla="*/ 32084 w 1387787"/>
                <a:gd name="connsiteY7" fmla="*/ 210038 h 252467"/>
                <a:gd name="connsiteX8" fmla="*/ 52865 w 1387787"/>
                <a:gd name="connsiteY8" fmla="*/ 244675 h 252467"/>
                <a:gd name="connsiteX9" fmla="*/ 267611 w 1387787"/>
                <a:gd name="connsiteY9" fmla="*/ 251602 h 252467"/>
                <a:gd name="connsiteX10" fmla="*/ 579338 w 1387787"/>
                <a:gd name="connsiteY10" fmla="*/ 251602 h 252467"/>
                <a:gd name="connsiteX0" fmla="*/ 569062 w 1377511"/>
                <a:gd name="connsiteY0" fmla="*/ 265301 h 266166"/>
                <a:gd name="connsiteX1" fmla="*/ 1026262 w 1377511"/>
                <a:gd name="connsiteY1" fmla="*/ 258374 h 266166"/>
                <a:gd name="connsiteX2" fmla="*/ 1241008 w 1377511"/>
                <a:gd name="connsiteY2" fmla="*/ 209883 h 266166"/>
                <a:gd name="connsiteX3" fmla="*/ 1372626 w 1377511"/>
                <a:gd name="connsiteY3" fmla="*/ 50556 h 266166"/>
                <a:gd name="connsiteX4" fmla="*/ 1254862 w 1377511"/>
                <a:gd name="connsiteY4" fmla="*/ 29774 h 266166"/>
                <a:gd name="connsiteX5" fmla="*/ 444371 w 1377511"/>
                <a:gd name="connsiteY5" fmla="*/ 15919 h 266166"/>
                <a:gd name="connsiteX6" fmla="*/ 35662 w 1377511"/>
                <a:gd name="connsiteY6" fmla="*/ 15919 h 266166"/>
                <a:gd name="connsiteX7" fmla="*/ 21808 w 1377511"/>
                <a:gd name="connsiteY7" fmla="*/ 223737 h 266166"/>
                <a:gd name="connsiteX8" fmla="*/ 42589 w 1377511"/>
                <a:gd name="connsiteY8" fmla="*/ 258374 h 266166"/>
                <a:gd name="connsiteX9" fmla="*/ 257335 w 1377511"/>
                <a:gd name="connsiteY9" fmla="*/ 265301 h 266166"/>
                <a:gd name="connsiteX10" fmla="*/ 569062 w 1377511"/>
                <a:gd name="connsiteY10" fmla="*/ 265301 h 266166"/>
                <a:gd name="connsiteX0" fmla="*/ 551155 w 1359604"/>
                <a:gd name="connsiteY0" fmla="*/ 262227 h 263092"/>
                <a:gd name="connsiteX1" fmla="*/ 1008355 w 1359604"/>
                <a:gd name="connsiteY1" fmla="*/ 255300 h 263092"/>
                <a:gd name="connsiteX2" fmla="*/ 1223101 w 1359604"/>
                <a:gd name="connsiteY2" fmla="*/ 206809 h 263092"/>
                <a:gd name="connsiteX3" fmla="*/ 1354719 w 1359604"/>
                <a:gd name="connsiteY3" fmla="*/ 47482 h 263092"/>
                <a:gd name="connsiteX4" fmla="*/ 1236955 w 1359604"/>
                <a:gd name="connsiteY4" fmla="*/ 26700 h 263092"/>
                <a:gd name="connsiteX5" fmla="*/ 426464 w 1359604"/>
                <a:gd name="connsiteY5" fmla="*/ 12845 h 263092"/>
                <a:gd name="connsiteX6" fmla="*/ 17755 w 1359604"/>
                <a:gd name="connsiteY6" fmla="*/ 12845 h 263092"/>
                <a:gd name="connsiteX7" fmla="*/ 3901 w 1359604"/>
                <a:gd name="connsiteY7" fmla="*/ 220663 h 263092"/>
                <a:gd name="connsiteX8" fmla="*/ 24682 w 1359604"/>
                <a:gd name="connsiteY8" fmla="*/ 255300 h 263092"/>
                <a:gd name="connsiteX9" fmla="*/ 239428 w 1359604"/>
                <a:gd name="connsiteY9" fmla="*/ 262227 h 263092"/>
                <a:gd name="connsiteX10" fmla="*/ 551155 w 1359604"/>
                <a:gd name="connsiteY10" fmla="*/ 262227 h 263092"/>
                <a:gd name="connsiteX0" fmla="*/ 551155 w 1359604"/>
                <a:gd name="connsiteY0" fmla="*/ 252846 h 253711"/>
                <a:gd name="connsiteX1" fmla="*/ 1008355 w 1359604"/>
                <a:gd name="connsiteY1" fmla="*/ 245919 h 253711"/>
                <a:gd name="connsiteX2" fmla="*/ 1223101 w 1359604"/>
                <a:gd name="connsiteY2" fmla="*/ 197428 h 253711"/>
                <a:gd name="connsiteX3" fmla="*/ 1354719 w 1359604"/>
                <a:gd name="connsiteY3" fmla="*/ 38101 h 253711"/>
                <a:gd name="connsiteX4" fmla="*/ 1236955 w 1359604"/>
                <a:gd name="connsiteY4" fmla="*/ 17319 h 253711"/>
                <a:gd name="connsiteX5" fmla="*/ 426464 w 1359604"/>
                <a:gd name="connsiteY5" fmla="*/ 3464 h 253711"/>
                <a:gd name="connsiteX6" fmla="*/ 17755 w 1359604"/>
                <a:gd name="connsiteY6" fmla="*/ 17318 h 253711"/>
                <a:gd name="connsiteX7" fmla="*/ 3901 w 1359604"/>
                <a:gd name="connsiteY7" fmla="*/ 211282 h 253711"/>
                <a:gd name="connsiteX8" fmla="*/ 24682 w 1359604"/>
                <a:gd name="connsiteY8" fmla="*/ 245919 h 253711"/>
                <a:gd name="connsiteX9" fmla="*/ 239428 w 1359604"/>
                <a:gd name="connsiteY9" fmla="*/ 252846 h 253711"/>
                <a:gd name="connsiteX10" fmla="*/ 551155 w 1359604"/>
                <a:gd name="connsiteY10" fmla="*/ 252846 h 253711"/>
                <a:gd name="connsiteX0" fmla="*/ 562087 w 1370536"/>
                <a:gd name="connsiteY0" fmla="*/ 252846 h 253711"/>
                <a:gd name="connsiteX1" fmla="*/ 1019287 w 1370536"/>
                <a:gd name="connsiteY1" fmla="*/ 245919 h 253711"/>
                <a:gd name="connsiteX2" fmla="*/ 1234033 w 1370536"/>
                <a:gd name="connsiteY2" fmla="*/ 197428 h 253711"/>
                <a:gd name="connsiteX3" fmla="*/ 1365651 w 1370536"/>
                <a:gd name="connsiteY3" fmla="*/ 38101 h 253711"/>
                <a:gd name="connsiteX4" fmla="*/ 1247887 w 1370536"/>
                <a:gd name="connsiteY4" fmla="*/ 17319 h 253711"/>
                <a:gd name="connsiteX5" fmla="*/ 437396 w 1370536"/>
                <a:gd name="connsiteY5" fmla="*/ 3464 h 253711"/>
                <a:gd name="connsiteX6" fmla="*/ 28687 w 1370536"/>
                <a:gd name="connsiteY6" fmla="*/ 17318 h 253711"/>
                <a:gd name="connsiteX7" fmla="*/ 14833 w 1370536"/>
                <a:gd name="connsiteY7" fmla="*/ 211282 h 253711"/>
                <a:gd name="connsiteX8" fmla="*/ 250360 w 1370536"/>
                <a:gd name="connsiteY8" fmla="*/ 252846 h 253711"/>
                <a:gd name="connsiteX9" fmla="*/ 562087 w 1370536"/>
                <a:gd name="connsiteY9" fmla="*/ 252846 h 25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0536" h="253711">
                  <a:moveTo>
                    <a:pt x="562087" y="252846"/>
                  </a:moveTo>
                  <a:lnTo>
                    <a:pt x="1019287" y="245919"/>
                  </a:lnTo>
                  <a:cubicBezTo>
                    <a:pt x="1131278" y="236683"/>
                    <a:pt x="1176306" y="232064"/>
                    <a:pt x="1234033" y="197428"/>
                  </a:cubicBezTo>
                  <a:cubicBezTo>
                    <a:pt x="1291760" y="162792"/>
                    <a:pt x="1363342" y="68119"/>
                    <a:pt x="1365651" y="38101"/>
                  </a:cubicBezTo>
                  <a:cubicBezTo>
                    <a:pt x="1367960" y="8083"/>
                    <a:pt x="1402596" y="23092"/>
                    <a:pt x="1247887" y="17319"/>
                  </a:cubicBezTo>
                  <a:cubicBezTo>
                    <a:pt x="1093178" y="11546"/>
                    <a:pt x="640596" y="3464"/>
                    <a:pt x="437396" y="3464"/>
                  </a:cubicBezTo>
                  <a:cubicBezTo>
                    <a:pt x="234196" y="3464"/>
                    <a:pt x="36768" y="-10391"/>
                    <a:pt x="28687" y="17318"/>
                  </a:cubicBezTo>
                  <a:cubicBezTo>
                    <a:pt x="20606" y="45027"/>
                    <a:pt x="-22113" y="172027"/>
                    <a:pt x="14833" y="211282"/>
                  </a:cubicBezTo>
                  <a:cubicBezTo>
                    <a:pt x="51779" y="250537"/>
                    <a:pt x="159151" y="245919"/>
                    <a:pt x="250360" y="252846"/>
                  </a:cubicBezTo>
                  <a:cubicBezTo>
                    <a:pt x="338105" y="254000"/>
                    <a:pt x="433933" y="254000"/>
                    <a:pt x="562087" y="252846"/>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Freeform: Shape 94"/>
            <p:cNvSpPr/>
            <p:nvPr/>
          </p:nvSpPr>
          <p:spPr bwMode="auto">
            <a:xfrm>
              <a:off x="2484091" y="3233973"/>
              <a:ext cx="140448" cy="203413"/>
            </a:xfrm>
            <a:custGeom>
              <a:avLst/>
              <a:gdLst>
                <a:gd name="connsiteX0" fmla="*/ 180109 w 423088"/>
                <a:gd name="connsiteY0" fmla="*/ 595745 h 595745"/>
                <a:gd name="connsiteX1" fmla="*/ 381000 w 423088"/>
                <a:gd name="connsiteY1" fmla="*/ 533400 h 595745"/>
                <a:gd name="connsiteX2" fmla="*/ 422563 w 423088"/>
                <a:gd name="connsiteY2" fmla="*/ 311727 h 595745"/>
                <a:gd name="connsiteX3" fmla="*/ 394854 w 423088"/>
                <a:gd name="connsiteY3" fmla="*/ 110836 h 595745"/>
                <a:gd name="connsiteX4" fmla="*/ 270163 w 423088"/>
                <a:gd name="connsiteY4" fmla="*/ 27709 h 595745"/>
                <a:gd name="connsiteX5" fmla="*/ 96981 w 423088"/>
                <a:gd name="connsiteY5" fmla="*/ 6927 h 595745"/>
                <a:gd name="connsiteX6" fmla="*/ 0 w 423088"/>
                <a:gd name="connsiteY6" fmla="*/ 0 h 595745"/>
                <a:gd name="connsiteX0" fmla="*/ 173182 w 416161"/>
                <a:gd name="connsiteY0" fmla="*/ 588878 h 588878"/>
                <a:gd name="connsiteX1" fmla="*/ 374073 w 416161"/>
                <a:gd name="connsiteY1" fmla="*/ 526533 h 588878"/>
                <a:gd name="connsiteX2" fmla="*/ 415636 w 416161"/>
                <a:gd name="connsiteY2" fmla="*/ 304860 h 588878"/>
                <a:gd name="connsiteX3" fmla="*/ 387927 w 416161"/>
                <a:gd name="connsiteY3" fmla="*/ 103969 h 588878"/>
                <a:gd name="connsiteX4" fmla="*/ 263236 w 416161"/>
                <a:gd name="connsiteY4" fmla="*/ 20842 h 588878"/>
                <a:gd name="connsiteX5" fmla="*/ 90054 w 416161"/>
                <a:gd name="connsiteY5" fmla="*/ 60 h 588878"/>
                <a:gd name="connsiteX6" fmla="*/ 0 w 416161"/>
                <a:gd name="connsiteY6" fmla="*/ 13915 h 588878"/>
                <a:gd name="connsiteX0" fmla="*/ 173182 w 416161"/>
                <a:gd name="connsiteY0" fmla="*/ 602732 h 602732"/>
                <a:gd name="connsiteX1" fmla="*/ 374073 w 416161"/>
                <a:gd name="connsiteY1" fmla="*/ 526533 h 602732"/>
                <a:gd name="connsiteX2" fmla="*/ 415636 w 416161"/>
                <a:gd name="connsiteY2" fmla="*/ 304860 h 602732"/>
                <a:gd name="connsiteX3" fmla="*/ 387927 w 416161"/>
                <a:gd name="connsiteY3" fmla="*/ 103969 h 602732"/>
                <a:gd name="connsiteX4" fmla="*/ 263236 w 416161"/>
                <a:gd name="connsiteY4" fmla="*/ 20842 h 602732"/>
                <a:gd name="connsiteX5" fmla="*/ 90054 w 416161"/>
                <a:gd name="connsiteY5" fmla="*/ 60 h 602732"/>
                <a:gd name="connsiteX6" fmla="*/ 0 w 416161"/>
                <a:gd name="connsiteY6" fmla="*/ 13915 h 60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161" h="602732">
                  <a:moveTo>
                    <a:pt x="173182" y="602732"/>
                  </a:moveTo>
                  <a:cubicBezTo>
                    <a:pt x="253423" y="595227"/>
                    <a:pt x="333664" y="576178"/>
                    <a:pt x="374073" y="526533"/>
                  </a:cubicBezTo>
                  <a:cubicBezTo>
                    <a:pt x="414482" y="476888"/>
                    <a:pt x="413327" y="375287"/>
                    <a:pt x="415636" y="304860"/>
                  </a:cubicBezTo>
                  <a:cubicBezTo>
                    <a:pt x="417945" y="234433"/>
                    <a:pt x="413327" y="151305"/>
                    <a:pt x="387927" y="103969"/>
                  </a:cubicBezTo>
                  <a:cubicBezTo>
                    <a:pt x="362527" y="56633"/>
                    <a:pt x="312881" y="38160"/>
                    <a:pt x="263236" y="20842"/>
                  </a:cubicBezTo>
                  <a:cubicBezTo>
                    <a:pt x="213591" y="3524"/>
                    <a:pt x="133927" y="1214"/>
                    <a:pt x="90054" y="60"/>
                  </a:cubicBezTo>
                  <a:cubicBezTo>
                    <a:pt x="46181" y="-1094"/>
                    <a:pt x="25977" y="15069"/>
                    <a:pt x="0" y="13915"/>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p:cNvSpPr/>
            <p:nvPr/>
          </p:nvSpPr>
          <p:spPr bwMode="auto">
            <a:xfrm>
              <a:off x="2612673" y="3414008"/>
              <a:ext cx="395098" cy="16365"/>
            </a:xfrm>
            <a:custGeom>
              <a:avLst/>
              <a:gdLst>
                <a:gd name="connsiteX0" fmla="*/ 0 w 1170709"/>
                <a:gd name="connsiteY0" fmla="*/ 0 h 48491"/>
                <a:gd name="connsiteX1" fmla="*/ 124691 w 1170709"/>
                <a:gd name="connsiteY1" fmla="*/ 34636 h 48491"/>
                <a:gd name="connsiteX2" fmla="*/ 720436 w 1170709"/>
                <a:gd name="connsiteY2" fmla="*/ 48491 h 48491"/>
                <a:gd name="connsiteX3" fmla="*/ 1170709 w 1170709"/>
                <a:gd name="connsiteY3" fmla="*/ 41564 h 48491"/>
              </a:gdLst>
              <a:ahLst/>
              <a:cxnLst>
                <a:cxn ang="0">
                  <a:pos x="connsiteX0" y="connsiteY0"/>
                </a:cxn>
                <a:cxn ang="0">
                  <a:pos x="connsiteX1" y="connsiteY1"/>
                </a:cxn>
                <a:cxn ang="0">
                  <a:pos x="connsiteX2" y="connsiteY2"/>
                </a:cxn>
                <a:cxn ang="0">
                  <a:pos x="connsiteX3" y="connsiteY3"/>
                </a:cxn>
              </a:cxnLst>
              <a:rect l="l" t="t" r="r" b="b"/>
              <a:pathLst>
                <a:path w="1170709" h="48491">
                  <a:moveTo>
                    <a:pt x="0" y="0"/>
                  </a:moveTo>
                  <a:cubicBezTo>
                    <a:pt x="2309" y="13277"/>
                    <a:pt x="4618" y="26554"/>
                    <a:pt x="124691" y="34636"/>
                  </a:cubicBezTo>
                  <a:cubicBezTo>
                    <a:pt x="244764" y="42718"/>
                    <a:pt x="720436" y="48491"/>
                    <a:pt x="720436" y="48491"/>
                  </a:cubicBezTo>
                  <a:lnTo>
                    <a:pt x="1170709" y="41564"/>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p:cNvSpPr/>
            <p:nvPr/>
          </p:nvSpPr>
          <p:spPr bwMode="auto">
            <a:xfrm>
              <a:off x="2839444" y="2682193"/>
              <a:ext cx="175396" cy="214346"/>
            </a:xfrm>
            <a:custGeom>
              <a:avLst/>
              <a:gdLst>
                <a:gd name="connsiteX0" fmla="*/ 0 w 575417"/>
                <a:gd name="connsiteY0" fmla="*/ 590177 h 642563"/>
                <a:gd name="connsiteX1" fmla="*/ 76200 w 575417"/>
                <a:gd name="connsiteY1" fmla="*/ 638667 h 642563"/>
                <a:gd name="connsiteX2" fmla="*/ 214746 w 575417"/>
                <a:gd name="connsiteY2" fmla="*/ 631740 h 642563"/>
                <a:gd name="connsiteX3" fmla="*/ 387928 w 575417"/>
                <a:gd name="connsiteY3" fmla="*/ 569395 h 642563"/>
                <a:gd name="connsiteX4" fmla="*/ 540328 w 575417"/>
                <a:gd name="connsiteY4" fmla="*/ 403140 h 642563"/>
                <a:gd name="connsiteX5" fmla="*/ 574964 w 575417"/>
                <a:gd name="connsiteY5" fmla="*/ 202249 h 642563"/>
                <a:gd name="connsiteX6" fmla="*/ 526473 w 575417"/>
                <a:gd name="connsiteY6" fmla="*/ 42922 h 642563"/>
                <a:gd name="connsiteX7" fmla="*/ 367146 w 575417"/>
                <a:gd name="connsiteY7" fmla="*/ 8286 h 642563"/>
                <a:gd name="connsiteX8" fmla="*/ 242455 w 575417"/>
                <a:gd name="connsiteY8" fmla="*/ 1358 h 642563"/>
                <a:gd name="connsiteX9" fmla="*/ 152400 w 575417"/>
                <a:gd name="connsiteY9" fmla="*/ 29067 h 642563"/>
                <a:gd name="connsiteX0" fmla="*/ 0 w 595904"/>
                <a:gd name="connsiteY0" fmla="*/ 590177 h 642563"/>
                <a:gd name="connsiteX1" fmla="*/ 76200 w 595904"/>
                <a:gd name="connsiteY1" fmla="*/ 638667 h 642563"/>
                <a:gd name="connsiteX2" fmla="*/ 214746 w 595904"/>
                <a:gd name="connsiteY2" fmla="*/ 631740 h 642563"/>
                <a:gd name="connsiteX3" fmla="*/ 387928 w 595904"/>
                <a:gd name="connsiteY3" fmla="*/ 569395 h 642563"/>
                <a:gd name="connsiteX4" fmla="*/ 540328 w 595904"/>
                <a:gd name="connsiteY4" fmla="*/ 403140 h 642563"/>
                <a:gd name="connsiteX5" fmla="*/ 595746 w 595904"/>
                <a:gd name="connsiteY5" fmla="*/ 202249 h 642563"/>
                <a:gd name="connsiteX6" fmla="*/ 526473 w 595904"/>
                <a:gd name="connsiteY6" fmla="*/ 42922 h 642563"/>
                <a:gd name="connsiteX7" fmla="*/ 367146 w 595904"/>
                <a:gd name="connsiteY7" fmla="*/ 8286 h 642563"/>
                <a:gd name="connsiteX8" fmla="*/ 242455 w 595904"/>
                <a:gd name="connsiteY8" fmla="*/ 1358 h 642563"/>
                <a:gd name="connsiteX9" fmla="*/ 152400 w 595904"/>
                <a:gd name="connsiteY9" fmla="*/ 29067 h 642563"/>
                <a:gd name="connsiteX0" fmla="*/ 0 w 595912"/>
                <a:gd name="connsiteY0" fmla="*/ 590177 h 643217"/>
                <a:gd name="connsiteX1" fmla="*/ 76200 w 595912"/>
                <a:gd name="connsiteY1" fmla="*/ 638667 h 643217"/>
                <a:gd name="connsiteX2" fmla="*/ 214746 w 595912"/>
                <a:gd name="connsiteY2" fmla="*/ 631740 h 643217"/>
                <a:gd name="connsiteX3" fmla="*/ 381001 w 595912"/>
                <a:gd name="connsiteY3" fmla="*/ 555541 h 643217"/>
                <a:gd name="connsiteX4" fmla="*/ 540328 w 595912"/>
                <a:gd name="connsiteY4" fmla="*/ 403140 h 643217"/>
                <a:gd name="connsiteX5" fmla="*/ 595746 w 595912"/>
                <a:gd name="connsiteY5" fmla="*/ 202249 h 643217"/>
                <a:gd name="connsiteX6" fmla="*/ 526473 w 595912"/>
                <a:gd name="connsiteY6" fmla="*/ 42922 h 643217"/>
                <a:gd name="connsiteX7" fmla="*/ 367146 w 595912"/>
                <a:gd name="connsiteY7" fmla="*/ 8286 h 643217"/>
                <a:gd name="connsiteX8" fmla="*/ 242455 w 595912"/>
                <a:gd name="connsiteY8" fmla="*/ 1358 h 643217"/>
                <a:gd name="connsiteX9" fmla="*/ 152400 w 595912"/>
                <a:gd name="connsiteY9" fmla="*/ 29067 h 643217"/>
                <a:gd name="connsiteX0" fmla="*/ 0 w 595912"/>
                <a:gd name="connsiteY0" fmla="*/ 582088 h 635128"/>
                <a:gd name="connsiteX1" fmla="*/ 76200 w 595912"/>
                <a:gd name="connsiteY1" fmla="*/ 630578 h 635128"/>
                <a:gd name="connsiteX2" fmla="*/ 214746 w 595912"/>
                <a:gd name="connsiteY2" fmla="*/ 623651 h 635128"/>
                <a:gd name="connsiteX3" fmla="*/ 381001 w 595912"/>
                <a:gd name="connsiteY3" fmla="*/ 547452 h 635128"/>
                <a:gd name="connsiteX4" fmla="*/ 540328 w 595912"/>
                <a:gd name="connsiteY4" fmla="*/ 395051 h 635128"/>
                <a:gd name="connsiteX5" fmla="*/ 595746 w 595912"/>
                <a:gd name="connsiteY5" fmla="*/ 194160 h 635128"/>
                <a:gd name="connsiteX6" fmla="*/ 526473 w 595912"/>
                <a:gd name="connsiteY6" fmla="*/ 34833 h 635128"/>
                <a:gd name="connsiteX7" fmla="*/ 367146 w 595912"/>
                <a:gd name="connsiteY7" fmla="*/ 197 h 635128"/>
                <a:gd name="connsiteX8" fmla="*/ 152400 w 595912"/>
                <a:gd name="connsiteY8" fmla="*/ 20978 h 635128"/>
                <a:gd name="connsiteX0" fmla="*/ 2 w 519714"/>
                <a:gd name="connsiteY0" fmla="*/ 630578 h 635128"/>
                <a:gd name="connsiteX1" fmla="*/ 138548 w 519714"/>
                <a:gd name="connsiteY1" fmla="*/ 623651 h 635128"/>
                <a:gd name="connsiteX2" fmla="*/ 304803 w 519714"/>
                <a:gd name="connsiteY2" fmla="*/ 547452 h 635128"/>
                <a:gd name="connsiteX3" fmla="*/ 464130 w 519714"/>
                <a:gd name="connsiteY3" fmla="*/ 395051 h 635128"/>
                <a:gd name="connsiteX4" fmla="*/ 519548 w 519714"/>
                <a:gd name="connsiteY4" fmla="*/ 194160 h 635128"/>
                <a:gd name="connsiteX5" fmla="*/ 450275 w 519714"/>
                <a:gd name="connsiteY5" fmla="*/ 34833 h 635128"/>
                <a:gd name="connsiteX6" fmla="*/ 290948 w 519714"/>
                <a:gd name="connsiteY6" fmla="*/ 197 h 635128"/>
                <a:gd name="connsiteX7" fmla="*/ 76202 w 519714"/>
                <a:gd name="connsiteY7" fmla="*/ 20978 h 635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714" h="635128">
                  <a:moveTo>
                    <a:pt x="2" y="630578"/>
                  </a:moveTo>
                  <a:cubicBezTo>
                    <a:pt x="35793" y="637505"/>
                    <a:pt x="87748" y="637505"/>
                    <a:pt x="138548" y="623651"/>
                  </a:cubicBezTo>
                  <a:cubicBezTo>
                    <a:pt x="189348" y="609797"/>
                    <a:pt x="250539" y="585552"/>
                    <a:pt x="304803" y="547452"/>
                  </a:cubicBezTo>
                  <a:cubicBezTo>
                    <a:pt x="359067" y="509352"/>
                    <a:pt x="428339" y="453933"/>
                    <a:pt x="464130" y="395051"/>
                  </a:cubicBezTo>
                  <a:cubicBezTo>
                    <a:pt x="499921" y="336169"/>
                    <a:pt x="521857" y="254196"/>
                    <a:pt x="519548" y="194160"/>
                  </a:cubicBezTo>
                  <a:cubicBezTo>
                    <a:pt x="517239" y="134124"/>
                    <a:pt x="488375" y="67160"/>
                    <a:pt x="450275" y="34833"/>
                  </a:cubicBezTo>
                  <a:cubicBezTo>
                    <a:pt x="412175" y="2506"/>
                    <a:pt x="353293" y="2506"/>
                    <a:pt x="290948" y="197"/>
                  </a:cubicBezTo>
                  <a:cubicBezTo>
                    <a:pt x="228603" y="-2112"/>
                    <a:pt x="120941" y="16649"/>
                    <a:pt x="76202" y="2097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p:cNvSpPr/>
            <p:nvPr/>
          </p:nvSpPr>
          <p:spPr bwMode="auto">
            <a:xfrm>
              <a:off x="2622973" y="2674633"/>
              <a:ext cx="249201" cy="250776"/>
            </a:xfrm>
            <a:custGeom>
              <a:avLst/>
              <a:gdLst>
                <a:gd name="connsiteX0" fmla="*/ 186170 w 727232"/>
                <a:gd name="connsiteY0" fmla="*/ 638603 h 742549"/>
                <a:gd name="connsiteX1" fmla="*/ 303934 w 727232"/>
                <a:gd name="connsiteY1" fmla="*/ 700948 h 742549"/>
                <a:gd name="connsiteX2" fmla="*/ 373206 w 727232"/>
                <a:gd name="connsiteY2" fmla="*/ 742512 h 742549"/>
                <a:gd name="connsiteX3" fmla="*/ 518679 w 727232"/>
                <a:gd name="connsiteY3" fmla="*/ 694021 h 742549"/>
                <a:gd name="connsiteX4" fmla="*/ 622588 w 727232"/>
                <a:gd name="connsiteY4" fmla="*/ 410003 h 742549"/>
                <a:gd name="connsiteX5" fmla="*/ 726497 w 727232"/>
                <a:gd name="connsiteY5" fmla="*/ 105203 h 742549"/>
                <a:gd name="connsiteX6" fmla="*/ 650297 w 727232"/>
                <a:gd name="connsiteY6" fmla="*/ 1294 h 742549"/>
                <a:gd name="connsiteX7" fmla="*/ 338570 w 727232"/>
                <a:gd name="connsiteY7" fmla="*/ 49785 h 742549"/>
                <a:gd name="connsiteX8" fmla="*/ 165388 w 727232"/>
                <a:gd name="connsiteY8" fmla="*/ 91348 h 742549"/>
                <a:gd name="connsiteX9" fmla="*/ 54552 w 727232"/>
                <a:gd name="connsiteY9" fmla="*/ 250676 h 742549"/>
                <a:gd name="connsiteX10" fmla="*/ 6061 w 727232"/>
                <a:gd name="connsiteY10" fmla="*/ 534694 h 742549"/>
                <a:gd name="connsiteX11" fmla="*/ 6061 w 727232"/>
                <a:gd name="connsiteY11" fmla="*/ 645530 h 742549"/>
                <a:gd name="connsiteX12" fmla="*/ 54552 w 727232"/>
                <a:gd name="connsiteY12" fmla="*/ 666312 h 742549"/>
                <a:gd name="connsiteX13" fmla="*/ 186170 w 727232"/>
                <a:gd name="connsiteY13" fmla="*/ 638603 h 742549"/>
                <a:gd name="connsiteX0" fmla="*/ 186170 w 726497"/>
                <a:gd name="connsiteY0" fmla="*/ 638603 h 742549"/>
                <a:gd name="connsiteX1" fmla="*/ 303934 w 726497"/>
                <a:gd name="connsiteY1" fmla="*/ 700948 h 742549"/>
                <a:gd name="connsiteX2" fmla="*/ 373206 w 726497"/>
                <a:gd name="connsiteY2" fmla="*/ 742512 h 742549"/>
                <a:gd name="connsiteX3" fmla="*/ 518679 w 726497"/>
                <a:gd name="connsiteY3" fmla="*/ 694021 h 742549"/>
                <a:gd name="connsiteX4" fmla="*/ 650297 w 726497"/>
                <a:gd name="connsiteY4" fmla="*/ 410003 h 742549"/>
                <a:gd name="connsiteX5" fmla="*/ 726497 w 726497"/>
                <a:gd name="connsiteY5" fmla="*/ 105203 h 742549"/>
                <a:gd name="connsiteX6" fmla="*/ 650297 w 726497"/>
                <a:gd name="connsiteY6" fmla="*/ 1294 h 742549"/>
                <a:gd name="connsiteX7" fmla="*/ 338570 w 726497"/>
                <a:gd name="connsiteY7" fmla="*/ 49785 h 742549"/>
                <a:gd name="connsiteX8" fmla="*/ 165388 w 726497"/>
                <a:gd name="connsiteY8" fmla="*/ 91348 h 742549"/>
                <a:gd name="connsiteX9" fmla="*/ 54552 w 726497"/>
                <a:gd name="connsiteY9" fmla="*/ 250676 h 742549"/>
                <a:gd name="connsiteX10" fmla="*/ 6061 w 726497"/>
                <a:gd name="connsiteY10" fmla="*/ 534694 h 742549"/>
                <a:gd name="connsiteX11" fmla="*/ 6061 w 726497"/>
                <a:gd name="connsiteY11" fmla="*/ 645530 h 742549"/>
                <a:gd name="connsiteX12" fmla="*/ 54552 w 726497"/>
                <a:gd name="connsiteY12" fmla="*/ 666312 h 742549"/>
                <a:gd name="connsiteX13" fmla="*/ 186170 w 726497"/>
                <a:gd name="connsiteY13" fmla="*/ 638603 h 742549"/>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64791 w 736736"/>
                <a:gd name="connsiteY12" fmla="*/ 666833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92500 w 736736"/>
                <a:gd name="connsiteY12" fmla="*/ 659906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196409 w 736736"/>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405" h="743070">
                  <a:moveTo>
                    <a:pt x="198078" y="639124"/>
                  </a:moveTo>
                  <a:cubicBezTo>
                    <a:pt x="248878" y="649515"/>
                    <a:pt x="284669" y="684151"/>
                    <a:pt x="315842" y="701469"/>
                  </a:cubicBezTo>
                  <a:cubicBezTo>
                    <a:pt x="347015" y="718787"/>
                    <a:pt x="349323" y="744187"/>
                    <a:pt x="385114" y="743033"/>
                  </a:cubicBezTo>
                  <a:cubicBezTo>
                    <a:pt x="420905" y="741879"/>
                    <a:pt x="484405" y="749960"/>
                    <a:pt x="530587" y="694542"/>
                  </a:cubicBezTo>
                  <a:cubicBezTo>
                    <a:pt x="576769" y="639124"/>
                    <a:pt x="627569" y="508660"/>
                    <a:pt x="662205" y="410524"/>
                  </a:cubicBezTo>
                  <a:cubicBezTo>
                    <a:pt x="696841" y="312388"/>
                    <a:pt x="738405" y="173842"/>
                    <a:pt x="738405" y="105724"/>
                  </a:cubicBezTo>
                  <a:cubicBezTo>
                    <a:pt x="738405" y="37606"/>
                    <a:pt x="726860" y="12206"/>
                    <a:pt x="662205" y="1815"/>
                  </a:cubicBezTo>
                  <a:cubicBezTo>
                    <a:pt x="597550" y="-8576"/>
                    <a:pt x="431296" y="28370"/>
                    <a:pt x="350478" y="43379"/>
                  </a:cubicBezTo>
                  <a:cubicBezTo>
                    <a:pt x="269660" y="58388"/>
                    <a:pt x="224632" y="57233"/>
                    <a:pt x="177296" y="91869"/>
                  </a:cubicBezTo>
                  <a:cubicBezTo>
                    <a:pt x="129960" y="126505"/>
                    <a:pt x="95323" y="180770"/>
                    <a:pt x="66460" y="251197"/>
                  </a:cubicBezTo>
                  <a:cubicBezTo>
                    <a:pt x="37597" y="321624"/>
                    <a:pt x="13352" y="449779"/>
                    <a:pt x="4115" y="514433"/>
                  </a:cubicBezTo>
                  <a:cubicBezTo>
                    <a:pt x="-5122" y="579087"/>
                    <a:pt x="2959" y="617187"/>
                    <a:pt x="11041" y="639123"/>
                  </a:cubicBezTo>
                  <a:cubicBezTo>
                    <a:pt x="43368" y="659905"/>
                    <a:pt x="147278" y="628733"/>
                    <a:pt x="198078" y="63912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Freeform: Shape 98"/>
            <p:cNvSpPr/>
            <p:nvPr/>
          </p:nvSpPr>
          <p:spPr bwMode="auto">
            <a:xfrm>
              <a:off x="2689151" y="2705638"/>
              <a:ext cx="183024" cy="194042"/>
            </a:xfrm>
            <a:custGeom>
              <a:avLst/>
              <a:gdLst>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34637 h 574964"/>
                <a:gd name="connsiteX6" fmla="*/ 542316 w 542316"/>
                <a:gd name="connsiteY6" fmla="*/ 0 h 574964"/>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 name="connsiteX0" fmla="*/ 292935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316" h="574964">
                  <a:moveTo>
                    <a:pt x="292935" y="574964"/>
                  </a:moveTo>
                  <a:cubicBezTo>
                    <a:pt x="212117" y="559378"/>
                    <a:pt x="119753" y="543792"/>
                    <a:pt x="71262" y="540328"/>
                  </a:cubicBezTo>
                  <a:cubicBezTo>
                    <a:pt x="22771" y="536864"/>
                    <a:pt x="10071" y="596900"/>
                    <a:pt x="1989" y="554182"/>
                  </a:cubicBezTo>
                  <a:cubicBezTo>
                    <a:pt x="-6093" y="511464"/>
                    <a:pt x="12380" y="360219"/>
                    <a:pt x="22771" y="284019"/>
                  </a:cubicBezTo>
                  <a:cubicBezTo>
                    <a:pt x="33162" y="207819"/>
                    <a:pt x="15843" y="140854"/>
                    <a:pt x="64334" y="96982"/>
                  </a:cubicBezTo>
                  <a:cubicBezTo>
                    <a:pt x="112825" y="53110"/>
                    <a:pt x="234052" y="36947"/>
                    <a:pt x="313716" y="20783"/>
                  </a:cubicBezTo>
                  <a:cubicBezTo>
                    <a:pt x="393380" y="4619"/>
                    <a:pt x="467848" y="9236"/>
                    <a:pt x="542316"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p:cNvSpPr/>
            <p:nvPr/>
          </p:nvSpPr>
          <p:spPr bwMode="auto">
            <a:xfrm>
              <a:off x="2418630" y="3023586"/>
              <a:ext cx="579789" cy="18703"/>
            </a:xfrm>
            <a:custGeom>
              <a:avLst/>
              <a:gdLst>
                <a:gd name="connsiteX0" fmla="*/ 0 w 1717964"/>
                <a:gd name="connsiteY0" fmla="*/ 0 h 55419"/>
                <a:gd name="connsiteX1" fmla="*/ 1717964 w 1717964"/>
                <a:gd name="connsiteY1" fmla="*/ 55419 h 55419"/>
              </a:gdLst>
              <a:ahLst/>
              <a:cxnLst>
                <a:cxn ang="0">
                  <a:pos x="connsiteX0" y="connsiteY0"/>
                </a:cxn>
                <a:cxn ang="0">
                  <a:pos x="connsiteX1" y="connsiteY1"/>
                </a:cxn>
              </a:cxnLst>
              <a:rect l="l" t="t" r="r" b="b"/>
              <a:pathLst>
                <a:path w="1717964" h="55419">
                  <a:moveTo>
                    <a:pt x="0" y="0"/>
                  </a:moveTo>
                  <a:lnTo>
                    <a:pt x="1717964" y="55419"/>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p:cNvSpPr/>
            <p:nvPr/>
          </p:nvSpPr>
          <p:spPr bwMode="auto">
            <a:xfrm>
              <a:off x="2486428" y="2668232"/>
              <a:ext cx="96525" cy="294591"/>
            </a:xfrm>
            <a:custGeom>
              <a:avLst/>
              <a:gdLst>
                <a:gd name="connsiteX0" fmla="*/ 0 w 286013"/>
                <a:gd name="connsiteY0" fmla="*/ 755073 h 872900"/>
                <a:gd name="connsiteX1" fmla="*/ 131618 w 286013"/>
                <a:gd name="connsiteY1" fmla="*/ 872836 h 872900"/>
                <a:gd name="connsiteX2" fmla="*/ 235527 w 286013"/>
                <a:gd name="connsiteY2" fmla="*/ 741218 h 872900"/>
                <a:gd name="connsiteX3" fmla="*/ 270164 w 286013"/>
                <a:gd name="connsiteY3" fmla="*/ 277091 h 872900"/>
                <a:gd name="connsiteX4" fmla="*/ 284018 w 286013"/>
                <a:gd name="connsiteY4" fmla="*/ 117764 h 872900"/>
                <a:gd name="connsiteX5" fmla="*/ 228600 w 286013"/>
                <a:gd name="connsiteY5" fmla="*/ 41564 h 872900"/>
                <a:gd name="connsiteX6" fmla="*/ 166255 w 286013"/>
                <a:gd name="connsiteY6" fmla="*/ 0 h 87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013" h="872900">
                  <a:moveTo>
                    <a:pt x="0" y="755073"/>
                  </a:moveTo>
                  <a:cubicBezTo>
                    <a:pt x="46181" y="815109"/>
                    <a:pt x="92363" y="875145"/>
                    <a:pt x="131618" y="872836"/>
                  </a:cubicBezTo>
                  <a:cubicBezTo>
                    <a:pt x="170873" y="870527"/>
                    <a:pt x="212436" y="840509"/>
                    <a:pt x="235527" y="741218"/>
                  </a:cubicBezTo>
                  <a:cubicBezTo>
                    <a:pt x="258618" y="641927"/>
                    <a:pt x="262082" y="381000"/>
                    <a:pt x="270164" y="277091"/>
                  </a:cubicBezTo>
                  <a:cubicBezTo>
                    <a:pt x="278246" y="173182"/>
                    <a:pt x="290945" y="157018"/>
                    <a:pt x="284018" y="117764"/>
                  </a:cubicBezTo>
                  <a:cubicBezTo>
                    <a:pt x="277091" y="78510"/>
                    <a:pt x="248227" y="61191"/>
                    <a:pt x="228600" y="41564"/>
                  </a:cubicBezTo>
                  <a:cubicBezTo>
                    <a:pt x="208973" y="21937"/>
                    <a:pt x="187614" y="10968"/>
                    <a:pt x="166255" y="0"/>
                  </a:cubicBezTo>
                </a:path>
              </a:pathLst>
            </a:custGeom>
            <a:noFill/>
            <a:ln w="19050"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p:cNvSpPr/>
            <p:nvPr/>
          </p:nvSpPr>
          <p:spPr bwMode="auto">
            <a:xfrm>
              <a:off x="2542537" y="3241007"/>
              <a:ext cx="39743" cy="184690"/>
            </a:xfrm>
            <a:custGeom>
              <a:avLst/>
              <a:gdLst>
                <a:gd name="connsiteX0" fmla="*/ 0 w 117763"/>
                <a:gd name="connsiteY0" fmla="*/ 0 h 547254"/>
                <a:gd name="connsiteX1" fmla="*/ 117763 w 117763"/>
                <a:gd name="connsiteY1" fmla="*/ 547254 h 547254"/>
              </a:gdLst>
              <a:ahLst/>
              <a:cxnLst>
                <a:cxn ang="0">
                  <a:pos x="connsiteX0" y="connsiteY0"/>
                </a:cxn>
                <a:cxn ang="0">
                  <a:pos x="connsiteX1" y="connsiteY1"/>
                </a:cxn>
              </a:cxnLst>
              <a:rect l="l" t="t" r="r" b="b"/>
              <a:pathLst>
                <a:path w="117763" h="547254">
                  <a:moveTo>
                    <a:pt x="0" y="0"/>
                  </a:moveTo>
                  <a:lnTo>
                    <a:pt x="117763" y="547254"/>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p:cNvSpPr/>
            <p:nvPr/>
          </p:nvSpPr>
          <p:spPr bwMode="auto">
            <a:xfrm>
              <a:off x="4412823" y="2324567"/>
              <a:ext cx="944494" cy="34502"/>
            </a:xfrm>
            <a:custGeom>
              <a:avLst/>
              <a:gdLst>
                <a:gd name="connsiteX0" fmla="*/ 0 w 2798618"/>
                <a:gd name="connsiteY0" fmla="*/ 0 h 102233"/>
                <a:gd name="connsiteX1" fmla="*/ 491836 w 2798618"/>
                <a:gd name="connsiteY1" fmla="*/ 96982 h 102233"/>
                <a:gd name="connsiteX2" fmla="*/ 1260764 w 2798618"/>
                <a:gd name="connsiteY2" fmla="*/ 90054 h 102233"/>
                <a:gd name="connsiteX3" fmla="*/ 2410691 w 2798618"/>
                <a:gd name="connsiteY3" fmla="*/ 62345 h 102233"/>
                <a:gd name="connsiteX4" fmla="*/ 2798618 w 2798618"/>
                <a:gd name="connsiteY4" fmla="*/ 41564 h 102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618" h="102233">
                  <a:moveTo>
                    <a:pt x="0" y="0"/>
                  </a:moveTo>
                  <a:cubicBezTo>
                    <a:pt x="140854" y="40986"/>
                    <a:pt x="281709" y="81973"/>
                    <a:pt x="491836" y="96982"/>
                  </a:cubicBezTo>
                  <a:cubicBezTo>
                    <a:pt x="701963" y="111991"/>
                    <a:pt x="1260764" y="90054"/>
                    <a:pt x="1260764" y="90054"/>
                  </a:cubicBezTo>
                  <a:lnTo>
                    <a:pt x="2410691" y="62345"/>
                  </a:lnTo>
                  <a:cubicBezTo>
                    <a:pt x="2667000" y="54263"/>
                    <a:pt x="2732809" y="47913"/>
                    <a:pt x="2798618" y="415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p:cNvSpPr/>
            <p:nvPr/>
          </p:nvSpPr>
          <p:spPr bwMode="auto">
            <a:xfrm>
              <a:off x="5287181" y="2287162"/>
              <a:ext cx="757466" cy="28054"/>
            </a:xfrm>
            <a:custGeom>
              <a:avLst/>
              <a:gdLst>
                <a:gd name="connsiteX0" fmla="*/ 0 w 2244436"/>
                <a:gd name="connsiteY0" fmla="*/ 83127 h 83127"/>
                <a:gd name="connsiteX1" fmla="*/ 2244436 w 2244436"/>
                <a:gd name="connsiteY1" fmla="*/ 0 h 83127"/>
              </a:gdLst>
              <a:ahLst/>
              <a:cxnLst>
                <a:cxn ang="0">
                  <a:pos x="connsiteX0" y="connsiteY0"/>
                </a:cxn>
                <a:cxn ang="0">
                  <a:pos x="connsiteX1" y="connsiteY1"/>
                </a:cxn>
              </a:cxnLst>
              <a:rect l="l" t="t" r="r" b="b"/>
              <a:pathLst>
                <a:path w="2244436" h="83127">
                  <a:moveTo>
                    <a:pt x="0" y="83127"/>
                  </a:moveTo>
                  <a:lnTo>
                    <a:pt x="2244436"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p:cNvSpPr/>
            <p:nvPr/>
          </p:nvSpPr>
          <p:spPr bwMode="auto">
            <a:xfrm>
              <a:off x="5263802" y="1733199"/>
              <a:ext cx="1980165" cy="549152"/>
            </a:xfrm>
            <a:custGeom>
              <a:avLst/>
              <a:gdLst>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52054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3124 h 1630811"/>
                <a:gd name="connsiteX1" fmla="*/ 3131127 w 5867400"/>
                <a:gd name="connsiteY1" fmla="*/ 1613179 h 1630811"/>
                <a:gd name="connsiteX2" fmla="*/ 2957946 w 5867400"/>
                <a:gd name="connsiteY2" fmla="*/ 1620106 h 1630811"/>
                <a:gd name="connsiteX3" fmla="*/ 2999509 w 5867400"/>
                <a:gd name="connsiteY3" fmla="*/ 1495415 h 1630811"/>
                <a:gd name="connsiteX4" fmla="*/ 3096491 w 5867400"/>
                <a:gd name="connsiteY4" fmla="*/ 1252961 h 1630811"/>
                <a:gd name="connsiteX5" fmla="*/ 3435927 w 5867400"/>
                <a:gd name="connsiteY5" fmla="*/ 151524 h 1630811"/>
                <a:gd name="connsiteX6" fmla="*/ 3477491 w 5867400"/>
                <a:gd name="connsiteY6" fmla="*/ 12979 h 1630811"/>
                <a:gd name="connsiteX7" fmla="*/ 3290455 w 5867400"/>
                <a:gd name="connsiteY7" fmla="*/ 12978 h 1630811"/>
                <a:gd name="connsiteX8" fmla="*/ 2244437 w 5867400"/>
                <a:gd name="connsiteY8" fmla="*/ 75324 h 1630811"/>
                <a:gd name="connsiteX9" fmla="*/ 1461655 w 5867400"/>
                <a:gd name="connsiteY9" fmla="*/ 227724 h 1630811"/>
                <a:gd name="connsiteX10" fmla="*/ 852054 w 5867400"/>
                <a:gd name="connsiteY10" fmla="*/ 463251 h 1630811"/>
                <a:gd name="connsiteX11" fmla="*/ 228600 w 5867400"/>
                <a:gd name="connsiteY11" fmla="*/ 830397 h 1630811"/>
                <a:gd name="connsiteX12" fmla="*/ 0 w 5867400"/>
                <a:gd name="connsiteY12" fmla="*/ 968942 h 1630811"/>
                <a:gd name="connsiteX0" fmla="*/ 5867400 w 5867400"/>
                <a:gd name="connsiteY0" fmla="*/ 1536065 h 1643752"/>
                <a:gd name="connsiteX1" fmla="*/ 3131127 w 5867400"/>
                <a:gd name="connsiteY1" fmla="*/ 1626120 h 1643752"/>
                <a:gd name="connsiteX2" fmla="*/ 2957946 w 5867400"/>
                <a:gd name="connsiteY2" fmla="*/ 1633047 h 1643752"/>
                <a:gd name="connsiteX3" fmla="*/ 2999509 w 5867400"/>
                <a:gd name="connsiteY3" fmla="*/ 1508356 h 1643752"/>
                <a:gd name="connsiteX4" fmla="*/ 3096491 w 5867400"/>
                <a:gd name="connsiteY4" fmla="*/ 1265902 h 1643752"/>
                <a:gd name="connsiteX5" fmla="*/ 3435927 w 5867400"/>
                <a:gd name="connsiteY5" fmla="*/ 164465 h 1643752"/>
                <a:gd name="connsiteX6" fmla="*/ 3477491 w 5867400"/>
                <a:gd name="connsiteY6" fmla="*/ 25920 h 1643752"/>
                <a:gd name="connsiteX7" fmla="*/ 3290455 w 5867400"/>
                <a:gd name="connsiteY7" fmla="*/ 5137 h 1643752"/>
                <a:gd name="connsiteX8" fmla="*/ 2244437 w 5867400"/>
                <a:gd name="connsiteY8" fmla="*/ 88265 h 1643752"/>
                <a:gd name="connsiteX9" fmla="*/ 1461655 w 5867400"/>
                <a:gd name="connsiteY9" fmla="*/ 240665 h 1643752"/>
                <a:gd name="connsiteX10" fmla="*/ 852054 w 5867400"/>
                <a:gd name="connsiteY10" fmla="*/ 476192 h 1643752"/>
                <a:gd name="connsiteX11" fmla="*/ 228600 w 5867400"/>
                <a:gd name="connsiteY11" fmla="*/ 843338 h 1643752"/>
                <a:gd name="connsiteX12" fmla="*/ 0 w 5867400"/>
                <a:gd name="connsiteY12" fmla="*/ 981883 h 1643752"/>
                <a:gd name="connsiteX0" fmla="*/ 5867400 w 5867400"/>
                <a:gd name="connsiteY0" fmla="*/ 1523125 h 1630812"/>
                <a:gd name="connsiteX1" fmla="*/ 3131127 w 5867400"/>
                <a:gd name="connsiteY1" fmla="*/ 1613180 h 1630812"/>
                <a:gd name="connsiteX2" fmla="*/ 2957946 w 5867400"/>
                <a:gd name="connsiteY2" fmla="*/ 1620107 h 1630812"/>
                <a:gd name="connsiteX3" fmla="*/ 2999509 w 5867400"/>
                <a:gd name="connsiteY3" fmla="*/ 1495416 h 1630812"/>
                <a:gd name="connsiteX4" fmla="*/ 3096491 w 5867400"/>
                <a:gd name="connsiteY4" fmla="*/ 1252962 h 1630812"/>
                <a:gd name="connsiteX5" fmla="*/ 3435927 w 5867400"/>
                <a:gd name="connsiteY5" fmla="*/ 151525 h 1630812"/>
                <a:gd name="connsiteX6" fmla="*/ 3477491 w 5867400"/>
                <a:gd name="connsiteY6" fmla="*/ 12980 h 1630812"/>
                <a:gd name="connsiteX7" fmla="*/ 3290455 w 5867400"/>
                <a:gd name="connsiteY7" fmla="*/ 12979 h 1630812"/>
                <a:gd name="connsiteX8" fmla="*/ 2244437 w 5867400"/>
                <a:gd name="connsiteY8" fmla="*/ 75325 h 1630812"/>
                <a:gd name="connsiteX9" fmla="*/ 1461655 w 5867400"/>
                <a:gd name="connsiteY9" fmla="*/ 227725 h 1630812"/>
                <a:gd name="connsiteX10" fmla="*/ 852054 w 5867400"/>
                <a:gd name="connsiteY10" fmla="*/ 463252 h 1630812"/>
                <a:gd name="connsiteX11" fmla="*/ 228600 w 5867400"/>
                <a:gd name="connsiteY11" fmla="*/ 830398 h 1630812"/>
                <a:gd name="connsiteX12" fmla="*/ 0 w 5867400"/>
                <a:gd name="connsiteY12" fmla="*/ 968943 h 1630812"/>
                <a:gd name="connsiteX0" fmla="*/ 5867400 w 5867400"/>
                <a:gd name="connsiteY0" fmla="*/ 1518398 h 1626085"/>
                <a:gd name="connsiteX1" fmla="*/ 3131127 w 5867400"/>
                <a:gd name="connsiteY1" fmla="*/ 1608453 h 1626085"/>
                <a:gd name="connsiteX2" fmla="*/ 2957946 w 5867400"/>
                <a:gd name="connsiteY2" fmla="*/ 1615380 h 1626085"/>
                <a:gd name="connsiteX3" fmla="*/ 2999509 w 5867400"/>
                <a:gd name="connsiteY3" fmla="*/ 1490689 h 1626085"/>
                <a:gd name="connsiteX4" fmla="*/ 3096491 w 5867400"/>
                <a:gd name="connsiteY4" fmla="*/ 1248235 h 1626085"/>
                <a:gd name="connsiteX5" fmla="*/ 3435927 w 5867400"/>
                <a:gd name="connsiteY5" fmla="*/ 146798 h 1626085"/>
                <a:gd name="connsiteX6" fmla="*/ 3477491 w 5867400"/>
                <a:gd name="connsiteY6" fmla="*/ 8253 h 1626085"/>
                <a:gd name="connsiteX7" fmla="*/ 3290455 w 5867400"/>
                <a:gd name="connsiteY7" fmla="*/ 8252 h 1626085"/>
                <a:gd name="connsiteX8" fmla="*/ 2244437 w 5867400"/>
                <a:gd name="connsiteY8" fmla="*/ 70598 h 1626085"/>
                <a:gd name="connsiteX9" fmla="*/ 1461655 w 5867400"/>
                <a:gd name="connsiteY9" fmla="*/ 222998 h 1626085"/>
                <a:gd name="connsiteX10" fmla="*/ 852054 w 5867400"/>
                <a:gd name="connsiteY10" fmla="*/ 458525 h 1626085"/>
                <a:gd name="connsiteX11" fmla="*/ 228600 w 5867400"/>
                <a:gd name="connsiteY11" fmla="*/ 825671 h 1626085"/>
                <a:gd name="connsiteX12" fmla="*/ 0 w 5867400"/>
                <a:gd name="connsiteY12" fmla="*/ 964216 h 1626085"/>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96491 w 5867400"/>
                <a:gd name="connsiteY4" fmla="*/ 1250173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89564 w 5867400"/>
                <a:gd name="connsiteY4" fmla="*/ 1208609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30893 h 1638580"/>
                <a:gd name="connsiteX1" fmla="*/ 3131127 w 5867400"/>
                <a:gd name="connsiteY1" fmla="*/ 1620948 h 1638580"/>
                <a:gd name="connsiteX2" fmla="*/ 2957946 w 5867400"/>
                <a:gd name="connsiteY2" fmla="*/ 1627875 h 1638580"/>
                <a:gd name="connsiteX3" fmla="*/ 2999509 w 5867400"/>
                <a:gd name="connsiteY3" fmla="*/ 1503184 h 1638580"/>
                <a:gd name="connsiteX4" fmla="*/ 3089564 w 5867400"/>
                <a:gd name="connsiteY4" fmla="*/ 1219166 h 1638580"/>
                <a:gd name="connsiteX5" fmla="*/ 3435927 w 5867400"/>
                <a:gd name="connsiteY5" fmla="*/ 159293 h 1638580"/>
                <a:gd name="connsiteX6" fmla="*/ 3463636 w 5867400"/>
                <a:gd name="connsiteY6" fmla="*/ 13821 h 1638580"/>
                <a:gd name="connsiteX7" fmla="*/ 3290455 w 5867400"/>
                <a:gd name="connsiteY7" fmla="*/ 13819 h 1638580"/>
                <a:gd name="connsiteX8" fmla="*/ 2244437 w 5867400"/>
                <a:gd name="connsiteY8" fmla="*/ 83093 h 1638580"/>
                <a:gd name="connsiteX9" fmla="*/ 1461655 w 5867400"/>
                <a:gd name="connsiteY9" fmla="*/ 235493 h 1638580"/>
                <a:gd name="connsiteX10" fmla="*/ 852054 w 5867400"/>
                <a:gd name="connsiteY10" fmla="*/ 471020 h 1638580"/>
                <a:gd name="connsiteX11" fmla="*/ 228600 w 5867400"/>
                <a:gd name="connsiteY11" fmla="*/ 838166 h 1638580"/>
                <a:gd name="connsiteX12" fmla="*/ 0 w 5867400"/>
                <a:gd name="connsiteY12" fmla="*/ 976711 h 1638580"/>
                <a:gd name="connsiteX0" fmla="*/ 5867400 w 5867400"/>
                <a:gd name="connsiteY0" fmla="*/ 1539905 h 1647592"/>
                <a:gd name="connsiteX1" fmla="*/ 3131127 w 5867400"/>
                <a:gd name="connsiteY1" fmla="*/ 1629960 h 1647592"/>
                <a:gd name="connsiteX2" fmla="*/ 2957946 w 5867400"/>
                <a:gd name="connsiteY2" fmla="*/ 1636887 h 1647592"/>
                <a:gd name="connsiteX3" fmla="*/ 2999509 w 5867400"/>
                <a:gd name="connsiteY3" fmla="*/ 1512196 h 1647592"/>
                <a:gd name="connsiteX4" fmla="*/ 3089564 w 5867400"/>
                <a:gd name="connsiteY4" fmla="*/ 1228178 h 1647592"/>
                <a:gd name="connsiteX5" fmla="*/ 3435927 w 5867400"/>
                <a:gd name="connsiteY5" fmla="*/ 168305 h 1647592"/>
                <a:gd name="connsiteX6" fmla="*/ 3463636 w 5867400"/>
                <a:gd name="connsiteY6" fmla="*/ 22833 h 1647592"/>
                <a:gd name="connsiteX7" fmla="*/ 3290455 w 5867400"/>
                <a:gd name="connsiteY7" fmla="*/ 22831 h 1647592"/>
                <a:gd name="connsiteX8" fmla="*/ 2244437 w 5867400"/>
                <a:gd name="connsiteY8" fmla="*/ 92105 h 1647592"/>
                <a:gd name="connsiteX9" fmla="*/ 1461655 w 5867400"/>
                <a:gd name="connsiteY9" fmla="*/ 244505 h 1647592"/>
                <a:gd name="connsiteX10" fmla="*/ 852054 w 5867400"/>
                <a:gd name="connsiteY10" fmla="*/ 480032 h 1647592"/>
                <a:gd name="connsiteX11" fmla="*/ 228600 w 5867400"/>
                <a:gd name="connsiteY11" fmla="*/ 847178 h 1647592"/>
                <a:gd name="connsiteX12" fmla="*/ 0 w 5867400"/>
                <a:gd name="connsiteY12" fmla="*/ 985723 h 1647592"/>
                <a:gd name="connsiteX0" fmla="*/ 5867400 w 5867400"/>
                <a:gd name="connsiteY0" fmla="*/ 1530604 h 1638291"/>
                <a:gd name="connsiteX1" fmla="*/ 3131127 w 5867400"/>
                <a:gd name="connsiteY1" fmla="*/ 1620659 h 1638291"/>
                <a:gd name="connsiteX2" fmla="*/ 2957946 w 5867400"/>
                <a:gd name="connsiteY2" fmla="*/ 1627586 h 1638291"/>
                <a:gd name="connsiteX3" fmla="*/ 2999509 w 5867400"/>
                <a:gd name="connsiteY3" fmla="*/ 1502895 h 1638291"/>
                <a:gd name="connsiteX4" fmla="*/ 3089564 w 5867400"/>
                <a:gd name="connsiteY4" fmla="*/ 1218877 h 1638291"/>
                <a:gd name="connsiteX5" fmla="*/ 3435927 w 5867400"/>
                <a:gd name="connsiteY5" fmla="*/ 159004 h 1638291"/>
                <a:gd name="connsiteX6" fmla="*/ 3470563 w 5867400"/>
                <a:gd name="connsiteY6" fmla="*/ 27387 h 1638291"/>
                <a:gd name="connsiteX7" fmla="*/ 3290455 w 5867400"/>
                <a:gd name="connsiteY7" fmla="*/ 13530 h 1638291"/>
                <a:gd name="connsiteX8" fmla="*/ 2244437 w 5867400"/>
                <a:gd name="connsiteY8" fmla="*/ 82804 h 1638291"/>
                <a:gd name="connsiteX9" fmla="*/ 1461655 w 5867400"/>
                <a:gd name="connsiteY9" fmla="*/ 235204 h 1638291"/>
                <a:gd name="connsiteX10" fmla="*/ 852054 w 5867400"/>
                <a:gd name="connsiteY10" fmla="*/ 470731 h 1638291"/>
                <a:gd name="connsiteX11" fmla="*/ 228600 w 5867400"/>
                <a:gd name="connsiteY11" fmla="*/ 837877 h 1638291"/>
                <a:gd name="connsiteX12" fmla="*/ 0 w 5867400"/>
                <a:gd name="connsiteY12" fmla="*/ 976422 h 1638291"/>
                <a:gd name="connsiteX0" fmla="*/ 5867400 w 5867400"/>
                <a:gd name="connsiteY0" fmla="*/ 1530604 h 1659202"/>
                <a:gd name="connsiteX1" fmla="*/ 3131127 w 5867400"/>
                <a:gd name="connsiteY1" fmla="*/ 1620659 h 1659202"/>
                <a:gd name="connsiteX2" fmla="*/ 2957946 w 5867400"/>
                <a:gd name="connsiteY2" fmla="*/ 1627586 h 1659202"/>
                <a:gd name="connsiteX3" fmla="*/ 3089564 w 5867400"/>
                <a:gd name="connsiteY3" fmla="*/ 1218877 h 1659202"/>
                <a:gd name="connsiteX4" fmla="*/ 3435927 w 5867400"/>
                <a:gd name="connsiteY4" fmla="*/ 159004 h 1659202"/>
                <a:gd name="connsiteX5" fmla="*/ 3470563 w 5867400"/>
                <a:gd name="connsiteY5" fmla="*/ 27387 h 1659202"/>
                <a:gd name="connsiteX6" fmla="*/ 3290455 w 5867400"/>
                <a:gd name="connsiteY6" fmla="*/ 13530 h 1659202"/>
                <a:gd name="connsiteX7" fmla="*/ 2244437 w 5867400"/>
                <a:gd name="connsiteY7" fmla="*/ 82804 h 1659202"/>
                <a:gd name="connsiteX8" fmla="*/ 1461655 w 5867400"/>
                <a:gd name="connsiteY8" fmla="*/ 235204 h 1659202"/>
                <a:gd name="connsiteX9" fmla="*/ 852054 w 5867400"/>
                <a:gd name="connsiteY9" fmla="*/ 470731 h 1659202"/>
                <a:gd name="connsiteX10" fmla="*/ 228600 w 5867400"/>
                <a:gd name="connsiteY10" fmla="*/ 837877 h 1659202"/>
                <a:gd name="connsiteX11" fmla="*/ 0 w 5867400"/>
                <a:gd name="connsiteY11" fmla="*/ 976422 h 1659202"/>
                <a:gd name="connsiteX0" fmla="*/ 5867400 w 5867400"/>
                <a:gd name="connsiteY0" fmla="*/ 1530604 h 1665349"/>
                <a:gd name="connsiteX1" fmla="*/ 3131127 w 5867400"/>
                <a:gd name="connsiteY1" fmla="*/ 1620659 h 1665349"/>
                <a:gd name="connsiteX2" fmla="*/ 2957946 w 5867400"/>
                <a:gd name="connsiteY2" fmla="*/ 1627586 h 1665349"/>
                <a:gd name="connsiteX3" fmla="*/ 3089564 w 5867400"/>
                <a:gd name="connsiteY3" fmla="*/ 1218877 h 1665349"/>
                <a:gd name="connsiteX4" fmla="*/ 3435927 w 5867400"/>
                <a:gd name="connsiteY4" fmla="*/ 159004 h 1665349"/>
                <a:gd name="connsiteX5" fmla="*/ 3470563 w 5867400"/>
                <a:gd name="connsiteY5" fmla="*/ 27387 h 1665349"/>
                <a:gd name="connsiteX6" fmla="*/ 3290455 w 5867400"/>
                <a:gd name="connsiteY6" fmla="*/ 13530 h 1665349"/>
                <a:gd name="connsiteX7" fmla="*/ 2244437 w 5867400"/>
                <a:gd name="connsiteY7" fmla="*/ 82804 h 1665349"/>
                <a:gd name="connsiteX8" fmla="*/ 1461655 w 5867400"/>
                <a:gd name="connsiteY8" fmla="*/ 235204 h 1665349"/>
                <a:gd name="connsiteX9" fmla="*/ 852054 w 5867400"/>
                <a:gd name="connsiteY9" fmla="*/ 470731 h 1665349"/>
                <a:gd name="connsiteX10" fmla="*/ 228600 w 5867400"/>
                <a:gd name="connsiteY10" fmla="*/ 837877 h 1665349"/>
                <a:gd name="connsiteX11" fmla="*/ 0 w 5867400"/>
                <a:gd name="connsiteY11" fmla="*/ 976422 h 1665349"/>
                <a:gd name="connsiteX0" fmla="*/ 5867400 w 5867400"/>
                <a:gd name="connsiteY0" fmla="*/ 1530604 h 1650866"/>
                <a:gd name="connsiteX1" fmla="*/ 3789218 w 5867400"/>
                <a:gd name="connsiteY1" fmla="*/ 1592950 h 1650866"/>
                <a:gd name="connsiteX2" fmla="*/ 2957946 w 5867400"/>
                <a:gd name="connsiteY2" fmla="*/ 1627586 h 1650866"/>
                <a:gd name="connsiteX3" fmla="*/ 3089564 w 5867400"/>
                <a:gd name="connsiteY3" fmla="*/ 1218877 h 1650866"/>
                <a:gd name="connsiteX4" fmla="*/ 3435927 w 5867400"/>
                <a:gd name="connsiteY4" fmla="*/ 159004 h 1650866"/>
                <a:gd name="connsiteX5" fmla="*/ 3470563 w 5867400"/>
                <a:gd name="connsiteY5" fmla="*/ 27387 h 1650866"/>
                <a:gd name="connsiteX6" fmla="*/ 3290455 w 5867400"/>
                <a:gd name="connsiteY6" fmla="*/ 13530 h 1650866"/>
                <a:gd name="connsiteX7" fmla="*/ 2244437 w 5867400"/>
                <a:gd name="connsiteY7" fmla="*/ 82804 h 1650866"/>
                <a:gd name="connsiteX8" fmla="*/ 1461655 w 5867400"/>
                <a:gd name="connsiteY8" fmla="*/ 235204 h 1650866"/>
                <a:gd name="connsiteX9" fmla="*/ 852054 w 5867400"/>
                <a:gd name="connsiteY9" fmla="*/ 470731 h 1650866"/>
                <a:gd name="connsiteX10" fmla="*/ 228600 w 5867400"/>
                <a:gd name="connsiteY10" fmla="*/ 837877 h 1650866"/>
                <a:gd name="connsiteX11" fmla="*/ 0 w 5867400"/>
                <a:gd name="connsiteY11" fmla="*/ 976422 h 1650866"/>
                <a:gd name="connsiteX0" fmla="*/ 5867400 w 5867400"/>
                <a:gd name="connsiteY0" fmla="*/ 1530604 h 1639086"/>
                <a:gd name="connsiteX1" fmla="*/ 3789218 w 5867400"/>
                <a:gd name="connsiteY1" fmla="*/ 1592950 h 1639086"/>
                <a:gd name="connsiteX2" fmla="*/ 2957946 w 5867400"/>
                <a:gd name="connsiteY2" fmla="*/ 1627586 h 1639086"/>
                <a:gd name="connsiteX3" fmla="*/ 3089564 w 5867400"/>
                <a:gd name="connsiteY3" fmla="*/ 1218877 h 1639086"/>
                <a:gd name="connsiteX4" fmla="*/ 3435927 w 5867400"/>
                <a:gd name="connsiteY4" fmla="*/ 159004 h 1639086"/>
                <a:gd name="connsiteX5" fmla="*/ 3470563 w 5867400"/>
                <a:gd name="connsiteY5" fmla="*/ 27387 h 1639086"/>
                <a:gd name="connsiteX6" fmla="*/ 3290455 w 5867400"/>
                <a:gd name="connsiteY6" fmla="*/ 13530 h 1639086"/>
                <a:gd name="connsiteX7" fmla="*/ 2244437 w 5867400"/>
                <a:gd name="connsiteY7" fmla="*/ 82804 h 1639086"/>
                <a:gd name="connsiteX8" fmla="*/ 1461655 w 5867400"/>
                <a:gd name="connsiteY8" fmla="*/ 235204 h 1639086"/>
                <a:gd name="connsiteX9" fmla="*/ 852054 w 5867400"/>
                <a:gd name="connsiteY9" fmla="*/ 470731 h 1639086"/>
                <a:gd name="connsiteX10" fmla="*/ 228600 w 5867400"/>
                <a:gd name="connsiteY10" fmla="*/ 837877 h 1639086"/>
                <a:gd name="connsiteX11" fmla="*/ 0 w 5867400"/>
                <a:gd name="connsiteY11" fmla="*/ 976422 h 1639086"/>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28600 w 5867400"/>
                <a:gd name="connsiteY10" fmla="*/ 837877 h 1627185"/>
                <a:gd name="connsiteX11" fmla="*/ 0 w 5867400"/>
                <a:gd name="connsiteY11" fmla="*/ 976422 h 1627185"/>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37066 w 5867400"/>
                <a:gd name="connsiteY10" fmla="*/ 812477 h 1627185"/>
                <a:gd name="connsiteX11" fmla="*/ 0 w 5867400"/>
                <a:gd name="connsiteY11" fmla="*/ 976422 h 1627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7400" h="1627185">
                  <a:moveTo>
                    <a:pt x="5867400" y="1530604"/>
                  </a:moveTo>
                  <a:lnTo>
                    <a:pt x="3789218" y="1592950"/>
                  </a:lnTo>
                  <a:cubicBezTo>
                    <a:pt x="3304309" y="1606805"/>
                    <a:pt x="2936010" y="1648368"/>
                    <a:pt x="2957946" y="1613732"/>
                  </a:cubicBezTo>
                  <a:cubicBezTo>
                    <a:pt x="2979882" y="1579096"/>
                    <a:pt x="3009901" y="1461332"/>
                    <a:pt x="3089564" y="1218877"/>
                  </a:cubicBezTo>
                  <a:cubicBezTo>
                    <a:pt x="3169227" y="976422"/>
                    <a:pt x="3372427" y="357586"/>
                    <a:pt x="3435927" y="159004"/>
                  </a:cubicBezTo>
                  <a:cubicBezTo>
                    <a:pt x="3499427" y="-39578"/>
                    <a:pt x="3453244" y="72415"/>
                    <a:pt x="3470563" y="27387"/>
                  </a:cubicBezTo>
                  <a:cubicBezTo>
                    <a:pt x="3487882" y="-17641"/>
                    <a:pt x="3494809" y="4294"/>
                    <a:pt x="3290455" y="13530"/>
                  </a:cubicBezTo>
                  <a:cubicBezTo>
                    <a:pt x="3086101" y="22766"/>
                    <a:pt x="2549237" y="45858"/>
                    <a:pt x="2244437" y="82804"/>
                  </a:cubicBezTo>
                  <a:cubicBezTo>
                    <a:pt x="1939637" y="119750"/>
                    <a:pt x="1693719" y="170550"/>
                    <a:pt x="1461655" y="235204"/>
                  </a:cubicBezTo>
                  <a:cubicBezTo>
                    <a:pt x="1229591" y="299858"/>
                    <a:pt x="1056152" y="374519"/>
                    <a:pt x="852054" y="470731"/>
                  </a:cubicBezTo>
                  <a:cubicBezTo>
                    <a:pt x="647956" y="566943"/>
                    <a:pt x="379075" y="728195"/>
                    <a:pt x="237066" y="812477"/>
                  </a:cubicBezTo>
                  <a:cubicBezTo>
                    <a:pt x="95057" y="896759"/>
                    <a:pt x="40409" y="949290"/>
                    <a:pt x="0" y="976422"/>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p:cNvSpPr/>
            <p:nvPr/>
          </p:nvSpPr>
          <p:spPr bwMode="auto">
            <a:xfrm>
              <a:off x="4859353" y="2041687"/>
              <a:ext cx="411463" cy="306259"/>
            </a:xfrm>
            <a:custGeom>
              <a:avLst/>
              <a:gdLst>
                <a:gd name="connsiteX0" fmla="*/ 0 w 1219200"/>
                <a:gd name="connsiteY0" fmla="*/ 907473 h 907473"/>
                <a:gd name="connsiteX1" fmla="*/ 1219200 w 1219200"/>
                <a:gd name="connsiteY1" fmla="*/ 0 h 907473"/>
                <a:gd name="connsiteX2" fmla="*/ 1184564 w 1219200"/>
                <a:gd name="connsiteY2" fmla="*/ 221673 h 907473"/>
              </a:gdLst>
              <a:ahLst/>
              <a:cxnLst>
                <a:cxn ang="0">
                  <a:pos x="connsiteX0" y="connsiteY0"/>
                </a:cxn>
                <a:cxn ang="0">
                  <a:pos x="connsiteX1" y="connsiteY1"/>
                </a:cxn>
                <a:cxn ang="0">
                  <a:pos x="connsiteX2" y="connsiteY2"/>
                </a:cxn>
              </a:cxnLst>
              <a:rect l="l" t="t" r="r" b="b"/>
              <a:pathLst>
                <a:path w="1219200" h="907473">
                  <a:moveTo>
                    <a:pt x="0" y="907473"/>
                  </a:moveTo>
                  <a:lnTo>
                    <a:pt x="1219200" y="0"/>
                  </a:lnTo>
                  <a:lnTo>
                    <a:pt x="1184564" y="221673"/>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p:cNvSpPr/>
            <p:nvPr/>
          </p:nvSpPr>
          <p:spPr bwMode="auto">
            <a:xfrm>
              <a:off x="4681676" y="1629530"/>
              <a:ext cx="3836423" cy="725430"/>
            </a:xfrm>
            <a:custGeom>
              <a:avLst/>
              <a:gdLst>
                <a:gd name="connsiteX0" fmla="*/ 0 w 11367655"/>
                <a:gd name="connsiteY0" fmla="*/ 2149512 h 2149512"/>
                <a:gd name="connsiteX1" fmla="*/ 623455 w 11367655"/>
                <a:gd name="connsiteY1" fmla="*/ 1699240 h 2149512"/>
                <a:gd name="connsiteX2" fmla="*/ 1537855 w 11367655"/>
                <a:gd name="connsiteY2" fmla="*/ 1082712 h 2149512"/>
                <a:gd name="connsiteX3" fmla="*/ 2348346 w 11367655"/>
                <a:gd name="connsiteY3" fmla="*/ 563167 h 2149512"/>
                <a:gd name="connsiteX4" fmla="*/ 2479964 w 11367655"/>
                <a:gd name="connsiteY4" fmla="*/ 486967 h 2149512"/>
                <a:gd name="connsiteX5" fmla="*/ 2528455 w 11367655"/>
                <a:gd name="connsiteY5" fmla="*/ 431549 h 2149512"/>
                <a:gd name="connsiteX6" fmla="*/ 2750128 w 11367655"/>
                <a:gd name="connsiteY6" fmla="*/ 355349 h 2149512"/>
                <a:gd name="connsiteX7" fmla="*/ 3449782 w 11367655"/>
                <a:gd name="connsiteY7" fmla="*/ 189094 h 2149512"/>
                <a:gd name="connsiteX8" fmla="*/ 4301837 w 11367655"/>
                <a:gd name="connsiteY8" fmla="*/ 78258 h 2149512"/>
                <a:gd name="connsiteX9" fmla="*/ 5368637 w 11367655"/>
                <a:gd name="connsiteY9" fmla="*/ 15912 h 2149512"/>
                <a:gd name="connsiteX10" fmla="*/ 6497782 w 11367655"/>
                <a:gd name="connsiteY10" fmla="*/ 2058 h 2149512"/>
                <a:gd name="connsiteX11" fmla="*/ 7904018 w 11367655"/>
                <a:gd name="connsiteY11" fmla="*/ 50549 h 2149512"/>
                <a:gd name="connsiteX12" fmla="*/ 9033164 w 11367655"/>
                <a:gd name="connsiteY12" fmla="*/ 119822 h 2149512"/>
                <a:gd name="connsiteX13" fmla="*/ 10280073 w 11367655"/>
                <a:gd name="connsiteY13" fmla="*/ 279149 h 2149512"/>
                <a:gd name="connsiteX14" fmla="*/ 11069782 w 11367655"/>
                <a:gd name="connsiteY14" fmla="*/ 438476 h 2149512"/>
                <a:gd name="connsiteX15" fmla="*/ 11367655 w 11367655"/>
                <a:gd name="connsiteY15" fmla="*/ 514676 h 214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67655" h="2149512">
                  <a:moveTo>
                    <a:pt x="0" y="2149512"/>
                  </a:moveTo>
                  <a:cubicBezTo>
                    <a:pt x="183573" y="2013276"/>
                    <a:pt x="367146" y="1877040"/>
                    <a:pt x="623455" y="1699240"/>
                  </a:cubicBezTo>
                  <a:cubicBezTo>
                    <a:pt x="879764" y="1521440"/>
                    <a:pt x="1250373" y="1272057"/>
                    <a:pt x="1537855" y="1082712"/>
                  </a:cubicBezTo>
                  <a:cubicBezTo>
                    <a:pt x="1825337" y="893366"/>
                    <a:pt x="2191328" y="662458"/>
                    <a:pt x="2348346" y="563167"/>
                  </a:cubicBezTo>
                  <a:cubicBezTo>
                    <a:pt x="2505364" y="463876"/>
                    <a:pt x="2449946" y="508903"/>
                    <a:pt x="2479964" y="486967"/>
                  </a:cubicBezTo>
                  <a:cubicBezTo>
                    <a:pt x="2509982" y="465031"/>
                    <a:pt x="2483428" y="453485"/>
                    <a:pt x="2528455" y="431549"/>
                  </a:cubicBezTo>
                  <a:cubicBezTo>
                    <a:pt x="2573482" y="409613"/>
                    <a:pt x="2596573" y="395758"/>
                    <a:pt x="2750128" y="355349"/>
                  </a:cubicBezTo>
                  <a:cubicBezTo>
                    <a:pt x="2903683" y="314940"/>
                    <a:pt x="3191164" y="235276"/>
                    <a:pt x="3449782" y="189094"/>
                  </a:cubicBezTo>
                  <a:cubicBezTo>
                    <a:pt x="3708400" y="142912"/>
                    <a:pt x="3982028" y="107122"/>
                    <a:pt x="4301837" y="78258"/>
                  </a:cubicBezTo>
                  <a:cubicBezTo>
                    <a:pt x="4621646" y="49394"/>
                    <a:pt x="5002646" y="28612"/>
                    <a:pt x="5368637" y="15912"/>
                  </a:cubicBezTo>
                  <a:cubicBezTo>
                    <a:pt x="5734628" y="3212"/>
                    <a:pt x="6075219" y="-3715"/>
                    <a:pt x="6497782" y="2058"/>
                  </a:cubicBezTo>
                  <a:cubicBezTo>
                    <a:pt x="6920345" y="7831"/>
                    <a:pt x="7481454" y="30922"/>
                    <a:pt x="7904018" y="50549"/>
                  </a:cubicBezTo>
                  <a:cubicBezTo>
                    <a:pt x="8326582" y="70176"/>
                    <a:pt x="8637155" y="81722"/>
                    <a:pt x="9033164" y="119822"/>
                  </a:cubicBezTo>
                  <a:cubicBezTo>
                    <a:pt x="9429173" y="157922"/>
                    <a:pt x="9940637" y="226040"/>
                    <a:pt x="10280073" y="279149"/>
                  </a:cubicBezTo>
                  <a:cubicBezTo>
                    <a:pt x="10619509" y="332258"/>
                    <a:pt x="10888519" y="399222"/>
                    <a:pt x="11069782" y="438476"/>
                  </a:cubicBezTo>
                  <a:cubicBezTo>
                    <a:pt x="11251045" y="477730"/>
                    <a:pt x="11309350" y="496203"/>
                    <a:pt x="11367655" y="514676"/>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p:cNvSpPr/>
            <p:nvPr/>
          </p:nvSpPr>
          <p:spPr bwMode="auto">
            <a:xfrm>
              <a:off x="4619985" y="1684215"/>
              <a:ext cx="3433549" cy="1704077"/>
            </a:xfrm>
            <a:custGeom>
              <a:avLst/>
              <a:gdLst>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61729 w 10197719"/>
                <a:gd name="connsiteY24" fmla="*/ 275571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67369 w 10197719"/>
                <a:gd name="connsiteY25" fmla="*/ 3525330 h 5049330"/>
                <a:gd name="connsiteX26" fmla="*/ 7826349 w 10197719"/>
                <a:gd name="connsiteY26" fmla="*/ 4317810 h 5049330"/>
                <a:gd name="connsiteX27" fmla="*/ 7498689 w 10197719"/>
                <a:gd name="connsiteY27" fmla="*/ 4790250 h 5049330"/>
                <a:gd name="connsiteX0" fmla="*/ 160629 w 10198278"/>
                <a:gd name="connsiteY0" fmla="*/ 5049330 h 5049330"/>
                <a:gd name="connsiteX1" fmla="*/ 69189 w 10198278"/>
                <a:gd name="connsiteY1" fmla="*/ 4775010 h 5049330"/>
                <a:gd name="connsiteX2" fmla="*/ 8229 w 10198278"/>
                <a:gd name="connsiteY2" fmla="*/ 3883470 h 5049330"/>
                <a:gd name="connsiteX3" fmla="*/ 609 w 10198278"/>
                <a:gd name="connsiteY3" fmla="*/ 2831910 h 5049330"/>
                <a:gd name="connsiteX4" fmla="*/ 8229 w 10198278"/>
                <a:gd name="connsiteY4" fmla="*/ 2466150 h 5049330"/>
                <a:gd name="connsiteX5" fmla="*/ 38709 w 10198278"/>
                <a:gd name="connsiteY5" fmla="*/ 2306130 h 5049330"/>
                <a:gd name="connsiteX6" fmla="*/ 343509 w 10198278"/>
                <a:gd name="connsiteY6" fmla="*/ 2108010 h 5049330"/>
                <a:gd name="connsiteX7" fmla="*/ 526389 w 10198278"/>
                <a:gd name="connsiteY7" fmla="*/ 1963230 h 5049330"/>
                <a:gd name="connsiteX8" fmla="*/ 762609 w 10198278"/>
                <a:gd name="connsiteY8" fmla="*/ 1787970 h 5049330"/>
                <a:gd name="connsiteX9" fmla="*/ 1494129 w 10198278"/>
                <a:gd name="connsiteY9" fmla="*/ 1231710 h 5049330"/>
                <a:gd name="connsiteX10" fmla="*/ 2263749 w 10198278"/>
                <a:gd name="connsiteY10" fmla="*/ 736410 h 5049330"/>
                <a:gd name="connsiteX11" fmla="*/ 2896209 w 10198278"/>
                <a:gd name="connsiteY11" fmla="*/ 393510 h 5049330"/>
                <a:gd name="connsiteX12" fmla="*/ 3810609 w 10198278"/>
                <a:gd name="connsiteY12" fmla="*/ 149670 h 5049330"/>
                <a:gd name="connsiteX13" fmla="*/ 5288889 w 10198278"/>
                <a:gd name="connsiteY13" fmla="*/ 20130 h 5049330"/>
                <a:gd name="connsiteX14" fmla="*/ 6203289 w 10198278"/>
                <a:gd name="connsiteY14" fmla="*/ 4890 h 5049330"/>
                <a:gd name="connsiteX15" fmla="*/ 7399629 w 10198278"/>
                <a:gd name="connsiteY15" fmla="*/ 65850 h 5049330"/>
                <a:gd name="connsiteX16" fmla="*/ 8474049 w 10198278"/>
                <a:gd name="connsiteY16" fmla="*/ 157290 h 5049330"/>
                <a:gd name="connsiteX17" fmla="*/ 9159849 w 10198278"/>
                <a:gd name="connsiteY17" fmla="*/ 302070 h 5049330"/>
                <a:gd name="connsiteX18" fmla="*/ 9723729 w 10198278"/>
                <a:gd name="connsiteY18" fmla="*/ 454470 h 5049330"/>
                <a:gd name="connsiteX19" fmla="*/ 10074249 w 10198278"/>
                <a:gd name="connsiteY19" fmla="*/ 652590 h 5049330"/>
                <a:gd name="connsiteX20" fmla="*/ 10173309 w 10198278"/>
                <a:gd name="connsiteY20" fmla="*/ 896430 h 5049330"/>
                <a:gd name="connsiteX21" fmla="*/ 10180929 w 10198278"/>
                <a:gd name="connsiteY21" fmla="*/ 1071690 h 5049330"/>
                <a:gd name="connsiteX22" fmla="*/ 9967569 w 10198278"/>
                <a:gd name="connsiteY22" fmla="*/ 1475550 h 5049330"/>
                <a:gd name="connsiteX23" fmla="*/ 9472269 w 10198278"/>
                <a:gd name="connsiteY23" fmla="*/ 2077530 h 5049330"/>
                <a:gd name="connsiteX24" fmla="*/ 8954109 w 10198278"/>
                <a:gd name="connsiteY24" fmla="*/ 2740470 h 5049330"/>
                <a:gd name="connsiteX25" fmla="*/ 8367369 w 10198278"/>
                <a:gd name="connsiteY25" fmla="*/ 3525330 h 5049330"/>
                <a:gd name="connsiteX26" fmla="*/ 7826349 w 10198278"/>
                <a:gd name="connsiteY26" fmla="*/ 4317810 h 5049330"/>
                <a:gd name="connsiteX27" fmla="*/ 7498689 w 10198278"/>
                <a:gd name="connsiteY27" fmla="*/ 4790250 h 5049330"/>
                <a:gd name="connsiteX0" fmla="*/ 160629 w 10198948"/>
                <a:gd name="connsiteY0" fmla="*/ 5049330 h 5049330"/>
                <a:gd name="connsiteX1" fmla="*/ 69189 w 10198948"/>
                <a:gd name="connsiteY1" fmla="*/ 4775010 h 5049330"/>
                <a:gd name="connsiteX2" fmla="*/ 8229 w 10198948"/>
                <a:gd name="connsiteY2" fmla="*/ 3883470 h 5049330"/>
                <a:gd name="connsiteX3" fmla="*/ 609 w 10198948"/>
                <a:gd name="connsiteY3" fmla="*/ 2831910 h 5049330"/>
                <a:gd name="connsiteX4" fmla="*/ 8229 w 10198948"/>
                <a:gd name="connsiteY4" fmla="*/ 2466150 h 5049330"/>
                <a:gd name="connsiteX5" fmla="*/ 38709 w 10198948"/>
                <a:gd name="connsiteY5" fmla="*/ 2306130 h 5049330"/>
                <a:gd name="connsiteX6" fmla="*/ 343509 w 10198948"/>
                <a:gd name="connsiteY6" fmla="*/ 2108010 h 5049330"/>
                <a:gd name="connsiteX7" fmla="*/ 526389 w 10198948"/>
                <a:gd name="connsiteY7" fmla="*/ 1963230 h 5049330"/>
                <a:gd name="connsiteX8" fmla="*/ 762609 w 10198948"/>
                <a:gd name="connsiteY8" fmla="*/ 1787970 h 5049330"/>
                <a:gd name="connsiteX9" fmla="*/ 1494129 w 10198948"/>
                <a:gd name="connsiteY9" fmla="*/ 1231710 h 5049330"/>
                <a:gd name="connsiteX10" fmla="*/ 2263749 w 10198948"/>
                <a:gd name="connsiteY10" fmla="*/ 736410 h 5049330"/>
                <a:gd name="connsiteX11" fmla="*/ 2896209 w 10198948"/>
                <a:gd name="connsiteY11" fmla="*/ 393510 h 5049330"/>
                <a:gd name="connsiteX12" fmla="*/ 3810609 w 10198948"/>
                <a:gd name="connsiteY12" fmla="*/ 149670 h 5049330"/>
                <a:gd name="connsiteX13" fmla="*/ 5288889 w 10198948"/>
                <a:gd name="connsiteY13" fmla="*/ 20130 h 5049330"/>
                <a:gd name="connsiteX14" fmla="*/ 6203289 w 10198948"/>
                <a:gd name="connsiteY14" fmla="*/ 4890 h 5049330"/>
                <a:gd name="connsiteX15" fmla="*/ 7399629 w 10198948"/>
                <a:gd name="connsiteY15" fmla="*/ 65850 h 5049330"/>
                <a:gd name="connsiteX16" fmla="*/ 8474049 w 10198948"/>
                <a:gd name="connsiteY16" fmla="*/ 157290 h 5049330"/>
                <a:gd name="connsiteX17" fmla="*/ 9159849 w 10198948"/>
                <a:gd name="connsiteY17" fmla="*/ 302070 h 5049330"/>
                <a:gd name="connsiteX18" fmla="*/ 9723729 w 10198948"/>
                <a:gd name="connsiteY18" fmla="*/ 454470 h 5049330"/>
                <a:gd name="connsiteX19" fmla="*/ 10059009 w 10198948"/>
                <a:gd name="connsiteY19" fmla="*/ 660210 h 5049330"/>
                <a:gd name="connsiteX20" fmla="*/ 10173309 w 10198948"/>
                <a:gd name="connsiteY20" fmla="*/ 896430 h 5049330"/>
                <a:gd name="connsiteX21" fmla="*/ 10180929 w 10198948"/>
                <a:gd name="connsiteY21" fmla="*/ 1071690 h 5049330"/>
                <a:gd name="connsiteX22" fmla="*/ 9967569 w 10198948"/>
                <a:gd name="connsiteY22" fmla="*/ 1475550 h 5049330"/>
                <a:gd name="connsiteX23" fmla="*/ 9472269 w 10198948"/>
                <a:gd name="connsiteY23" fmla="*/ 2077530 h 5049330"/>
                <a:gd name="connsiteX24" fmla="*/ 8954109 w 10198948"/>
                <a:gd name="connsiteY24" fmla="*/ 2740470 h 5049330"/>
                <a:gd name="connsiteX25" fmla="*/ 8367369 w 10198948"/>
                <a:gd name="connsiteY25" fmla="*/ 3525330 h 5049330"/>
                <a:gd name="connsiteX26" fmla="*/ 7826349 w 10198948"/>
                <a:gd name="connsiteY26" fmla="*/ 4317810 h 5049330"/>
                <a:gd name="connsiteX27" fmla="*/ 7498689 w 10198948"/>
                <a:gd name="connsiteY27" fmla="*/ 4790250 h 5049330"/>
                <a:gd name="connsiteX0" fmla="*/ 160629 w 10189028"/>
                <a:gd name="connsiteY0" fmla="*/ 5049330 h 5049330"/>
                <a:gd name="connsiteX1" fmla="*/ 69189 w 10189028"/>
                <a:gd name="connsiteY1" fmla="*/ 4775010 h 5049330"/>
                <a:gd name="connsiteX2" fmla="*/ 8229 w 10189028"/>
                <a:gd name="connsiteY2" fmla="*/ 3883470 h 5049330"/>
                <a:gd name="connsiteX3" fmla="*/ 609 w 10189028"/>
                <a:gd name="connsiteY3" fmla="*/ 2831910 h 5049330"/>
                <a:gd name="connsiteX4" fmla="*/ 8229 w 10189028"/>
                <a:gd name="connsiteY4" fmla="*/ 2466150 h 5049330"/>
                <a:gd name="connsiteX5" fmla="*/ 38709 w 10189028"/>
                <a:gd name="connsiteY5" fmla="*/ 2306130 h 5049330"/>
                <a:gd name="connsiteX6" fmla="*/ 343509 w 10189028"/>
                <a:gd name="connsiteY6" fmla="*/ 2108010 h 5049330"/>
                <a:gd name="connsiteX7" fmla="*/ 526389 w 10189028"/>
                <a:gd name="connsiteY7" fmla="*/ 1963230 h 5049330"/>
                <a:gd name="connsiteX8" fmla="*/ 762609 w 10189028"/>
                <a:gd name="connsiteY8" fmla="*/ 1787970 h 5049330"/>
                <a:gd name="connsiteX9" fmla="*/ 1494129 w 10189028"/>
                <a:gd name="connsiteY9" fmla="*/ 1231710 h 5049330"/>
                <a:gd name="connsiteX10" fmla="*/ 2263749 w 10189028"/>
                <a:gd name="connsiteY10" fmla="*/ 736410 h 5049330"/>
                <a:gd name="connsiteX11" fmla="*/ 2896209 w 10189028"/>
                <a:gd name="connsiteY11" fmla="*/ 393510 h 5049330"/>
                <a:gd name="connsiteX12" fmla="*/ 3810609 w 10189028"/>
                <a:gd name="connsiteY12" fmla="*/ 149670 h 5049330"/>
                <a:gd name="connsiteX13" fmla="*/ 5288889 w 10189028"/>
                <a:gd name="connsiteY13" fmla="*/ 20130 h 5049330"/>
                <a:gd name="connsiteX14" fmla="*/ 6203289 w 10189028"/>
                <a:gd name="connsiteY14" fmla="*/ 4890 h 5049330"/>
                <a:gd name="connsiteX15" fmla="*/ 7399629 w 10189028"/>
                <a:gd name="connsiteY15" fmla="*/ 65850 h 5049330"/>
                <a:gd name="connsiteX16" fmla="*/ 8474049 w 10189028"/>
                <a:gd name="connsiteY16" fmla="*/ 157290 h 5049330"/>
                <a:gd name="connsiteX17" fmla="*/ 9159849 w 10189028"/>
                <a:gd name="connsiteY17" fmla="*/ 302070 h 5049330"/>
                <a:gd name="connsiteX18" fmla="*/ 9723729 w 10189028"/>
                <a:gd name="connsiteY18" fmla="*/ 454470 h 5049330"/>
                <a:gd name="connsiteX19" fmla="*/ 10059009 w 10189028"/>
                <a:gd name="connsiteY19" fmla="*/ 660210 h 5049330"/>
                <a:gd name="connsiteX20" fmla="*/ 10173309 w 10189028"/>
                <a:gd name="connsiteY20" fmla="*/ 896430 h 5049330"/>
                <a:gd name="connsiteX21" fmla="*/ 10165689 w 10189028"/>
                <a:gd name="connsiteY21" fmla="*/ 1071690 h 5049330"/>
                <a:gd name="connsiteX22" fmla="*/ 9967569 w 10189028"/>
                <a:gd name="connsiteY22" fmla="*/ 1475550 h 5049330"/>
                <a:gd name="connsiteX23" fmla="*/ 9472269 w 10189028"/>
                <a:gd name="connsiteY23" fmla="*/ 2077530 h 5049330"/>
                <a:gd name="connsiteX24" fmla="*/ 8954109 w 10189028"/>
                <a:gd name="connsiteY24" fmla="*/ 2740470 h 5049330"/>
                <a:gd name="connsiteX25" fmla="*/ 8367369 w 10189028"/>
                <a:gd name="connsiteY25" fmla="*/ 3525330 h 5049330"/>
                <a:gd name="connsiteX26" fmla="*/ 7826349 w 10189028"/>
                <a:gd name="connsiteY26" fmla="*/ 4317810 h 5049330"/>
                <a:gd name="connsiteX27" fmla="*/ 7498689 w 10189028"/>
                <a:gd name="connsiteY27" fmla="*/ 4790250 h 5049330"/>
                <a:gd name="connsiteX0" fmla="*/ 160629 w 10168501"/>
                <a:gd name="connsiteY0" fmla="*/ 5049330 h 5049330"/>
                <a:gd name="connsiteX1" fmla="*/ 69189 w 10168501"/>
                <a:gd name="connsiteY1" fmla="*/ 4775010 h 5049330"/>
                <a:gd name="connsiteX2" fmla="*/ 8229 w 10168501"/>
                <a:gd name="connsiteY2" fmla="*/ 3883470 h 5049330"/>
                <a:gd name="connsiteX3" fmla="*/ 609 w 10168501"/>
                <a:gd name="connsiteY3" fmla="*/ 2831910 h 5049330"/>
                <a:gd name="connsiteX4" fmla="*/ 8229 w 10168501"/>
                <a:gd name="connsiteY4" fmla="*/ 2466150 h 5049330"/>
                <a:gd name="connsiteX5" fmla="*/ 38709 w 10168501"/>
                <a:gd name="connsiteY5" fmla="*/ 2306130 h 5049330"/>
                <a:gd name="connsiteX6" fmla="*/ 343509 w 10168501"/>
                <a:gd name="connsiteY6" fmla="*/ 2108010 h 5049330"/>
                <a:gd name="connsiteX7" fmla="*/ 526389 w 10168501"/>
                <a:gd name="connsiteY7" fmla="*/ 1963230 h 5049330"/>
                <a:gd name="connsiteX8" fmla="*/ 762609 w 10168501"/>
                <a:gd name="connsiteY8" fmla="*/ 1787970 h 5049330"/>
                <a:gd name="connsiteX9" fmla="*/ 1494129 w 10168501"/>
                <a:gd name="connsiteY9" fmla="*/ 1231710 h 5049330"/>
                <a:gd name="connsiteX10" fmla="*/ 2263749 w 10168501"/>
                <a:gd name="connsiteY10" fmla="*/ 736410 h 5049330"/>
                <a:gd name="connsiteX11" fmla="*/ 2896209 w 10168501"/>
                <a:gd name="connsiteY11" fmla="*/ 393510 h 5049330"/>
                <a:gd name="connsiteX12" fmla="*/ 3810609 w 10168501"/>
                <a:gd name="connsiteY12" fmla="*/ 149670 h 5049330"/>
                <a:gd name="connsiteX13" fmla="*/ 5288889 w 10168501"/>
                <a:gd name="connsiteY13" fmla="*/ 20130 h 5049330"/>
                <a:gd name="connsiteX14" fmla="*/ 6203289 w 10168501"/>
                <a:gd name="connsiteY14" fmla="*/ 4890 h 5049330"/>
                <a:gd name="connsiteX15" fmla="*/ 7399629 w 10168501"/>
                <a:gd name="connsiteY15" fmla="*/ 65850 h 5049330"/>
                <a:gd name="connsiteX16" fmla="*/ 8474049 w 10168501"/>
                <a:gd name="connsiteY16" fmla="*/ 157290 h 5049330"/>
                <a:gd name="connsiteX17" fmla="*/ 9159849 w 10168501"/>
                <a:gd name="connsiteY17" fmla="*/ 302070 h 5049330"/>
                <a:gd name="connsiteX18" fmla="*/ 9723729 w 10168501"/>
                <a:gd name="connsiteY18" fmla="*/ 454470 h 5049330"/>
                <a:gd name="connsiteX19" fmla="*/ 10059009 w 10168501"/>
                <a:gd name="connsiteY19" fmla="*/ 660210 h 5049330"/>
                <a:gd name="connsiteX20" fmla="*/ 10165689 w 10168501"/>
                <a:gd name="connsiteY20" fmla="*/ 1071690 h 5049330"/>
                <a:gd name="connsiteX21" fmla="*/ 9967569 w 10168501"/>
                <a:gd name="connsiteY21" fmla="*/ 1475550 h 5049330"/>
                <a:gd name="connsiteX22" fmla="*/ 9472269 w 10168501"/>
                <a:gd name="connsiteY22" fmla="*/ 2077530 h 5049330"/>
                <a:gd name="connsiteX23" fmla="*/ 8954109 w 10168501"/>
                <a:gd name="connsiteY23" fmla="*/ 2740470 h 5049330"/>
                <a:gd name="connsiteX24" fmla="*/ 8367369 w 10168501"/>
                <a:gd name="connsiteY24" fmla="*/ 3525330 h 5049330"/>
                <a:gd name="connsiteX25" fmla="*/ 7826349 w 10168501"/>
                <a:gd name="connsiteY25" fmla="*/ 4317810 h 5049330"/>
                <a:gd name="connsiteX26" fmla="*/ 7498689 w 10168501"/>
                <a:gd name="connsiteY26" fmla="*/ 4790250 h 5049330"/>
                <a:gd name="connsiteX0" fmla="*/ 160629 w 10181816"/>
                <a:gd name="connsiteY0" fmla="*/ 5049330 h 5049330"/>
                <a:gd name="connsiteX1" fmla="*/ 69189 w 10181816"/>
                <a:gd name="connsiteY1" fmla="*/ 4775010 h 5049330"/>
                <a:gd name="connsiteX2" fmla="*/ 8229 w 10181816"/>
                <a:gd name="connsiteY2" fmla="*/ 3883470 h 5049330"/>
                <a:gd name="connsiteX3" fmla="*/ 609 w 10181816"/>
                <a:gd name="connsiteY3" fmla="*/ 2831910 h 5049330"/>
                <a:gd name="connsiteX4" fmla="*/ 8229 w 10181816"/>
                <a:gd name="connsiteY4" fmla="*/ 2466150 h 5049330"/>
                <a:gd name="connsiteX5" fmla="*/ 38709 w 10181816"/>
                <a:gd name="connsiteY5" fmla="*/ 2306130 h 5049330"/>
                <a:gd name="connsiteX6" fmla="*/ 343509 w 10181816"/>
                <a:gd name="connsiteY6" fmla="*/ 2108010 h 5049330"/>
                <a:gd name="connsiteX7" fmla="*/ 526389 w 10181816"/>
                <a:gd name="connsiteY7" fmla="*/ 1963230 h 5049330"/>
                <a:gd name="connsiteX8" fmla="*/ 762609 w 10181816"/>
                <a:gd name="connsiteY8" fmla="*/ 1787970 h 5049330"/>
                <a:gd name="connsiteX9" fmla="*/ 1494129 w 10181816"/>
                <a:gd name="connsiteY9" fmla="*/ 1231710 h 5049330"/>
                <a:gd name="connsiteX10" fmla="*/ 2263749 w 10181816"/>
                <a:gd name="connsiteY10" fmla="*/ 736410 h 5049330"/>
                <a:gd name="connsiteX11" fmla="*/ 2896209 w 10181816"/>
                <a:gd name="connsiteY11" fmla="*/ 393510 h 5049330"/>
                <a:gd name="connsiteX12" fmla="*/ 3810609 w 10181816"/>
                <a:gd name="connsiteY12" fmla="*/ 149670 h 5049330"/>
                <a:gd name="connsiteX13" fmla="*/ 5288889 w 10181816"/>
                <a:gd name="connsiteY13" fmla="*/ 20130 h 5049330"/>
                <a:gd name="connsiteX14" fmla="*/ 6203289 w 10181816"/>
                <a:gd name="connsiteY14" fmla="*/ 4890 h 5049330"/>
                <a:gd name="connsiteX15" fmla="*/ 7399629 w 10181816"/>
                <a:gd name="connsiteY15" fmla="*/ 65850 h 5049330"/>
                <a:gd name="connsiteX16" fmla="*/ 8474049 w 10181816"/>
                <a:gd name="connsiteY16" fmla="*/ 157290 h 5049330"/>
                <a:gd name="connsiteX17" fmla="*/ 9159849 w 10181816"/>
                <a:gd name="connsiteY17" fmla="*/ 302070 h 5049330"/>
                <a:gd name="connsiteX18" fmla="*/ 9723729 w 10181816"/>
                <a:gd name="connsiteY18" fmla="*/ 454470 h 5049330"/>
                <a:gd name="connsiteX19" fmla="*/ 10119969 w 10181816"/>
                <a:gd name="connsiteY19" fmla="*/ 713550 h 5049330"/>
                <a:gd name="connsiteX20" fmla="*/ 10165689 w 10181816"/>
                <a:gd name="connsiteY20" fmla="*/ 1071690 h 5049330"/>
                <a:gd name="connsiteX21" fmla="*/ 9967569 w 10181816"/>
                <a:gd name="connsiteY21" fmla="*/ 1475550 h 5049330"/>
                <a:gd name="connsiteX22" fmla="*/ 9472269 w 10181816"/>
                <a:gd name="connsiteY22" fmla="*/ 2077530 h 5049330"/>
                <a:gd name="connsiteX23" fmla="*/ 8954109 w 10181816"/>
                <a:gd name="connsiteY23" fmla="*/ 2740470 h 5049330"/>
                <a:gd name="connsiteX24" fmla="*/ 8367369 w 10181816"/>
                <a:gd name="connsiteY24" fmla="*/ 3525330 h 5049330"/>
                <a:gd name="connsiteX25" fmla="*/ 7826349 w 10181816"/>
                <a:gd name="connsiteY25" fmla="*/ 4317810 h 5049330"/>
                <a:gd name="connsiteX26" fmla="*/ 7498689 w 10181816"/>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5447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7733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3904"/>
                <a:gd name="connsiteY0" fmla="*/ 5049330 h 5049330"/>
                <a:gd name="connsiteX1" fmla="*/ 69189 w 10173904"/>
                <a:gd name="connsiteY1" fmla="*/ 4775010 h 5049330"/>
                <a:gd name="connsiteX2" fmla="*/ 8229 w 10173904"/>
                <a:gd name="connsiteY2" fmla="*/ 3883470 h 5049330"/>
                <a:gd name="connsiteX3" fmla="*/ 609 w 10173904"/>
                <a:gd name="connsiteY3" fmla="*/ 2831910 h 5049330"/>
                <a:gd name="connsiteX4" fmla="*/ 8229 w 10173904"/>
                <a:gd name="connsiteY4" fmla="*/ 2466150 h 5049330"/>
                <a:gd name="connsiteX5" fmla="*/ 38709 w 10173904"/>
                <a:gd name="connsiteY5" fmla="*/ 2306130 h 5049330"/>
                <a:gd name="connsiteX6" fmla="*/ 343509 w 10173904"/>
                <a:gd name="connsiteY6" fmla="*/ 2108010 h 5049330"/>
                <a:gd name="connsiteX7" fmla="*/ 526389 w 10173904"/>
                <a:gd name="connsiteY7" fmla="*/ 1963230 h 5049330"/>
                <a:gd name="connsiteX8" fmla="*/ 762609 w 10173904"/>
                <a:gd name="connsiteY8" fmla="*/ 1787970 h 5049330"/>
                <a:gd name="connsiteX9" fmla="*/ 1494129 w 10173904"/>
                <a:gd name="connsiteY9" fmla="*/ 1231710 h 5049330"/>
                <a:gd name="connsiteX10" fmla="*/ 2263749 w 10173904"/>
                <a:gd name="connsiteY10" fmla="*/ 736410 h 5049330"/>
                <a:gd name="connsiteX11" fmla="*/ 2896209 w 10173904"/>
                <a:gd name="connsiteY11" fmla="*/ 393510 h 5049330"/>
                <a:gd name="connsiteX12" fmla="*/ 3810609 w 10173904"/>
                <a:gd name="connsiteY12" fmla="*/ 149670 h 5049330"/>
                <a:gd name="connsiteX13" fmla="*/ 5288889 w 10173904"/>
                <a:gd name="connsiteY13" fmla="*/ 20130 h 5049330"/>
                <a:gd name="connsiteX14" fmla="*/ 6203289 w 10173904"/>
                <a:gd name="connsiteY14" fmla="*/ 4890 h 5049330"/>
                <a:gd name="connsiteX15" fmla="*/ 7399629 w 10173904"/>
                <a:gd name="connsiteY15" fmla="*/ 65850 h 5049330"/>
                <a:gd name="connsiteX16" fmla="*/ 8474049 w 10173904"/>
                <a:gd name="connsiteY16" fmla="*/ 157290 h 5049330"/>
                <a:gd name="connsiteX17" fmla="*/ 9159849 w 10173904"/>
                <a:gd name="connsiteY17" fmla="*/ 302070 h 5049330"/>
                <a:gd name="connsiteX18" fmla="*/ 9746589 w 10173904"/>
                <a:gd name="connsiteY18" fmla="*/ 469710 h 5049330"/>
                <a:gd name="connsiteX19" fmla="*/ 10097109 w 10173904"/>
                <a:gd name="connsiteY19" fmla="*/ 721170 h 5049330"/>
                <a:gd name="connsiteX20" fmla="*/ 10165689 w 10173904"/>
                <a:gd name="connsiteY20" fmla="*/ 1071690 h 5049330"/>
                <a:gd name="connsiteX21" fmla="*/ 9967569 w 10173904"/>
                <a:gd name="connsiteY21" fmla="*/ 1475550 h 5049330"/>
                <a:gd name="connsiteX22" fmla="*/ 9472269 w 10173904"/>
                <a:gd name="connsiteY22" fmla="*/ 2077530 h 5049330"/>
                <a:gd name="connsiteX23" fmla="*/ 8954109 w 10173904"/>
                <a:gd name="connsiteY23" fmla="*/ 2740470 h 5049330"/>
                <a:gd name="connsiteX24" fmla="*/ 8367369 w 10173904"/>
                <a:gd name="connsiteY24" fmla="*/ 3525330 h 5049330"/>
                <a:gd name="connsiteX25" fmla="*/ 7826349 w 10173904"/>
                <a:gd name="connsiteY25" fmla="*/ 4317810 h 5049330"/>
                <a:gd name="connsiteX26" fmla="*/ 7498689 w 10173904"/>
                <a:gd name="connsiteY26" fmla="*/ 4790250 h 504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173904" h="5049330">
                  <a:moveTo>
                    <a:pt x="160629" y="5049330"/>
                  </a:moveTo>
                  <a:cubicBezTo>
                    <a:pt x="127609" y="5009325"/>
                    <a:pt x="94589" y="4969320"/>
                    <a:pt x="69189" y="4775010"/>
                  </a:cubicBezTo>
                  <a:cubicBezTo>
                    <a:pt x="43789" y="4580700"/>
                    <a:pt x="19659" y="4207320"/>
                    <a:pt x="8229" y="3883470"/>
                  </a:cubicBezTo>
                  <a:cubicBezTo>
                    <a:pt x="-3201" y="3559620"/>
                    <a:pt x="609" y="3068130"/>
                    <a:pt x="609" y="2831910"/>
                  </a:cubicBezTo>
                  <a:cubicBezTo>
                    <a:pt x="609" y="2595690"/>
                    <a:pt x="1879" y="2553780"/>
                    <a:pt x="8229" y="2466150"/>
                  </a:cubicBezTo>
                  <a:cubicBezTo>
                    <a:pt x="14579" y="2378520"/>
                    <a:pt x="-17171" y="2365820"/>
                    <a:pt x="38709" y="2306130"/>
                  </a:cubicBezTo>
                  <a:cubicBezTo>
                    <a:pt x="94589" y="2246440"/>
                    <a:pt x="262229" y="2165160"/>
                    <a:pt x="343509" y="2108010"/>
                  </a:cubicBezTo>
                  <a:cubicBezTo>
                    <a:pt x="424789" y="2050860"/>
                    <a:pt x="456539" y="2016570"/>
                    <a:pt x="526389" y="1963230"/>
                  </a:cubicBezTo>
                  <a:cubicBezTo>
                    <a:pt x="596239" y="1909890"/>
                    <a:pt x="762609" y="1787970"/>
                    <a:pt x="762609" y="1787970"/>
                  </a:cubicBezTo>
                  <a:cubicBezTo>
                    <a:pt x="923899" y="1666050"/>
                    <a:pt x="1243939" y="1406970"/>
                    <a:pt x="1494129" y="1231710"/>
                  </a:cubicBezTo>
                  <a:cubicBezTo>
                    <a:pt x="1744319" y="1056450"/>
                    <a:pt x="2030069" y="876110"/>
                    <a:pt x="2263749" y="736410"/>
                  </a:cubicBezTo>
                  <a:cubicBezTo>
                    <a:pt x="2497429" y="596710"/>
                    <a:pt x="2638399" y="491300"/>
                    <a:pt x="2896209" y="393510"/>
                  </a:cubicBezTo>
                  <a:cubicBezTo>
                    <a:pt x="3154019" y="295720"/>
                    <a:pt x="3411829" y="211900"/>
                    <a:pt x="3810609" y="149670"/>
                  </a:cubicBezTo>
                  <a:cubicBezTo>
                    <a:pt x="4209389" y="87440"/>
                    <a:pt x="4890109" y="44260"/>
                    <a:pt x="5288889" y="20130"/>
                  </a:cubicBezTo>
                  <a:cubicBezTo>
                    <a:pt x="5687669" y="-4000"/>
                    <a:pt x="5851499" y="-2730"/>
                    <a:pt x="6203289" y="4890"/>
                  </a:cubicBezTo>
                  <a:cubicBezTo>
                    <a:pt x="6555079" y="12510"/>
                    <a:pt x="7021169" y="40450"/>
                    <a:pt x="7399629" y="65850"/>
                  </a:cubicBezTo>
                  <a:cubicBezTo>
                    <a:pt x="7778089" y="91250"/>
                    <a:pt x="8180679" y="117920"/>
                    <a:pt x="8474049" y="157290"/>
                  </a:cubicBezTo>
                  <a:cubicBezTo>
                    <a:pt x="8767419" y="196660"/>
                    <a:pt x="8947759" y="250000"/>
                    <a:pt x="9159849" y="302070"/>
                  </a:cubicBezTo>
                  <a:cubicBezTo>
                    <a:pt x="9371939" y="354140"/>
                    <a:pt x="9590379" y="399860"/>
                    <a:pt x="9746589" y="469710"/>
                  </a:cubicBezTo>
                  <a:cubicBezTo>
                    <a:pt x="9902799" y="539560"/>
                    <a:pt x="10027259" y="620840"/>
                    <a:pt x="10097109" y="721170"/>
                  </a:cubicBezTo>
                  <a:cubicBezTo>
                    <a:pt x="10166959" y="821500"/>
                    <a:pt x="10187279" y="945960"/>
                    <a:pt x="10165689" y="1071690"/>
                  </a:cubicBezTo>
                  <a:cubicBezTo>
                    <a:pt x="10144099" y="1197420"/>
                    <a:pt x="10083139" y="1307910"/>
                    <a:pt x="9967569" y="1475550"/>
                  </a:cubicBezTo>
                  <a:cubicBezTo>
                    <a:pt x="9851999" y="1643190"/>
                    <a:pt x="9641179" y="1866710"/>
                    <a:pt x="9472269" y="2077530"/>
                  </a:cubicBezTo>
                  <a:cubicBezTo>
                    <a:pt x="9303359" y="2288350"/>
                    <a:pt x="9138259" y="2499170"/>
                    <a:pt x="8954109" y="2740470"/>
                  </a:cubicBezTo>
                  <a:cubicBezTo>
                    <a:pt x="8769959" y="2981770"/>
                    <a:pt x="8555329" y="3262440"/>
                    <a:pt x="8367369" y="3525330"/>
                  </a:cubicBezTo>
                  <a:cubicBezTo>
                    <a:pt x="8179409" y="3788220"/>
                    <a:pt x="7971129" y="4106990"/>
                    <a:pt x="7826349" y="4317810"/>
                  </a:cubicBezTo>
                  <a:cubicBezTo>
                    <a:pt x="7681569" y="4528630"/>
                    <a:pt x="7592034" y="4660075"/>
                    <a:pt x="7498689" y="479025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p:cNvSpPr/>
            <p:nvPr/>
          </p:nvSpPr>
          <p:spPr bwMode="auto">
            <a:xfrm>
              <a:off x="7490144" y="2231053"/>
              <a:ext cx="452609" cy="10287"/>
            </a:xfrm>
            <a:custGeom>
              <a:avLst/>
              <a:gdLst>
                <a:gd name="connsiteX0" fmla="*/ 0 w 1341120"/>
                <a:gd name="connsiteY0" fmla="*/ 30480 h 30480"/>
                <a:gd name="connsiteX1" fmla="*/ 1341120 w 1341120"/>
                <a:gd name="connsiteY1" fmla="*/ 0 h 30480"/>
              </a:gdLst>
              <a:ahLst/>
              <a:cxnLst>
                <a:cxn ang="0">
                  <a:pos x="connsiteX0" y="connsiteY0"/>
                </a:cxn>
                <a:cxn ang="0">
                  <a:pos x="connsiteX1" y="connsiteY1"/>
                </a:cxn>
              </a:cxnLst>
              <a:rect l="l" t="t" r="r" b="b"/>
              <a:pathLst>
                <a:path w="1341120" h="30480">
                  <a:moveTo>
                    <a:pt x="0" y="30480"/>
                  </a:moveTo>
                  <a:lnTo>
                    <a:pt x="1341120"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p:cNvSpPr/>
            <p:nvPr/>
          </p:nvSpPr>
          <p:spPr bwMode="auto">
            <a:xfrm>
              <a:off x="6635501" y="1727011"/>
              <a:ext cx="1366740" cy="495470"/>
            </a:xfrm>
            <a:custGeom>
              <a:avLst/>
              <a:gdLst>
                <a:gd name="connsiteX0" fmla="*/ 0 w 4054145"/>
                <a:gd name="connsiteY0" fmla="*/ 0 h 1468120"/>
                <a:gd name="connsiteX1" fmla="*/ 772160 w 4054145"/>
                <a:gd name="connsiteY1" fmla="*/ 30480 h 1468120"/>
                <a:gd name="connsiteX2" fmla="*/ 1945640 w 4054145"/>
                <a:gd name="connsiteY2" fmla="*/ 111760 h 1468120"/>
                <a:gd name="connsiteX3" fmla="*/ 3058160 w 4054145"/>
                <a:gd name="connsiteY3" fmla="*/ 294640 h 1468120"/>
                <a:gd name="connsiteX4" fmla="*/ 3825240 w 4054145"/>
                <a:gd name="connsiteY4" fmla="*/ 533400 h 1468120"/>
                <a:gd name="connsiteX5" fmla="*/ 4043680 w 4054145"/>
                <a:gd name="connsiteY5" fmla="*/ 711200 h 1468120"/>
                <a:gd name="connsiteX6" fmla="*/ 3987800 w 4054145"/>
                <a:gd name="connsiteY6" fmla="*/ 1071880 h 1468120"/>
                <a:gd name="connsiteX7" fmla="*/ 3713480 w 4054145"/>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7431"/>
                <a:gd name="connsiteY0" fmla="*/ 0 h 1468120"/>
                <a:gd name="connsiteX1" fmla="*/ 772160 w 4047431"/>
                <a:gd name="connsiteY1" fmla="*/ 30480 h 1468120"/>
                <a:gd name="connsiteX2" fmla="*/ 1945640 w 4047431"/>
                <a:gd name="connsiteY2" fmla="*/ 111760 h 1468120"/>
                <a:gd name="connsiteX3" fmla="*/ 3058160 w 4047431"/>
                <a:gd name="connsiteY3" fmla="*/ 294640 h 1468120"/>
                <a:gd name="connsiteX4" fmla="*/ 3825240 w 4047431"/>
                <a:gd name="connsiteY4" fmla="*/ 533400 h 1468120"/>
                <a:gd name="connsiteX5" fmla="*/ 4038600 w 4047431"/>
                <a:gd name="connsiteY5" fmla="*/ 751840 h 1468120"/>
                <a:gd name="connsiteX6" fmla="*/ 3977640 w 4047431"/>
                <a:gd name="connsiteY6" fmla="*/ 1066800 h 1468120"/>
                <a:gd name="connsiteX7" fmla="*/ 3713480 w 4047431"/>
                <a:gd name="connsiteY7" fmla="*/ 1468120 h 1468120"/>
                <a:gd name="connsiteX0" fmla="*/ 0 w 4049769"/>
                <a:gd name="connsiteY0" fmla="*/ 0 h 1468120"/>
                <a:gd name="connsiteX1" fmla="*/ 772160 w 4049769"/>
                <a:gd name="connsiteY1" fmla="*/ 30480 h 1468120"/>
                <a:gd name="connsiteX2" fmla="*/ 1945640 w 4049769"/>
                <a:gd name="connsiteY2" fmla="*/ 111760 h 1468120"/>
                <a:gd name="connsiteX3" fmla="*/ 3058160 w 4049769"/>
                <a:gd name="connsiteY3" fmla="*/ 294640 h 1468120"/>
                <a:gd name="connsiteX4" fmla="*/ 3825240 w 4049769"/>
                <a:gd name="connsiteY4" fmla="*/ 533400 h 1468120"/>
                <a:gd name="connsiteX5" fmla="*/ 4038600 w 4049769"/>
                <a:gd name="connsiteY5" fmla="*/ 751840 h 1468120"/>
                <a:gd name="connsiteX6" fmla="*/ 3977640 w 4049769"/>
                <a:gd name="connsiteY6" fmla="*/ 1066800 h 1468120"/>
                <a:gd name="connsiteX7" fmla="*/ 3713480 w 4049769"/>
                <a:gd name="connsiteY7"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9769" h="1468120">
                  <a:moveTo>
                    <a:pt x="0" y="0"/>
                  </a:moveTo>
                  <a:cubicBezTo>
                    <a:pt x="223943" y="5926"/>
                    <a:pt x="447887" y="11853"/>
                    <a:pt x="772160" y="30480"/>
                  </a:cubicBezTo>
                  <a:cubicBezTo>
                    <a:pt x="1096433" y="49107"/>
                    <a:pt x="1564640" y="67733"/>
                    <a:pt x="1945640" y="111760"/>
                  </a:cubicBezTo>
                  <a:cubicBezTo>
                    <a:pt x="2326640" y="155787"/>
                    <a:pt x="2744893" y="224367"/>
                    <a:pt x="3058160" y="294640"/>
                  </a:cubicBezTo>
                  <a:cubicBezTo>
                    <a:pt x="3371427" y="364913"/>
                    <a:pt x="3666913" y="436880"/>
                    <a:pt x="3825240" y="533400"/>
                  </a:cubicBezTo>
                  <a:cubicBezTo>
                    <a:pt x="3983567" y="629920"/>
                    <a:pt x="4013200" y="662940"/>
                    <a:pt x="4038600" y="751840"/>
                  </a:cubicBezTo>
                  <a:cubicBezTo>
                    <a:pt x="4064000" y="840740"/>
                    <a:pt x="4047067" y="952500"/>
                    <a:pt x="3977640" y="1066800"/>
                  </a:cubicBezTo>
                  <a:cubicBezTo>
                    <a:pt x="3908213" y="1181100"/>
                    <a:pt x="3823123" y="1333076"/>
                    <a:pt x="3713480" y="146812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p:cNvSpPr/>
            <p:nvPr/>
          </p:nvSpPr>
          <p:spPr bwMode="auto">
            <a:xfrm>
              <a:off x="6539493" y="1723583"/>
              <a:ext cx="97722" cy="545188"/>
            </a:xfrm>
            <a:custGeom>
              <a:avLst/>
              <a:gdLst>
                <a:gd name="connsiteX0" fmla="*/ 289560 w 289560"/>
                <a:gd name="connsiteY0" fmla="*/ 0 h 1615440"/>
                <a:gd name="connsiteX1" fmla="*/ 0 w 289560"/>
                <a:gd name="connsiteY1" fmla="*/ 1615440 h 1615440"/>
              </a:gdLst>
              <a:ahLst/>
              <a:cxnLst>
                <a:cxn ang="0">
                  <a:pos x="connsiteX0" y="connsiteY0"/>
                </a:cxn>
                <a:cxn ang="0">
                  <a:pos x="connsiteX1" y="connsiteY1"/>
                </a:cxn>
              </a:cxnLst>
              <a:rect l="l" t="t" r="r" b="b"/>
              <a:pathLst>
                <a:path w="289560" h="1615440">
                  <a:moveTo>
                    <a:pt x="289560" y="0"/>
                  </a:moveTo>
                  <a:lnTo>
                    <a:pt x="0" y="161544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p:cNvSpPr/>
            <p:nvPr/>
          </p:nvSpPr>
          <p:spPr bwMode="auto">
            <a:xfrm>
              <a:off x="6254417" y="1688671"/>
              <a:ext cx="295207" cy="1673905"/>
            </a:xfrm>
            <a:custGeom>
              <a:avLst/>
              <a:gdLst>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1995054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73381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723" h="4959927">
                  <a:moveTo>
                    <a:pt x="874723" y="0"/>
                  </a:moveTo>
                  <a:cubicBezTo>
                    <a:pt x="718859" y="615373"/>
                    <a:pt x="562996" y="1228436"/>
                    <a:pt x="486796" y="1524000"/>
                  </a:cubicBezTo>
                  <a:cubicBezTo>
                    <a:pt x="410596" y="1819564"/>
                    <a:pt x="456778" y="1691408"/>
                    <a:pt x="417523" y="1773381"/>
                  </a:cubicBezTo>
                  <a:cubicBezTo>
                    <a:pt x="378268" y="1855354"/>
                    <a:pt x="292833" y="1914236"/>
                    <a:pt x="251269" y="2015836"/>
                  </a:cubicBezTo>
                  <a:cubicBezTo>
                    <a:pt x="209705" y="2117436"/>
                    <a:pt x="200468" y="2102428"/>
                    <a:pt x="168141" y="2382982"/>
                  </a:cubicBezTo>
                  <a:cubicBezTo>
                    <a:pt x="135814" y="2663536"/>
                    <a:pt x="85014" y="3336636"/>
                    <a:pt x="57305" y="3699163"/>
                  </a:cubicBezTo>
                  <a:cubicBezTo>
                    <a:pt x="29596" y="4061690"/>
                    <a:pt x="8814" y="4371109"/>
                    <a:pt x="1887" y="4558145"/>
                  </a:cubicBezTo>
                  <a:cubicBezTo>
                    <a:pt x="-5040" y="4745182"/>
                    <a:pt x="8814" y="4754418"/>
                    <a:pt x="15741" y="4821382"/>
                  </a:cubicBezTo>
                  <a:cubicBezTo>
                    <a:pt x="22668" y="4888346"/>
                    <a:pt x="33059" y="4924136"/>
                    <a:pt x="43450" y="495992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p:cNvSpPr/>
            <p:nvPr/>
          </p:nvSpPr>
          <p:spPr bwMode="auto">
            <a:xfrm>
              <a:off x="8424976" y="1751402"/>
              <a:ext cx="215083" cy="135596"/>
            </a:xfrm>
            <a:custGeom>
              <a:avLst/>
              <a:gdLst>
                <a:gd name="connsiteX0" fmla="*/ 540327 w 637309"/>
                <a:gd name="connsiteY0" fmla="*/ 0 h 401782"/>
                <a:gd name="connsiteX1" fmla="*/ 0 w 637309"/>
                <a:gd name="connsiteY1" fmla="*/ 401782 h 401782"/>
                <a:gd name="connsiteX2" fmla="*/ 637309 w 637309"/>
                <a:gd name="connsiteY2" fmla="*/ 48491 h 401782"/>
              </a:gdLst>
              <a:ahLst/>
              <a:cxnLst>
                <a:cxn ang="0">
                  <a:pos x="connsiteX0" y="connsiteY0"/>
                </a:cxn>
                <a:cxn ang="0">
                  <a:pos x="connsiteX1" y="connsiteY1"/>
                </a:cxn>
                <a:cxn ang="0">
                  <a:pos x="connsiteX2" y="connsiteY2"/>
                </a:cxn>
              </a:cxnLst>
              <a:rect l="l" t="t" r="r" b="b"/>
              <a:pathLst>
                <a:path w="637309" h="401782">
                  <a:moveTo>
                    <a:pt x="540327" y="0"/>
                  </a:moveTo>
                  <a:lnTo>
                    <a:pt x="0" y="401782"/>
                  </a:lnTo>
                  <a:lnTo>
                    <a:pt x="637309" y="48491"/>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p:cNvSpPr/>
            <p:nvPr/>
          </p:nvSpPr>
          <p:spPr bwMode="auto">
            <a:xfrm>
              <a:off x="5430957" y="1754131"/>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p:cNvSpPr/>
            <p:nvPr/>
          </p:nvSpPr>
          <p:spPr bwMode="auto">
            <a:xfrm>
              <a:off x="4459580" y="2308202"/>
              <a:ext cx="266516" cy="23671"/>
            </a:xfrm>
            <a:custGeom>
              <a:avLst/>
              <a:gdLst>
                <a:gd name="connsiteX0" fmla="*/ 0 w 789709"/>
                <a:gd name="connsiteY0" fmla="*/ 0 h 70138"/>
                <a:gd name="connsiteX1" fmla="*/ 263237 w 789709"/>
                <a:gd name="connsiteY1" fmla="*/ 48491 h 70138"/>
                <a:gd name="connsiteX2" fmla="*/ 505691 w 789709"/>
                <a:gd name="connsiteY2" fmla="*/ 69273 h 70138"/>
                <a:gd name="connsiteX3" fmla="*/ 651164 w 789709"/>
                <a:gd name="connsiteY3" fmla="*/ 62345 h 70138"/>
                <a:gd name="connsiteX4" fmla="*/ 789709 w 789709"/>
                <a:gd name="connsiteY4" fmla="*/ 27709 h 7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709" h="70138">
                  <a:moveTo>
                    <a:pt x="0" y="0"/>
                  </a:moveTo>
                  <a:cubicBezTo>
                    <a:pt x="89477" y="18473"/>
                    <a:pt x="178955" y="36946"/>
                    <a:pt x="263237" y="48491"/>
                  </a:cubicBezTo>
                  <a:cubicBezTo>
                    <a:pt x="347519" y="60037"/>
                    <a:pt x="441037" y="66964"/>
                    <a:pt x="505691" y="69273"/>
                  </a:cubicBezTo>
                  <a:cubicBezTo>
                    <a:pt x="570345" y="71582"/>
                    <a:pt x="603828" y="69272"/>
                    <a:pt x="651164" y="62345"/>
                  </a:cubicBezTo>
                  <a:cubicBezTo>
                    <a:pt x="698500" y="55418"/>
                    <a:pt x="744104" y="41563"/>
                    <a:pt x="789709" y="2770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Shape 115"/>
            <p:cNvSpPr/>
            <p:nvPr/>
          </p:nvSpPr>
          <p:spPr bwMode="auto">
            <a:xfrm>
              <a:off x="5842212" y="1565024"/>
              <a:ext cx="824779" cy="100213"/>
            </a:xfrm>
            <a:custGeom>
              <a:avLst/>
              <a:gdLst>
                <a:gd name="connsiteX0" fmla="*/ 80711 w 2509424"/>
                <a:gd name="connsiteY0" fmla="*/ 124691 h 264113"/>
                <a:gd name="connsiteX1" fmla="*/ 4511 w 2509424"/>
                <a:gd name="connsiteY1" fmla="*/ 235527 h 264113"/>
                <a:gd name="connsiteX2" fmla="*/ 198474 w 2509424"/>
                <a:gd name="connsiteY2" fmla="*/ 256309 h 264113"/>
                <a:gd name="connsiteX3" fmla="*/ 1154438 w 2509424"/>
                <a:gd name="connsiteY3" fmla="*/ 124691 h 264113"/>
                <a:gd name="connsiteX4" fmla="*/ 1909511 w 2509424"/>
                <a:gd name="connsiteY4" fmla="*/ 83127 h 264113"/>
                <a:gd name="connsiteX5" fmla="*/ 2456765 w 2509424"/>
                <a:gd name="connsiteY5" fmla="*/ 69272 h 264113"/>
                <a:gd name="connsiteX6" fmla="*/ 2456765 w 2509424"/>
                <a:gd name="connsiteY6" fmla="*/ 0 h 264113"/>
                <a:gd name="connsiteX0" fmla="*/ 81678 w 2510391"/>
                <a:gd name="connsiteY0" fmla="*/ 124691 h 251670"/>
                <a:gd name="connsiteX1" fmla="*/ 5478 w 2510391"/>
                <a:gd name="connsiteY1" fmla="*/ 235527 h 251670"/>
                <a:gd name="connsiteX2" fmla="*/ 216374 w 2510391"/>
                <a:gd name="connsiteY2" fmla="*/ 239376 h 251670"/>
                <a:gd name="connsiteX3" fmla="*/ 1155405 w 2510391"/>
                <a:gd name="connsiteY3" fmla="*/ 124691 h 251670"/>
                <a:gd name="connsiteX4" fmla="*/ 1910478 w 2510391"/>
                <a:gd name="connsiteY4" fmla="*/ 83127 h 251670"/>
                <a:gd name="connsiteX5" fmla="*/ 2457732 w 2510391"/>
                <a:gd name="connsiteY5" fmla="*/ 69272 h 251670"/>
                <a:gd name="connsiteX6" fmla="*/ 2457732 w 2510391"/>
                <a:gd name="connsiteY6" fmla="*/ 0 h 251670"/>
                <a:gd name="connsiteX0" fmla="*/ 66366 w 2495079"/>
                <a:gd name="connsiteY0" fmla="*/ 124691 h 265591"/>
                <a:gd name="connsiteX1" fmla="*/ 7099 w 2495079"/>
                <a:gd name="connsiteY1" fmla="*/ 256693 h 265591"/>
                <a:gd name="connsiteX2" fmla="*/ 201062 w 2495079"/>
                <a:gd name="connsiteY2" fmla="*/ 239376 h 265591"/>
                <a:gd name="connsiteX3" fmla="*/ 1140093 w 2495079"/>
                <a:gd name="connsiteY3" fmla="*/ 124691 h 265591"/>
                <a:gd name="connsiteX4" fmla="*/ 1895166 w 2495079"/>
                <a:gd name="connsiteY4" fmla="*/ 83127 h 265591"/>
                <a:gd name="connsiteX5" fmla="*/ 2442420 w 2495079"/>
                <a:gd name="connsiteY5" fmla="*/ 69272 h 265591"/>
                <a:gd name="connsiteX6" fmla="*/ 2442420 w 2495079"/>
                <a:gd name="connsiteY6" fmla="*/ 0 h 265591"/>
                <a:gd name="connsiteX0" fmla="*/ 81678 w 2510391"/>
                <a:gd name="connsiteY0" fmla="*/ 124691 h 259298"/>
                <a:gd name="connsiteX1" fmla="*/ 5478 w 2510391"/>
                <a:gd name="connsiteY1" fmla="*/ 248227 h 259298"/>
                <a:gd name="connsiteX2" fmla="*/ 216374 w 2510391"/>
                <a:gd name="connsiteY2" fmla="*/ 239376 h 259298"/>
                <a:gd name="connsiteX3" fmla="*/ 1155405 w 2510391"/>
                <a:gd name="connsiteY3" fmla="*/ 124691 h 259298"/>
                <a:gd name="connsiteX4" fmla="*/ 1910478 w 2510391"/>
                <a:gd name="connsiteY4" fmla="*/ 83127 h 259298"/>
                <a:gd name="connsiteX5" fmla="*/ 2457732 w 2510391"/>
                <a:gd name="connsiteY5" fmla="*/ 69272 h 259298"/>
                <a:gd name="connsiteX6" fmla="*/ 2457732 w 2510391"/>
                <a:gd name="connsiteY6" fmla="*/ 0 h 259298"/>
                <a:gd name="connsiteX0" fmla="*/ 88022 w 2516735"/>
                <a:gd name="connsiteY0" fmla="*/ 124691 h 266697"/>
                <a:gd name="connsiteX1" fmla="*/ 11822 w 2516735"/>
                <a:gd name="connsiteY1" fmla="*/ 248227 h 266697"/>
                <a:gd name="connsiteX2" fmla="*/ 222718 w 2516735"/>
                <a:gd name="connsiteY2" fmla="*/ 239376 h 266697"/>
                <a:gd name="connsiteX3" fmla="*/ 1161749 w 2516735"/>
                <a:gd name="connsiteY3" fmla="*/ 124691 h 266697"/>
                <a:gd name="connsiteX4" fmla="*/ 1916822 w 2516735"/>
                <a:gd name="connsiteY4" fmla="*/ 83127 h 266697"/>
                <a:gd name="connsiteX5" fmla="*/ 2464076 w 2516735"/>
                <a:gd name="connsiteY5" fmla="*/ 69272 h 266697"/>
                <a:gd name="connsiteX6" fmla="*/ 2464076 w 2516735"/>
                <a:gd name="connsiteY6" fmla="*/ 0 h 266697"/>
                <a:gd name="connsiteX0" fmla="*/ 73359 w 2502072"/>
                <a:gd name="connsiteY0" fmla="*/ 124691 h 263667"/>
                <a:gd name="connsiteX1" fmla="*/ 14092 w 2502072"/>
                <a:gd name="connsiteY1" fmla="*/ 243993 h 263667"/>
                <a:gd name="connsiteX2" fmla="*/ 208055 w 2502072"/>
                <a:gd name="connsiteY2" fmla="*/ 239376 h 263667"/>
                <a:gd name="connsiteX3" fmla="*/ 1147086 w 2502072"/>
                <a:gd name="connsiteY3" fmla="*/ 124691 h 263667"/>
                <a:gd name="connsiteX4" fmla="*/ 1902159 w 2502072"/>
                <a:gd name="connsiteY4" fmla="*/ 83127 h 263667"/>
                <a:gd name="connsiteX5" fmla="*/ 2449413 w 2502072"/>
                <a:gd name="connsiteY5" fmla="*/ 69272 h 263667"/>
                <a:gd name="connsiteX6" fmla="*/ 2449413 w 2502072"/>
                <a:gd name="connsiteY6" fmla="*/ 0 h 263667"/>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83127 h 263073"/>
                <a:gd name="connsiteX5" fmla="*/ 2449413 w 2502072"/>
                <a:gd name="connsiteY5" fmla="*/ 69272 h 263073"/>
                <a:gd name="connsiteX6" fmla="*/ 2449413 w 2502072"/>
                <a:gd name="connsiteY6" fmla="*/ 0 h 263073"/>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95827 h 263073"/>
                <a:gd name="connsiteX5" fmla="*/ 2449413 w 2502072"/>
                <a:gd name="connsiteY5" fmla="*/ 69272 h 263073"/>
                <a:gd name="connsiteX6" fmla="*/ 2449413 w 2502072"/>
                <a:gd name="connsiteY6" fmla="*/ 0 h 263073"/>
                <a:gd name="connsiteX0" fmla="*/ 73359 w 2471318"/>
                <a:gd name="connsiteY0" fmla="*/ 124691 h 263073"/>
                <a:gd name="connsiteX1" fmla="*/ 14092 w 2471318"/>
                <a:gd name="connsiteY1" fmla="*/ 243993 h 263073"/>
                <a:gd name="connsiteX2" fmla="*/ 208055 w 2471318"/>
                <a:gd name="connsiteY2" fmla="*/ 239376 h 263073"/>
                <a:gd name="connsiteX3" fmla="*/ 1155553 w 2471318"/>
                <a:gd name="connsiteY3" fmla="*/ 137391 h 263073"/>
                <a:gd name="connsiteX4" fmla="*/ 1902159 w 2471318"/>
                <a:gd name="connsiteY4" fmla="*/ 95827 h 263073"/>
                <a:gd name="connsiteX5" fmla="*/ 2377446 w 2471318"/>
                <a:gd name="connsiteY5" fmla="*/ 86205 h 263073"/>
                <a:gd name="connsiteX6" fmla="*/ 2449413 w 2471318"/>
                <a:gd name="connsiteY6" fmla="*/ 0 h 263073"/>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3893" h="296940">
                  <a:moveTo>
                    <a:pt x="73359" y="158558"/>
                  </a:moveTo>
                  <a:cubicBezTo>
                    <a:pt x="25445" y="203008"/>
                    <a:pt x="-25290" y="241813"/>
                    <a:pt x="14092" y="277860"/>
                  </a:cubicBezTo>
                  <a:cubicBezTo>
                    <a:pt x="53474" y="313907"/>
                    <a:pt x="17811" y="291010"/>
                    <a:pt x="208055" y="273243"/>
                  </a:cubicBezTo>
                  <a:cubicBezTo>
                    <a:pt x="398299" y="255476"/>
                    <a:pt x="873202" y="195183"/>
                    <a:pt x="1155553" y="171258"/>
                  </a:cubicBezTo>
                  <a:cubicBezTo>
                    <a:pt x="1437904" y="147333"/>
                    <a:pt x="1698510" y="138225"/>
                    <a:pt x="1902159" y="129694"/>
                  </a:cubicBezTo>
                  <a:cubicBezTo>
                    <a:pt x="2105808" y="121163"/>
                    <a:pt x="2292587" y="124755"/>
                    <a:pt x="2377446" y="120072"/>
                  </a:cubicBezTo>
                  <a:cubicBezTo>
                    <a:pt x="2462305" y="115389"/>
                    <a:pt x="2456916" y="27709"/>
                    <a:pt x="2411312"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Shape 116"/>
            <p:cNvSpPr/>
            <p:nvPr/>
          </p:nvSpPr>
          <p:spPr bwMode="auto">
            <a:xfrm>
              <a:off x="5482392" y="1723583"/>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8" name="Freeform: Shape 117"/>
            <p:cNvSpPr/>
            <p:nvPr/>
          </p:nvSpPr>
          <p:spPr bwMode="auto">
            <a:xfrm>
              <a:off x="5504532" y="1711248"/>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9" name="Freeform: Shape 118"/>
            <p:cNvSpPr/>
            <p:nvPr/>
          </p:nvSpPr>
          <p:spPr bwMode="auto">
            <a:xfrm>
              <a:off x="5008226" y="2262127"/>
              <a:ext cx="44598" cy="86436"/>
            </a:xfrm>
            <a:custGeom>
              <a:avLst/>
              <a:gdLst>
                <a:gd name="connsiteX0" fmla="*/ 120135 w 120135"/>
                <a:gd name="connsiteY0" fmla="*/ 0 h 211667"/>
                <a:gd name="connsiteX1" fmla="*/ 5835 w 120135"/>
                <a:gd name="connsiteY1" fmla="*/ 97367 h 211667"/>
                <a:gd name="connsiteX2" fmla="*/ 27002 w 120135"/>
                <a:gd name="connsiteY2" fmla="*/ 182034 h 211667"/>
                <a:gd name="connsiteX3" fmla="*/ 115902 w 120135"/>
                <a:gd name="connsiteY3" fmla="*/ 211667 h 211667"/>
              </a:gdLst>
              <a:ahLst/>
              <a:cxnLst>
                <a:cxn ang="0">
                  <a:pos x="connsiteX0" y="connsiteY0"/>
                </a:cxn>
                <a:cxn ang="0">
                  <a:pos x="connsiteX1" y="connsiteY1"/>
                </a:cxn>
                <a:cxn ang="0">
                  <a:pos x="connsiteX2" y="connsiteY2"/>
                </a:cxn>
                <a:cxn ang="0">
                  <a:pos x="connsiteX3" y="connsiteY3"/>
                </a:cxn>
              </a:cxnLst>
              <a:rect l="l" t="t" r="r" b="b"/>
              <a:pathLst>
                <a:path w="120135" h="211667">
                  <a:moveTo>
                    <a:pt x="120135" y="0"/>
                  </a:moveTo>
                  <a:cubicBezTo>
                    <a:pt x="70746" y="33514"/>
                    <a:pt x="21357" y="67028"/>
                    <a:pt x="5835" y="97367"/>
                  </a:cubicBezTo>
                  <a:cubicBezTo>
                    <a:pt x="-9687" y="127706"/>
                    <a:pt x="8658" y="162984"/>
                    <a:pt x="27002" y="182034"/>
                  </a:cubicBezTo>
                  <a:cubicBezTo>
                    <a:pt x="45346" y="201084"/>
                    <a:pt x="80624" y="206375"/>
                    <a:pt x="115902" y="21166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0" name="Freeform: Shape 119"/>
            <p:cNvSpPr/>
            <p:nvPr/>
          </p:nvSpPr>
          <p:spPr bwMode="auto">
            <a:xfrm>
              <a:off x="5044737" y="2119534"/>
              <a:ext cx="288791" cy="215915"/>
            </a:xfrm>
            <a:custGeom>
              <a:avLst/>
              <a:gdLst>
                <a:gd name="connsiteX0" fmla="*/ 1026 w 880224"/>
                <a:gd name="connsiteY0" fmla="*/ 224608 h 639520"/>
                <a:gd name="connsiteX1" fmla="*/ 30660 w 880224"/>
                <a:gd name="connsiteY1" fmla="*/ 423574 h 639520"/>
                <a:gd name="connsiteX2" fmla="*/ 204226 w 880224"/>
                <a:gd name="connsiteY2" fmla="*/ 597141 h 639520"/>
                <a:gd name="connsiteX3" fmla="*/ 403193 w 880224"/>
                <a:gd name="connsiteY3" fmla="*/ 639474 h 639520"/>
                <a:gd name="connsiteX4" fmla="*/ 712226 w 880224"/>
                <a:gd name="connsiteY4" fmla="*/ 592908 h 639520"/>
                <a:gd name="connsiteX5" fmla="*/ 873093 w 880224"/>
                <a:gd name="connsiteY5" fmla="*/ 398174 h 639520"/>
                <a:gd name="connsiteX6" fmla="*/ 839226 w 880224"/>
                <a:gd name="connsiteY6" fmla="*/ 190741 h 639520"/>
                <a:gd name="connsiteX7" fmla="*/ 724926 w 880224"/>
                <a:gd name="connsiteY7" fmla="*/ 51041 h 639520"/>
                <a:gd name="connsiteX8" fmla="*/ 564060 w 880224"/>
                <a:gd name="connsiteY8" fmla="*/ 241 h 639520"/>
                <a:gd name="connsiteX9" fmla="*/ 382026 w 880224"/>
                <a:gd name="connsiteY9" fmla="*/ 34108 h 639520"/>
                <a:gd name="connsiteX10" fmla="*/ 255026 w 880224"/>
                <a:gd name="connsiteY10" fmla="*/ 84908 h 639520"/>
                <a:gd name="connsiteX0" fmla="*/ 1026 w 866038"/>
                <a:gd name="connsiteY0" fmla="*/ 224608 h 639520"/>
                <a:gd name="connsiteX1" fmla="*/ 30660 w 866038"/>
                <a:gd name="connsiteY1" fmla="*/ 423574 h 639520"/>
                <a:gd name="connsiteX2" fmla="*/ 204226 w 866038"/>
                <a:gd name="connsiteY2" fmla="*/ 597141 h 639520"/>
                <a:gd name="connsiteX3" fmla="*/ 403193 w 866038"/>
                <a:gd name="connsiteY3" fmla="*/ 639474 h 639520"/>
                <a:gd name="connsiteX4" fmla="*/ 712226 w 866038"/>
                <a:gd name="connsiteY4" fmla="*/ 592908 h 639520"/>
                <a:gd name="connsiteX5" fmla="*/ 856159 w 866038"/>
                <a:gd name="connsiteY5" fmla="*/ 398174 h 639520"/>
                <a:gd name="connsiteX6" fmla="*/ 839226 w 866038"/>
                <a:gd name="connsiteY6" fmla="*/ 190741 h 639520"/>
                <a:gd name="connsiteX7" fmla="*/ 724926 w 866038"/>
                <a:gd name="connsiteY7" fmla="*/ 51041 h 639520"/>
                <a:gd name="connsiteX8" fmla="*/ 564060 w 866038"/>
                <a:gd name="connsiteY8" fmla="*/ 241 h 639520"/>
                <a:gd name="connsiteX9" fmla="*/ 382026 w 866038"/>
                <a:gd name="connsiteY9" fmla="*/ 34108 h 639520"/>
                <a:gd name="connsiteX10" fmla="*/ 255026 w 866038"/>
                <a:gd name="connsiteY10" fmla="*/ 84908 h 639520"/>
                <a:gd name="connsiteX0" fmla="*/ 1026 w 862652"/>
                <a:gd name="connsiteY0" fmla="*/ 224608 h 639520"/>
                <a:gd name="connsiteX1" fmla="*/ 30660 w 862652"/>
                <a:gd name="connsiteY1" fmla="*/ 423574 h 639520"/>
                <a:gd name="connsiteX2" fmla="*/ 204226 w 862652"/>
                <a:gd name="connsiteY2" fmla="*/ 597141 h 639520"/>
                <a:gd name="connsiteX3" fmla="*/ 403193 w 862652"/>
                <a:gd name="connsiteY3" fmla="*/ 639474 h 639520"/>
                <a:gd name="connsiteX4" fmla="*/ 712226 w 862652"/>
                <a:gd name="connsiteY4" fmla="*/ 592908 h 639520"/>
                <a:gd name="connsiteX5" fmla="*/ 856159 w 862652"/>
                <a:gd name="connsiteY5" fmla="*/ 398174 h 639520"/>
                <a:gd name="connsiteX6" fmla="*/ 826526 w 862652"/>
                <a:gd name="connsiteY6" fmla="*/ 194974 h 639520"/>
                <a:gd name="connsiteX7" fmla="*/ 724926 w 862652"/>
                <a:gd name="connsiteY7" fmla="*/ 51041 h 639520"/>
                <a:gd name="connsiteX8" fmla="*/ 564060 w 862652"/>
                <a:gd name="connsiteY8" fmla="*/ 241 h 639520"/>
                <a:gd name="connsiteX9" fmla="*/ 382026 w 862652"/>
                <a:gd name="connsiteY9" fmla="*/ 34108 h 639520"/>
                <a:gd name="connsiteX10" fmla="*/ 255026 w 862652"/>
                <a:gd name="connsiteY10" fmla="*/ 84908 h 639520"/>
                <a:gd name="connsiteX0" fmla="*/ 1026 w 855405"/>
                <a:gd name="connsiteY0" fmla="*/ 224608 h 639520"/>
                <a:gd name="connsiteX1" fmla="*/ 30660 w 855405"/>
                <a:gd name="connsiteY1" fmla="*/ 423574 h 639520"/>
                <a:gd name="connsiteX2" fmla="*/ 204226 w 855405"/>
                <a:gd name="connsiteY2" fmla="*/ 597141 h 639520"/>
                <a:gd name="connsiteX3" fmla="*/ 403193 w 855405"/>
                <a:gd name="connsiteY3" fmla="*/ 639474 h 639520"/>
                <a:gd name="connsiteX4" fmla="*/ 712226 w 855405"/>
                <a:gd name="connsiteY4" fmla="*/ 592908 h 639520"/>
                <a:gd name="connsiteX5" fmla="*/ 847692 w 855405"/>
                <a:gd name="connsiteY5" fmla="*/ 398174 h 639520"/>
                <a:gd name="connsiteX6" fmla="*/ 826526 w 855405"/>
                <a:gd name="connsiteY6" fmla="*/ 194974 h 639520"/>
                <a:gd name="connsiteX7" fmla="*/ 724926 w 855405"/>
                <a:gd name="connsiteY7" fmla="*/ 51041 h 639520"/>
                <a:gd name="connsiteX8" fmla="*/ 564060 w 855405"/>
                <a:gd name="connsiteY8" fmla="*/ 241 h 639520"/>
                <a:gd name="connsiteX9" fmla="*/ 382026 w 855405"/>
                <a:gd name="connsiteY9" fmla="*/ 34108 h 639520"/>
                <a:gd name="connsiteX10" fmla="*/ 255026 w 855405"/>
                <a:gd name="connsiteY10" fmla="*/ 84908 h 639520"/>
                <a:gd name="connsiteX0" fmla="*/ 1026 w 855714"/>
                <a:gd name="connsiteY0" fmla="*/ 224608 h 639776"/>
                <a:gd name="connsiteX1" fmla="*/ 30660 w 855714"/>
                <a:gd name="connsiteY1" fmla="*/ 423574 h 639776"/>
                <a:gd name="connsiteX2" fmla="*/ 204226 w 855714"/>
                <a:gd name="connsiteY2" fmla="*/ 597141 h 639776"/>
                <a:gd name="connsiteX3" fmla="*/ 403193 w 855714"/>
                <a:gd name="connsiteY3" fmla="*/ 639474 h 639776"/>
                <a:gd name="connsiteX4" fmla="*/ 707993 w 855714"/>
                <a:gd name="connsiteY4" fmla="*/ 584441 h 639776"/>
                <a:gd name="connsiteX5" fmla="*/ 847692 w 855714"/>
                <a:gd name="connsiteY5" fmla="*/ 398174 h 639776"/>
                <a:gd name="connsiteX6" fmla="*/ 826526 w 855714"/>
                <a:gd name="connsiteY6" fmla="*/ 194974 h 639776"/>
                <a:gd name="connsiteX7" fmla="*/ 724926 w 855714"/>
                <a:gd name="connsiteY7" fmla="*/ 51041 h 639776"/>
                <a:gd name="connsiteX8" fmla="*/ 564060 w 855714"/>
                <a:gd name="connsiteY8" fmla="*/ 241 h 639776"/>
                <a:gd name="connsiteX9" fmla="*/ 382026 w 855714"/>
                <a:gd name="connsiteY9" fmla="*/ 34108 h 639776"/>
                <a:gd name="connsiteX10" fmla="*/ 255026 w 855714"/>
                <a:gd name="connsiteY10" fmla="*/ 84908 h 63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5714" h="639776">
                  <a:moveTo>
                    <a:pt x="1026" y="224608"/>
                  </a:moveTo>
                  <a:cubicBezTo>
                    <a:pt x="-1091" y="293046"/>
                    <a:pt x="-3207" y="361485"/>
                    <a:pt x="30660" y="423574"/>
                  </a:cubicBezTo>
                  <a:cubicBezTo>
                    <a:pt x="64527" y="485663"/>
                    <a:pt x="142137" y="561158"/>
                    <a:pt x="204226" y="597141"/>
                  </a:cubicBezTo>
                  <a:cubicBezTo>
                    <a:pt x="266315" y="633124"/>
                    <a:pt x="319232" y="641591"/>
                    <a:pt x="403193" y="639474"/>
                  </a:cubicBezTo>
                  <a:cubicBezTo>
                    <a:pt x="487154" y="637357"/>
                    <a:pt x="633910" y="624658"/>
                    <a:pt x="707993" y="584441"/>
                  </a:cubicBezTo>
                  <a:cubicBezTo>
                    <a:pt x="782076" y="544224"/>
                    <a:pt x="827937" y="463085"/>
                    <a:pt x="847692" y="398174"/>
                  </a:cubicBezTo>
                  <a:cubicBezTo>
                    <a:pt x="867447" y="333263"/>
                    <a:pt x="846987" y="252830"/>
                    <a:pt x="826526" y="194974"/>
                  </a:cubicBezTo>
                  <a:cubicBezTo>
                    <a:pt x="806065" y="137118"/>
                    <a:pt x="768670" y="83496"/>
                    <a:pt x="724926" y="51041"/>
                  </a:cubicBezTo>
                  <a:cubicBezTo>
                    <a:pt x="681182" y="18586"/>
                    <a:pt x="621210" y="3063"/>
                    <a:pt x="564060" y="241"/>
                  </a:cubicBezTo>
                  <a:cubicBezTo>
                    <a:pt x="506910" y="-2581"/>
                    <a:pt x="433532" y="19997"/>
                    <a:pt x="382026" y="34108"/>
                  </a:cubicBezTo>
                  <a:cubicBezTo>
                    <a:pt x="330520" y="48219"/>
                    <a:pt x="292773" y="66563"/>
                    <a:pt x="255026" y="8490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1" name="Freeform: Shape 120"/>
            <p:cNvSpPr/>
            <p:nvPr/>
          </p:nvSpPr>
          <p:spPr bwMode="auto">
            <a:xfrm>
              <a:off x="5045083" y="2192479"/>
              <a:ext cx="220019" cy="2857"/>
            </a:xfrm>
            <a:custGeom>
              <a:avLst/>
              <a:gdLst>
                <a:gd name="connsiteX0" fmla="*/ 0 w 651934"/>
                <a:gd name="connsiteY0" fmla="*/ 8466 h 8466"/>
                <a:gd name="connsiteX1" fmla="*/ 651934 w 651934"/>
                <a:gd name="connsiteY1" fmla="*/ 0 h 8466"/>
              </a:gdLst>
              <a:ahLst/>
              <a:cxnLst>
                <a:cxn ang="0">
                  <a:pos x="connsiteX0" y="connsiteY0"/>
                </a:cxn>
                <a:cxn ang="0">
                  <a:pos x="connsiteX1" y="connsiteY1"/>
                </a:cxn>
              </a:cxnLst>
              <a:rect l="l" t="t" r="r" b="b"/>
              <a:pathLst>
                <a:path w="651934" h="8466">
                  <a:moveTo>
                    <a:pt x="0" y="8466"/>
                  </a:moveTo>
                  <a:lnTo>
                    <a:pt x="651934"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2" name="Freeform: Shape 121"/>
            <p:cNvSpPr/>
            <p:nvPr/>
          </p:nvSpPr>
          <p:spPr bwMode="auto">
            <a:xfrm>
              <a:off x="5213669" y="2111044"/>
              <a:ext cx="136555" cy="228590"/>
            </a:xfrm>
            <a:custGeom>
              <a:avLst/>
              <a:gdLst>
                <a:gd name="connsiteX0" fmla="*/ 80434 w 469130"/>
                <a:gd name="connsiteY0" fmla="*/ 669259 h 669259"/>
                <a:gd name="connsiteX1" fmla="*/ 393700 w 469130"/>
                <a:gd name="connsiteY1" fmla="*/ 550726 h 669259"/>
                <a:gd name="connsiteX2" fmla="*/ 465667 w 469130"/>
                <a:gd name="connsiteY2" fmla="*/ 364459 h 669259"/>
                <a:gd name="connsiteX3" fmla="*/ 444500 w 469130"/>
                <a:gd name="connsiteY3" fmla="*/ 203593 h 669259"/>
                <a:gd name="connsiteX4" fmla="*/ 330200 w 469130"/>
                <a:gd name="connsiteY4" fmla="*/ 59659 h 669259"/>
                <a:gd name="connsiteX5" fmla="*/ 169334 w 469130"/>
                <a:gd name="connsiteY5" fmla="*/ 393 h 669259"/>
                <a:gd name="connsiteX6" fmla="*/ 0 w 469130"/>
                <a:gd name="connsiteY6" fmla="*/ 38493 h 669259"/>
                <a:gd name="connsiteX0" fmla="*/ 118534 w 507230"/>
                <a:gd name="connsiteY0" fmla="*/ 669873 h 669873"/>
                <a:gd name="connsiteX1" fmla="*/ 431800 w 507230"/>
                <a:gd name="connsiteY1" fmla="*/ 551340 h 669873"/>
                <a:gd name="connsiteX2" fmla="*/ 503767 w 507230"/>
                <a:gd name="connsiteY2" fmla="*/ 365073 h 669873"/>
                <a:gd name="connsiteX3" fmla="*/ 482600 w 507230"/>
                <a:gd name="connsiteY3" fmla="*/ 204207 h 669873"/>
                <a:gd name="connsiteX4" fmla="*/ 368300 w 507230"/>
                <a:gd name="connsiteY4" fmla="*/ 60273 h 669873"/>
                <a:gd name="connsiteX5" fmla="*/ 207434 w 507230"/>
                <a:gd name="connsiteY5" fmla="*/ 1007 h 669873"/>
                <a:gd name="connsiteX6" fmla="*/ 0 w 507230"/>
                <a:gd name="connsiteY6" fmla="*/ 30641 h 669873"/>
                <a:gd name="connsiteX0" fmla="*/ 0 w 388696"/>
                <a:gd name="connsiteY0" fmla="*/ 678024 h 678024"/>
                <a:gd name="connsiteX1" fmla="*/ 313266 w 388696"/>
                <a:gd name="connsiteY1" fmla="*/ 559491 h 678024"/>
                <a:gd name="connsiteX2" fmla="*/ 385233 w 388696"/>
                <a:gd name="connsiteY2" fmla="*/ 373224 h 678024"/>
                <a:gd name="connsiteX3" fmla="*/ 364066 w 388696"/>
                <a:gd name="connsiteY3" fmla="*/ 212358 h 678024"/>
                <a:gd name="connsiteX4" fmla="*/ 249766 w 388696"/>
                <a:gd name="connsiteY4" fmla="*/ 68424 h 678024"/>
                <a:gd name="connsiteX5" fmla="*/ 88900 w 388696"/>
                <a:gd name="connsiteY5" fmla="*/ 9158 h 678024"/>
                <a:gd name="connsiteX6" fmla="*/ 122766 w 388696"/>
                <a:gd name="connsiteY6" fmla="*/ 13392 h 678024"/>
                <a:gd name="connsiteX0" fmla="*/ 0 w 388696"/>
                <a:gd name="connsiteY0" fmla="*/ 668866 h 668866"/>
                <a:gd name="connsiteX1" fmla="*/ 313266 w 388696"/>
                <a:gd name="connsiteY1" fmla="*/ 550333 h 668866"/>
                <a:gd name="connsiteX2" fmla="*/ 385233 w 388696"/>
                <a:gd name="connsiteY2" fmla="*/ 364066 h 668866"/>
                <a:gd name="connsiteX3" fmla="*/ 364066 w 388696"/>
                <a:gd name="connsiteY3" fmla="*/ 203200 h 668866"/>
                <a:gd name="connsiteX4" fmla="*/ 249766 w 388696"/>
                <a:gd name="connsiteY4" fmla="*/ 59266 h 668866"/>
                <a:gd name="connsiteX5" fmla="*/ 88900 w 388696"/>
                <a:gd name="connsiteY5" fmla="*/ 0 h 668866"/>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67266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404062"/>
                <a:gd name="connsiteY0" fmla="*/ 677332 h 677332"/>
                <a:gd name="connsiteX1" fmla="*/ 313266 w 404062"/>
                <a:gd name="connsiteY1" fmla="*/ 567266 h 677332"/>
                <a:gd name="connsiteX2" fmla="*/ 402166 w 404062"/>
                <a:gd name="connsiteY2" fmla="*/ 372532 h 677332"/>
                <a:gd name="connsiteX3" fmla="*/ 364066 w 404062"/>
                <a:gd name="connsiteY3" fmla="*/ 211666 h 677332"/>
                <a:gd name="connsiteX4" fmla="*/ 249766 w 404062"/>
                <a:gd name="connsiteY4" fmla="*/ 67732 h 677332"/>
                <a:gd name="connsiteX5" fmla="*/ 114300 w 404062"/>
                <a:gd name="connsiteY5" fmla="*/ 0 h 677332"/>
                <a:gd name="connsiteX0" fmla="*/ 0 w 404624"/>
                <a:gd name="connsiteY0" fmla="*/ 677332 h 677332"/>
                <a:gd name="connsiteX1" fmla="*/ 313266 w 404624"/>
                <a:gd name="connsiteY1" fmla="*/ 567266 h 677332"/>
                <a:gd name="connsiteX2" fmla="*/ 402166 w 404624"/>
                <a:gd name="connsiteY2" fmla="*/ 372532 h 677332"/>
                <a:gd name="connsiteX3" fmla="*/ 368300 w 404624"/>
                <a:gd name="connsiteY3" fmla="*/ 194733 h 677332"/>
                <a:gd name="connsiteX4" fmla="*/ 249766 w 404624"/>
                <a:gd name="connsiteY4" fmla="*/ 67732 h 677332"/>
                <a:gd name="connsiteX5" fmla="*/ 114300 w 404624"/>
                <a:gd name="connsiteY5" fmla="*/ 0 h 67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624" h="677332">
                  <a:moveTo>
                    <a:pt x="0" y="677332"/>
                  </a:moveTo>
                  <a:cubicBezTo>
                    <a:pt x="179563" y="651932"/>
                    <a:pt x="246238" y="618066"/>
                    <a:pt x="313266" y="567266"/>
                  </a:cubicBezTo>
                  <a:cubicBezTo>
                    <a:pt x="380294" y="516466"/>
                    <a:pt x="392994" y="434621"/>
                    <a:pt x="402166" y="372532"/>
                  </a:cubicBezTo>
                  <a:cubicBezTo>
                    <a:pt x="411338" y="310443"/>
                    <a:pt x="393700" y="245533"/>
                    <a:pt x="368300" y="194733"/>
                  </a:cubicBezTo>
                  <a:cubicBezTo>
                    <a:pt x="342900" y="143933"/>
                    <a:pt x="292099" y="100187"/>
                    <a:pt x="249766" y="67732"/>
                  </a:cubicBezTo>
                  <a:cubicBezTo>
                    <a:pt x="207433" y="35277"/>
                    <a:pt x="135467" y="9172"/>
                    <a:pt x="114300"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3" name="Freeform: Shape 122"/>
            <p:cNvSpPr/>
            <p:nvPr/>
          </p:nvSpPr>
          <p:spPr bwMode="auto">
            <a:xfrm>
              <a:off x="8481941" y="2843104"/>
              <a:ext cx="781779" cy="97722"/>
            </a:xfrm>
            <a:custGeom>
              <a:avLst/>
              <a:gdLst>
                <a:gd name="connsiteX0" fmla="*/ 0 w 2316480"/>
                <a:gd name="connsiteY0" fmla="*/ 289560 h 289560"/>
                <a:gd name="connsiteX1" fmla="*/ 2316480 w 2316480"/>
                <a:gd name="connsiteY1" fmla="*/ 0 h 289560"/>
              </a:gdLst>
              <a:ahLst/>
              <a:cxnLst>
                <a:cxn ang="0">
                  <a:pos x="connsiteX0" y="connsiteY0"/>
                </a:cxn>
                <a:cxn ang="0">
                  <a:pos x="connsiteX1" y="connsiteY1"/>
                </a:cxn>
              </a:cxnLst>
              <a:rect l="l" t="t" r="r" b="b"/>
              <a:pathLst>
                <a:path w="2316480" h="289560">
                  <a:moveTo>
                    <a:pt x="0" y="289560"/>
                  </a:moveTo>
                  <a:lnTo>
                    <a:pt x="2316480"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4" name="Freeform: Shape 123"/>
            <p:cNvSpPr/>
            <p:nvPr/>
          </p:nvSpPr>
          <p:spPr bwMode="auto">
            <a:xfrm>
              <a:off x="8780251" y="2515648"/>
              <a:ext cx="236591" cy="1714"/>
            </a:xfrm>
            <a:custGeom>
              <a:avLst/>
              <a:gdLst>
                <a:gd name="connsiteX0" fmla="*/ 0 w 701040"/>
                <a:gd name="connsiteY0" fmla="*/ 0 h 5080"/>
                <a:gd name="connsiteX1" fmla="*/ 701040 w 701040"/>
                <a:gd name="connsiteY1" fmla="*/ 5080 h 5080"/>
              </a:gdLst>
              <a:ahLst/>
              <a:cxnLst>
                <a:cxn ang="0">
                  <a:pos x="connsiteX0" y="connsiteY0"/>
                </a:cxn>
                <a:cxn ang="0">
                  <a:pos x="connsiteX1" y="connsiteY1"/>
                </a:cxn>
              </a:cxnLst>
              <a:rect l="l" t="t" r="r" b="b"/>
              <a:pathLst>
                <a:path w="701040" h="5080">
                  <a:moveTo>
                    <a:pt x="0" y="0"/>
                  </a:moveTo>
                  <a:lnTo>
                    <a:pt x="701040" y="508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5" name="Freeform: Shape 124"/>
            <p:cNvSpPr/>
            <p:nvPr/>
          </p:nvSpPr>
          <p:spPr bwMode="auto">
            <a:xfrm>
              <a:off x="8727181" y="2383791"/>
              <a:ext cx="274309" cy="1715"/>
            </a:xfrm>
            <a:custGeom>
              <a:avLst/>
              <a:gdLst>
                <a:gd name="connsiteX0" fmla="*/ 0 w 812800"/>
                <a:gd name="connsiteY0" fmla="*/ 0 h 5080"/>
                <a:gd name="connsiteX1" fmla="*/ 812800 w 812800"/>
                <a:gd name="connsiteY1" fmla="*/ 5080 h 5080"/>
              </a:gdLst>
              <a:ahLst/>
              <a:cxnLst>
                <a:cxn ang="0">
                  <a:pos x="connsiteX0" y="connsiteY0"/>
                </a:cxn>
                <a:cxn ang="0">
                  <a:pos x="connsiteX1" y="connsiteY1"/>
                </a:cxn>
              </a:cxnLst>
              <a:rect l="l" t="t" r="r" b="b"/>
              <a:pathLst>
                <a:path w="812800" h="5080">
                  <a:moveTo>
                    <a:pt x="0" y="0"/>
                  </a:moveTo>
                  <a:lnTo>
                    <a:pt x="812800" y="508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6" name="Freeform: Shape 125"/>
            <p:cNvSpPr/>
            <p:nvPr/>
          </p:nvSpPr>
          <p:spPr bwMode="auto">
            <a:xfrm>
              <a:off x="8941407" y="2393924"/>
              <a:ext cx="18859" cy="125153"/>
            </a:xfrm>
            <a:custGeom>
              <a:avLst/>
              <a:gdLst>
                <a:gd name="connsiteX0" fmla="*/ 0 w 55880"/>
                <a:gd name="connsiteY0" fmla="*/ 0 h 370840"/>
                <a:gd name="connsiteX1" fmla="*/ 55880 w 55880"/>
                <a:gd name="connsiteY1" fmla="*/ 370840 h 370840"/>
              </a:gdLst>
              <a:ahLst/>
              <a:cxnLst>
                <a:cxn ang="0">
                  <a:pos x="connsiteX0" y="connsiteY0"/>
                </a:cxn>
                <a:cxn ang="0">
                  <a:pos x="connsiteX1" y="connsiteY1"/>
                </a:cxn>
              </a:cxnLst>
              <a:rect l="l" t="t" r="r" b="b"/>
              <a:pathLst>
                <a:path w="55880" h="370840">
                  <a:moveTo>
                    <a:pt x="0" y="0"/>
                  </a:moveTo>
                  <a:lnTo>
                    <a:pt x="55880" y="37084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7" name="Freeform: Shape 126"/>
            <p:cNvSpPr/>
            <p:nvPr/>
          </p:nvSpPr>
          <p:spPr bwMode="auto">
            <a:xfrm>
              <a:off x="8723532" y="2268771"/>
              <a:ext cx="168157" cy="248592"/>
            </a:xfrm>
            <a:custGeom>
              <a:avLst/>
              <a:gdLst>
                <a:gd name="connsiteX0" fmla="*/ 501021 w 501021"/>
                <a:gd name="connsiteY0" fmla="*/ 0 h 726440"/>
                <a:gd name="connsiteX1" fmla="*/ 257181 w 501021"/>
                <a:gd name="connsiteY1" fmla="*/ 71120 h 726440"/>
                <a:gd name="connsiteX2" fmla="*/ 43821 w 501021"/>
                <a:gd name="connsiteY2" fmla="*/ 254000 h 726440"/>
                <a:gd name="connsiteX3" fmla="*/ 3181 w 501021"/>
                <a:gd name="connsiteY3" fmla="*/ 401320 h 726440"/>
                <a:gd name="connsiteX4" fmla="*/ 94621 w 501021"/>
                <a:gd name="connsiteY4" fmla="*/ 640080 h 726440"/>
                <a:gd name="connsiteX5" fmla="*/ 160661 w 501021"/>
                <a:gd name="connsiteY5" fmla="*/ 726440 h 726440"/>
                <a:gd name="connsiteX0" fmla="*/ 498263 w 498263"/>
                <a:gd name="connsiteY0" fmla="*/ 0 h 726440"/>
                <a:gd name="connsiteX1" fmla="*/ 254423 w 498263"/>
                <a:gd name="connsiteY1" fmla="*/ 71120 h 726440"/>
                <a:gd name="connsiteX2" fmla="*/ 66463 w 498263"/>
                <a:gd name="connsiteY2" fmla="*/ 238760 h 726440"/>
                <a:gd name="connsiteX3" fmla="*/ 423 w 498263"/>
                <a:gd name="connsiteY3" fmla="*/ 401320 h 726440"/>
                <a:gd name="connsiteX4" fmla="*/ 91863 w 498263"/>
                <a:gd name="connsiteY4" fmla="*/ 640080 h 726440"/>
                <a:gd name="connsiteX5" fmla="*/ 157903 w 498263"/>
                <a:gd name="connsiteY5" fmla="*/ 726440 h 726440"/>
                <a:gd name="connsiteX0" fmla="*/ 498263 w 498263"/>
                <a:gd name="connsiteY0" fmla="*/ 0 h 736600"/>
                <a:gd name="connsiteX1" fmla="*/ 254423 w 498263"/>
                <a:gd name="connsiteY1" fmla="*/ 7112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 name="connsiteX0" fmla="*/ 498263 w 498263"/>
                <a:gd name="connsiteY0" fmla="*/ 0 h 736600"/>
                <a:gd name="connsiteX1" fmla="*/ 254423 w 498263"/>
                <a:gd name="connsiteY1" fmla="*/ 8636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263" h="736600">
                  <a:moveTo>
                    <a:pt x="498263" y="0"/>
                  </a:moveTo>
                  <a:cubicBezTo>
                    <a:pt x="414443" y="14393"/>
                    <a:pt x="326390" y="46567"/>
                    <a:pt x="254423" y="86360"/>
                  </a:cubicBezTo>
                  <a:cubicBezTo>
                    <a:pt x="182456" y="126153"/>
                    <a:pt x="108796" y="186267"/>
                    <a:pt x="66463" y="238760"/>
                  </a:cubicBezTo>
                  <a:cubicBezTo>
                    <a:pt x="24130" y="291253"/>
                    <a:pt x="-3810" y="334433"/>
                    <a:pt x="423" y="401320"/>
                  </a:cubicBezTo>
                  <a:cubicBezTo>
                    <a:pt x="4656" y="468207"/>
                    <a:pt x="63076" y="584200"/>
                    <a:pt x="91863" y="640080"/>
                  </a:cubicBezTo>
                  <a:cubicBezTo>
                    <a:pt x="120650" y="695960"/>
                    <a:pt x="153246" y="720513"/>
                    <a:pt x="173143" y="73660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8" name="Freeform: Shape 127"/>
            <p:cNvSpPr/>
            <p:nvPr/>
          </p:nvSpPr>
          <p:spPr bwMode="auto">
            <a:xfrm>
              <a:off x="9003720" y="2333919"/>
              <a:ext cx="134846" cy="462895"/>
            </a:xfrm>
            <a:custGeom>
              <a:avLst/>
              <a:gdLst>
                <a:gd name="connsiteX0" fmla="*/ 399561 w 399561"/>
                <a:gd name="connsiteY0" fmla="*/ 1371600 h 1371600"/>
                <a:gd name="connsiteX1" fmla="*/ 242081 w 399561"/>
                <a:gd name="connsiteY1" fmla="*/ 1178560 h 1371600"/>
                <a:gd name="connsiteX2" fmla="*/ 64281 w 399561"/>
                <a:gd name="connsiteY2" fmla="*/ 660400 h 1371600"/>
                <a:gd name="connsiteX3" fmla="*/ 3321 w 399561"/>
                <a:gd name="connsiteY3" fmla="*/ 208280 h 1371600"/>
                <a:gd name="connsiteX4" fmla="*/ 13481 w 399561"/>
                <a:gd name="connsiteY4" fmla="*/ 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61" h="1371600">
                  <a:moveTo>
                    <a:pt x="399561" y="1371600"/>
                  </a:moveTo>
                  <a:cubicBezTo>
                    <a:pt x="348761" y="1334346"/>
                    <a:pt x="297961" y="1297093"/>
                    <a:pt x="242081" y="1178560"/>
                  </a:cubicBezTo>
                  <a:cubicBezTo>
                    <a:pt x="186201" y="1060027"/>
                    <a:pt x="104074" y="822113"/>
                    <a:pt x="64281" y="660400"/>
                  </a:cubicBezTo>
                  <a:cubicBezTo>
                    <a:pt x="24488" y="498687"/>
                    <a:pt x="11788" y="318347"/>
                    <a:pt x="3321" y="208280"/>
                  </a:cubicBezTo>
                  <a:cubicBezTo>
                    <a:pt x="-5146" y="98213"/>
                    <a:pt x="4167" y="49106"/>
                    <a:pt x="1348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9" name="Freeform: Shape 128"/>
            <p:cNvSpPr/>
            <p:nvPr/>
          </p:nvSpPr>
          <p:spPr bwMode="auto">
            <a:xfrm>
              <a:off x="8913977" y="2268771"/>
              <a:ext cx="224590" cy="70292"/>
            </a:xfrm>
            <a:custGeom>
              <a:avLst/>
              <a:gdLst>
                <a:gd name="connsiteX0" fmla="*/ 0 w 665480"/>
                <a:gd name="connsiteY0" fmla="*/ 0 h 208280"/>
                <a:gd name="connsiteX1" fmla="*/ 289560 w 665480"/>
                <a:gd name="connsiteY1" fmla="*/ 208280 h 208280"/>
                <a:gd name="connsiteX2" fmla="*/ 665480 w 665480"/>
                <a:gd name="connsiteY2" fmla="*/ 137160 h 208280"/>
              </a:gdLst>
              <a:ahLst/>
              <a:cxnLst>
                <a:cxn ang="0">
                  <a:pos x="connsiteX0" y="connsiteY0"/>
                </a:cxn>
                <a:cxn ang="0">
                  <a:pos x="connsiteX1" y="connsiteY1"/>
                </a:cxn>
                <a:cxn ang="0">
                  <a:pos x="connsiteX2" y="connsiteY2"/>
                </a:cxn>
              </a:cxnLst>
              <a:rect l="l" t="t" r="r" b="b"/>
              <a:pathLst>
                <a:path w="665480" h="208280">
                  <a:moveTo>
                    <a:pt x="0" y="0"/>
                  </a:moveTo>
                  <a:lnTo>
                    <a:pt x="289560" y="208280"/>
                  </a:lnTo>
                  <a:lnTo>
                    <a:pt x="665480" y="13716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Shape 129"/>
            <p:cNvSpPr/>
            <p:nvPr/>
          </p:nvSpPr>
          <p:spPr bwMode="auto">
            <a:xfrm>
              <a:off x="8708428" y="2853390"/>
              <a:ext cx="563864" cy="131763"/>
            </a:xfrm>
            <a:custGeom>
              <a:avLst/>
              <a:gdLst>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55880 h 390426"/>
                <a:gd name="connsiteX9" fmla="*/ 1635219 w 1670779"/>
                <a:gd name="connsiteY9" fmla="*/ 0 h 390426"/>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30480 h 390426"/>
                <a:gd name="connsiteX9" fmla="*/ 1635219 w 1670779"/>
                <a:gd name="connsiteY9" fmla="*/ 0 h 390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0779" h="390426">
                  <a:moveTo>
                    <a:pt x="1670779" y="177800"/>
                  </a:moveTo>
                  <a:cubicBezTo>
                    <a:pt x="1661889" y="193463"/>
                    <a:pt x="1652999" y="209127"/>
                    <a:pt x="1538699" y="233680"/>
                  </a:cubicBezTo>
                  <a:cubicBezTo>
                    <a:pt x="1424399" y="258233"/>
                    <a:pt x="1176325" y="299720"/>
                    <a:pt x="984979" y="325120"/>
                  </a:cubicBezTo>
                  <a:cubicBezTo>
                    <a:pt x="793633" y="350520"/>
                    <a:pt x="526932" y="378460"/>
                    <a:pt x="390619" y="386080"/>
                  </a:cubicBezTo>
                  <a:cubicBezTo>
                    <a:pt x="254306" y="393700"/>
                    <a:pt x="230599" y="392853"/>
                    <a:pt x="167099" y="370840"/>
                  </a:cubicBezTo>
                  <a:cubicBezTo>
                    <a:pt x="103599" y="348827"/>
                    <a:pt x="23166" y="281940"/>
                    <a:pt x="9619" y="254000"/>
                  </a:cubicBezTo>
                  <a:cubicBezTo>
                    <a:pt x="-3928" y="226060"/>
                    <a:pt x="-19168" y="226060"/>
                    <a:pt x="85819" y="203200"/>
                  </a:cubicBezTo>
                  <a:cubicBezTo>
                    <a:pt x="190806" y="180340"/>
                    <a:pt x="438032" y="145627"/>
                    <a:pt x="639539" y="116840"/>
                  </a:cubicBezTo>
                  <a:cubicBezTo>
                    <a:pt x="841046" y="88053"/>
                    <a:pt x="1128912" y="49953"/>
                    <a:pt x="1294859" y="30480"/>
                  </a:cubicBezTo>
                  <a:cubicBezTo>
                    <a:pt x="1460806" y="11007"/>
                    <a:pt x="1548012" y="18203"/>
                    <a:pt x="1635219"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149" name="Text Placeholder 148"/>
          <p:cNvSpPr>
            <a:spLocks noGrp="1"/>
          </p:cNvSpPr>
          <p:nvPr>
            <p:ph type="body" sz="quarter" idx="16"/>
          </p:nvPr>
        </p:nvSpPr>
        <p:spPr>
          <a:xfrm>
            <a:off x="6502400" y="4122738"/>
            <a:ext cx="5402263" cy="2417762"/>
          </a:xfrm>
        </p:spPr>
        <p:txBody>
          <a:bodyPr>
            <a:noAutofit/>
          </a:bodyPr>
          <a:lstStyle>
            <a:lvl1pPr>
              <a:defRPr lang="en-US" sz="1600" kern="1200" dirty="0" smtClean="0">
                <a:solidFill>
                  <a:schemeClr val="bg1"/>
                </a:solidFill>
                <a:latin typeface="+mn-lt"/>
                <a:ea typeface="+mn-ea"/>
                <a:cs typeface="+mn-cs"/>
              </a:defRPr>
            </a:lvl1pPr>
            <a:lvl2pPr>
              <a:defRPr lang="en-US" sz="1600" kern="1200" dirty="0" smtClean="0">
                <a:solidFill>
                  <a:schemeClr val="bg1"/>
                </a:solidFill>
                <a:latin typeface="+mn-lt"/>
                <a:ea typeface="+mn-ea"/>
                <a:cs typeface="+mn-cs"/>
              </a:defRPr>
            </a:lvl2pPr>
            <a:lvl3pPr>
              <a:defRPr lang="en-US" sz="1600" kern="1200" dirty="0" smtClean="0">
                <a:solidFill>
                  <a:schemeClr val="bg1"/>
                </a:solidFill>
                <a:latin typeface="+mn-lt"/>
                <a:ea typeface="+mn-ea"/>
                <a:cs typeface="+mn-cs"/>
              </a:defRPr>
            </a:lvl3pPr>
            <a:lvl4pPr>
              <a:defRPr lang="en-US" sz="1600" kern="1200" dirty="0" smtClean="0">
                <a:solidFill>
                  <a:schemeClr val="bg1"/>
                </a:solidFill>
                <a:latin typeface="+mn-lt"/>
                <a:ea typeface="+mn-ea"/>
                <a:cs typeface="+mn-cs"/>
              </a:defRPr>
            </a:lvl4pPr>
            <a:lvl5pPr>
              <a:defRPr lang="en-US" sz="1600" kern="1200" dirty="0">
                <a:solidFill>
                  <a:schemeClr val="bg1"/>
                </a:solidFill>
                <a:latin typeface="+mn-lt"/>
                <a:ea typeface="+mn-ea"/>
                <a:cs typeface="+mn-cs"/>
              </a:defRPr>
            </a:lvl5pPr>
          </a:lstStyle>
          <a:p>
            <a:pPr lvl="0"/>
            <a:r>
              <a:rPr lang="en-US"/>
              <a:t>Edit Master text styles</a:t>
            </a:r>
          </a:p>
        </p:txBody>
      </p:sp>
      <p:sp>
        <p:nvSpPr>
          <p:cNvPr id="153" name="Text Placeholder 6"/>
          <p:cNvSpPr>
            <a:spLocks noGrp="1"/>
          </p:cNvSpPr>
          <p:nvPr>
            <p:ph type="body" sz="quarter" idx="17"/>
          </p:nvPr>
        </p:nvSpPr>
        <p:spPr>
          <a:xfrm>
            <a:off x="423333" y="4122738"/>
            <a:ext cx="2741605" cy="2074862"/>
          </a:xfrm>
        </p:spPr>
        <p:txBody>
          <a:bodyPr>
            <a:noAutofit/>
          </a:bodyPr>
          <a:lstStyle>
            <a:lvl1pPr>
              <a:defRPr sz="2000"/>
            </a:lvl1pPr>
            <a:lvl2pPr marL="0" indent="0">
              <a:buNone/>
              <a:defRPr sz="1400"/>
            </a:lvl2pPr>
            <a:lvl3pPr marL="0" indent="0">
              <a:buNone/>
              <a:defRPr/>
            </a:lvl3pPr>
            <a:lvl4pPr marL="0" indent="0">
              <a:buNone/>
              <a:defRPr/>
            </a:lvl4pPr>
            <a:lvl5pPr marL="0" indent="0">
              <a:buNone/>
              <a:defRPr/>
            </a:lvl5pPr>
          </a:lstStyle>
          <a:p>
            <a:pPr lvl="0"/>
            <a:r>
              <a:rPr lang="en-US"/>
              <a:t>Edit Master text styles</a:t>
            </a:r>
          </a:p>
          <a:p>
            <a:pPr lvl="1"/>
            <a:r>
              <a:rPr lang="en-US"/>
              <a:t>Second level</a:t>
            </a:r>
          </a:p>
        </p:txBody>
      </p:sp>
      <p:sp>
        <p:nvSpPr>
          <p:cNvPr id="154" name="Text Placeholder 6"/>
          <p:cNvSpPr>
            <a:spLocks noGrp="1"/>
          </p:cNvSpPr>
          <p:nvPr>
            <p:ph type="body" sz="quarter" idx="18"/>
          </p:nvPr>
        </p:nvSpPr>
        <p:spPr>
          <a:xfrm>
            <a:off x="3429568" y="4122738"/>
            <a:ext cx="2741605" cy="2074862"/>
          </a:xfrm>
        </p:spPr>
        <p:txBody>
          <a:bodyPr>
            <a:noAutofit/>
          </a:bodyPr>
          <a:lstStyle>
            <a:lvl1pPr>
              <a:defRPr sz="2000"/>
            </a:lvl1pPr>
            <a:lvl2pPr marL="0" indent="0">
              <a:buNone/>
              <a:defRPr sz="1400"/>
            </a:lvl2pPr>
            <a:lvl3pPr marL="0" indent="0">
              <a:buNone/>
              <a:defRPr/>
            </a:lvl3pPr>
            <a:lvl4pPr marL="0" indent="0">
              <a:buNone/>
              <a:defRPr/>
            </a:lvl4pPr>
            <a:lvl5pPr marL="0" indent="0">
              <a:buNone/>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45628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151" name="Freeform 95"/>
          <p:cNvSpPr/>
          <p:nvPr userDrawn="1"/>
        </p:nvSpPr>
        <p:spPr bwMode="auto">
          <a:xfrm>
            <a:off x="2775527" y="1796722"/>
            <a:ext cx="5098938" cy="2153444"/>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2" name="Freeform 95"/>
          <p:cNvSpPr/>
          <p:nvPr userDrawn="1"/>
        </p:nvSpPr>
        <p:spPr bwMode="auto">
          <a:xfrm>
            <a:off x="-8065" y="1796722"/>
            <a:ext cx="5098938" cy="2153444"/>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0" name="Rectangle 149"/>
          <p:cNvSpPr/>
          <p:nvPr userDrawn="1"/>
        </p:nvSpPr>
        <p:spPr bwMode="auto">
          <a:xfrm>
            <a:off x="0" y="3590599"/>
            <a:ext cx="6308333" cy="32674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2" name="Title 1"/>
          <p:cNvSpPr>
            <a:spLocks noGrp="1"/>
          </p:cNvSpPr>
          <p:nvPr>
            <p:ph type="title"/>
          </p:nvPr>
        </p:nvSpPr>
        <p:spPr>
          <a:xfrm>
            <a:off x="269240" y="222616"/>
            <a:ext cx="6039093" cy="899665"/>
          </a:xfrm>
        </p:spPr>
        <p:txBody>
          <a:bodyPr/>
          <a:lstStyle>
            <a:lvl1pPr>
              <a:defRPr sz="4000"/>
            </a:lvl1p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Rectangle 4"/>
          <p:cNvSpPr/>
          <p:nvPr userDrawn="1"/>
        </p:nvSpPr>
        <p:spPr bwMode="auto">
          <a:xfrm>
            <a:off x="6308333" y="0"/>
            <a:ext cx="5883667"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6" name="Text Placeholder 5"/>
          <p:cNvSpPr>
            <a:spLocks noGrp="1"/>
          </p:cNvSpPr>
          <p:nvPr>
            <p:ph type="body" sz="quarter" idx="13"/>
          </p:nvPr>
        </p:nvSpPr>
        <p:spPr>
          <a:xfrm>
            <a:off x="6502400" y="222250"/>
            <a:ext cx="5588000" cy="3681413"/>
          </a:xfrm>
        </p:spPr>
        <p:txBody>
          <a:bodyPr>
            <a:noAutofit/>
          </a:bodyPr>
          <a:lstStyle>
            <a:lvl1pPr>
              <a:spcBef>
                <a:spcPts val="0"/>
              </a:spcBef>
              <a:defRPr sz="3200">
                <a:solidFill>
                  <a:srgbClr val="44B0FF"/>
                </a:solidFill>
                <a:latin typeface="+mj-lt"/>
              </a:defRPr>
            </a:lvl1pPr>
            <a:lvl2pPr marL="0" indent="0">
              <a:spcBef>
                <a:spcPts val="4200"/>
              </a:spcBef>
              <a:buNone/>
              <a:defRPr>
                <a:solidFill>
                  <a:srgbClr val="44B0FF"/>
                </a:solidFill>
              </a:defRPr>
            </a:lvl2pPr>
          </a:lstStyle>
          <a:p>
            <a:pPr lvl="0"/>
            <a:r>
              <a:rPr lang="en-US"/>
              <a:t>Edit Master text styles</a:t>
            </a:r>
          </a:p>
          <a:p>
            <a:pPr lvl="1"/>
            <a:r>
              <a:rPr lang="en-US"/>
              <a:t>Master text styles</a:t>
            </a:r>
          </a:p>
        </p:txBody>
      </p:sp>
      <p:cxnSp>
        <p:nvCxnSpPr>
          <p:cNvPr id="11" name="Straight Connector 10"/>
          <p:cNvCxnSpPr/>
          <p:nvPr userDrawn="1"/>
        </p:nvCxnSpPr>
        <p:spPr>
          <a:xfrm>
            <a:off x="6308333" y="3992600"/>
            <a:ext cx="5595800" cy="0"/>
          </a:xfrm>
          <a:prstGeom prst="line">
            <a:avLst/>
          </a:prstGeom>
          <a:noFill/>
          <a:ln w="9525" cap="rnd" cmpd="sng" algn="ctr">
            <a:solidFill>
              <a:srgbClr val="008272"/>
            </a:solidFill>
            <a:prstDash val="solid"/>
            <a:headEnd type="none"/>
            <a:tailEnd type="oval"/>
          </a:ln>
          <a:effectLst/>
        </p:spPr>
      </p:cxnSp>
      <p:grpSp>
        <p:nvGrpSpPr>
          <p:cNvPr id="18" name="Group 17"/>
          <p:cNvGrpSpPr/>
          <p:nvPr userDrawn="1"/>
        </p:nvGrpSpPr>
        <p:grpSpPr>
          <a:xfrm>
            <a:off x="1038747" y="2511360"/>
            <a:ext cx="4256633" cy="1436827"/>
            <a:chOff x="2410358" y="1565024"/>
            <a:chExt cx="6870570" cy="2319162"/>
          </a:xfrm>
        </p:grpSpPr>
        <p:sp>
          <p:nvSpPr>
            <p:cNvPr id="19" name="Freeform: Shape 18"/>
            <p:cNvSpPr/>
            <p:nvPr/>
          </p:nvSpPr>
          <p:spPr bwMode="auto">
            <a:xfrm>
              <a:off x="2410358" y="1566420"/>
              <a:ext cx="6870570" cy="2035347"/>
            </a:xfrm>
            <a:custGeom>
              <a:avLst/>
              <a:gdLst>
                <a:gd name="connsiteX0" fmla="*/ 5996401 w 20349121"/>
                <a:gd name="connsiteY0" fmla="*/ 2228350 h 6061796"/>
                <a:gd name="connsiteX1" fmla="*/ 6899077 w 20349121"/>
                <a:gd name="connsiteY1" fmla="*/ 1700811 h 6061796"/>
                <a:gd name="connsiteX2" fmla="*/ 8212062 w 20349121"/>
                <a:gd name="connsiteY2" fmla="*/ 915365 h 6061796"/>
                <a:gd name="connsiteX3" fmla="*/ 9032677 w 20349121"/>
                <a:gd name="connsiteY3" fmla="*/ 528504 h 6061796"/>
                <a:gd name="connsiteX4" fmla="*/ 9079570 w 20349121"/>
                <a:gd name="connsiteY4" fmla="*/ 469888 h 6061796"/>
                <a:gd name="connsiteX5" fmla="*/ 9220247 w 20349121"/>
                <a:gd name="connsiteY5" fmla="*/ 411273 h 6061796"/>
                <a:gd name="connsiteX6" fmla="*/ 10005693 w 20349121"/>
                <a:gd name="connsiteY6" fmla="*/ 188534 h 6061796"/>
                <a:gd name="connsiteX7" fmla="*/ 11365570 w 20349121"/>
                <a:gd name="connsiteY7" fmla="*/ 47857 h 6061796"/>
                <a:gd name="connsiteX8" fmla="*/ 12948185 w 20349121"/>
                <a:gd name="connsiteY8" fmla="*/ 965 h 6061796"/>
                <a:gd name="connsiteX9" fmla="*/ 14565970 w 20349121"/>
                <a:gd name="connsiteY9" fmla="*/ 83027 h 6061796"/>
                <a:gd name="connsiteX10" fmla="*/ 16054801 w 20349121"/>
                <a:gd name="connsiteY10" fmla="*/ 165088 h 6061796"/>
                <a:gd name="connsiteX11" fmla="*/ 17496739 w 20349121"/>
                <a:gd name="connsiteY11" fmla="*/ 364381 h 6061796"/>
                <a:gd name="connsiteX12" fmla="*/ 18012554 w 20349121"/>
                <a:gd name="connsiteY12" fmla="*/ 481611 h 6061796"/>
                <a:gd name="connsiteX13" fmla="*/ 18352524 w 20349121"/>
                <a:gd name="connsiteY13" fmla="*/ 528504 h 6061796"/>
                <a:gd name="connsiteX14" fmla="*/ 18434585 w 20349121"/>
                <a:gd name="connsiteY14" fmla="*/ 575396 h 6061796"/>
                <a:gd name="connsiteX15" fmla="*/ 18469754 w 20349121"/>
                <a:gd name="connsiteY15" fmla="*/ 634011 h 6061796"/>
                <a:gd name="connsiteX16" fmla="*/ 18903508 w 20349121"/>
                <a:gd name="connsiteY16" fmla="*/ 1091211 h 6061796"/>
                <a:gd name="connsiteX17" fmla="*/ 19560001 w 20349121"/>
                <a:gd name="connsiteY17" fmla="*/ 1853211 h 6061796"/>
                <a:gd name="connsiteX18" fmla="*/ 19665508 w 20349121"/>
                <a:gd name="connsiteY18" fmla="*/ 1993888 h 6061796"/>
                <a:gd name="connsiteX19" fmla="*/ 19864801 w 20349121"/>
                <a:gd name="connsiteY19" fmla="*/ 2099396 h 6061796"/>
                <a:gd name="connsiteX20" fmla="*/ 19946862 w 20349121"/>
                <a:gd name="connsiteY20" fmla="*/ 2228350 h 6061796"/>
                <a:gd name="connsiteX21" fmla="*/ 19911693 w 20349121"/>
                <a:gd name="connsiteY21" fmla="*/ 2415919 h 6061796"/>
                <a:gd name="connsiteX22" fmla="*/ 19888247 w 20349121"/>
                <a:gd name="connsiteY22" fmla="*/ 2802781 h 6061796"/>
                <a:gd name="connsiteX23" fmla="*/ 19888247 w 20349121"/>
                <a:gd name="connsiteY23" fmla="*/ 3060688 h 6061796"/>
                <a:gd name="connsiteX24" fmla="*/ 19993754 w 20349121"/>
                <a:gd name="connsiteY24" fmla="*/ 3271704 h 6061796"/>
                <a:gd name="connsiteX25" fmla="*/ 19982031 w 20349121"/>
                <a:gd name="connsiteY25" fmla="*/ 3447550 h 6061796"/>
                <a:gd name="connsiteX26" fmla="*/ 19935139 w 20349121"/>
                <a:gd name="connsiteY26" fmla="*/ 3635119 h 6061796"/>
                <a:gd name="connsiteX27" fmla="*/ 20134431 w 20349121"/>
                <a:gd name="connsiteY27" fmla="*/ 3705457 h 6061796"/>
                <a:gd name="connsiteX28" fmla="*/ 20275108 w 20349121"/>
                <a:gd name="connsiteY28" fmla="*/ 3752350 h 6061796"/>
                <a:gd name="connsiteX29" fmla="*/ 20345447 w 20349121"/>
                <a:gd name="connsiteY29" fmla="*/ 3846134 h 6061796"/>
                <a:gd name="connsiteX30" fmla="*/ 20333724 w 20349121"/>
                <a:gd name="connsiteY30" fmla="*/ 4010257 h 6061796"/>
                <a:gd name="connsiteX31" fmla="*/ 20286831 w 20349121"/>
                <a:gd name="connsiteY31" fmla="*/ 4186104 h 6061796"/>
                <a:gd name="connsiteX32" fmla="*/ 20275108 w 20349121"/>
                <a:gd name="connsiteY32" fmla="*/ 4397119 h 6061796"/>
                <a:gd name="connsiteX33" fmla="*/ 20181324 w 20349121"/>
                <a:gd name="connsiteY33" fmla="*/ 4397119 h 6061796"/>
                <a:gd name="connsiteX34" fmla="*/ 20087539 w 20349121"/>
                <a:gd name="connsiteY34" fmla="*/ 4748811 h 6061796"/>
                <a:gd name="connsiteX35" fmla="*/ 20064093 w 20349121"/>
                <a:gd name="connsiteY35" fmla="*/ 5182565 h 6061796"/>
                <a:gd name="connsiteX36" fmla="*/ 20157877 w 20349121"/>
                <a:gd name="connsiteY36" fmla="*/ 5475642 h 6061796"/>
                <a:gd name="connsiteX37" fmla="*/ 20052370 w 20349121"/>
                <a:gd name="connsiteY37" fmla="*/ 5510811 h 6061796"/>
                <a:gd name="connsiteX38" fmla="*/ 19548277 w 20349121"/>
                <a:gd name="connsiteY38" fmla="*/ 5534257 h 6061796"/>
                <a:gd name="connsiteX39" fmla="*/ 19454493 w 20349121"/>
                <a:gd name="connsiteY39" fmla="*/ 5756996 h 6061796"/>
                <a:gd name="connsiteX40" fmla="*/ 19290370 w 20349121"/>
                <a:gd name="connsiteY40" fmla="*/ 5780442 h 6061796"/>
                <a:gd name="connsiteX41" fmla="*/ 18223570 w 20349121"/>
                <a:gd name="connsiteY41" fmla="*/ 5768719 h 6061796"/>
                <a:gd name="connsiteX42" fmla="*/ 18223570 w 20349121"/>
                <a:gd name="connsiteY42" fmla="*/ 5581150 h 6061796"/>
                <a:gd name="connsiteX43" fmla="*/ 17989108 w 20349121"/>
                <a:gd name="connsiteY43" fmla="*/ 4725365 h 6061796"/>
                <a:gd name="connsiteX44" fmla="*/ 17602247 w 20349121"/>
                <a:gd name="connsiteY44" fmla="*/ 4162657 h 6061796"/>
                <a:gd name="connsiteX45" fmla="*/ 17145047 w 20349121"/>
                <a:gd name="connsiteY45" fmla="*/ 3857857 h 6061796"/>
                <a:gd name="connsiteX46" fmla="*/ 16429939 w 20349121"/>
                <a:gd name="connsiteY46" fmla="*/ 3682011 h 6061796"/>
                <a:gd name="connsiteX47" fmla="*/ 15902401 w 20349121"/>
                <a:gd name="connsiteY47" fmla="*/ 3728904 h 6061796"/>
                <a:gd name="connsiteX48" fmla="*/ 15386585 w 20349121"/>
                <a:gd name="connsiteY48" fmla="*/ 3951642 h 6061796"/>
                <a:gd name="connsiteX49" fmla="*/ 14964554 w 20349121"/>
                <a:gd name="connsiteY49" fmla="*/ 4397119 h 6061796"/>
                <a:gd name="connsiteX50" fmla="*/ 14636308 w 20349121"/>
                <a:gd name="connsiteY50" fmla="*/ 4912934 h 6061796"/>
                <a:gd name="connsiteX51" fmla="*/ 14542524 w 20349121"/>
                <a:gd name="connsiteY51" fmla="*/ 5393581 h 6061796"/>
                <a:gd name="connsiteX52" fmla="*/ 14542524 w 20349121"/>
                <a:gd name="connsiteY52" fmla="*/ 5768719 h 6061796"/>
                <a:gd name="connsiteX53" fmla="*/ 14554247 w 20349121"/>
                <a:gd name="connsiteY53" fmla="*/ 5991457 h 6061796"/>
                <a:gd name="connsiteX54" fmla="*/ 14472185 w 20349121"/>
                <a:gd name="connsiteY54" fmla="*/ 6014904 h 6061796"/>
                <a:gd name="connsiteX55" fmla="*/ 14073601 w 20349121"/>
                <a:gd name="connsiteY55" fmla="*/ 6014904 h 6061796"/>
                <a:gd name="connsiteX56" fmla="*/ 11693816 w 20349121"/>
                <a:gd name="connsiteY56" fmla="*/ 6038350 h 6061796"/>
                <a:gd name="connsiteX57" fmla="*/ 5457139 w 20349121"/>
                <a:gd name="connsiteY57" fmla="*/ 6061796 h 6061796"/>
                <a:gd name="connsiteX58" fmla="*/ 5328185 w 20349121"/>
                <a:gd name="connsiteY58" fmla="*/ 6003181 h 6061796"/>
                <a:gd name="connsiteX59" fmla="*/ 5351631 w 20349121"/>
                <a:gd name="connsiteY59" fmla="*/ 5604596 h 6061796"/>
                <a:gd name="connsiteX60" fmla="*/ 5222677 w 20349121"/>
                <a:gd name="connsiteY60" fmla="*/ 4678473 h 6061796"/>
                <a:gd name="connsiteX61" fmla="*/ 4554462 w 20349121"/>
                <a:gd name="connsiteY61" fmla="*/ 3881304 h 6061796"/>
                <a:gd name="connsiteX62" fmla="*/ 3804185 w 20349121"/>
                <a:gd name="connsiteY62" fmla="*/ 3635119 h 6061796"/>
                <a:gd name="connsiteX63" fmla="*/ 2995293 w 20349121"/>
                <a:gd name="connsiteY63" fmla="*/ 3693734 h 6061796"/>
                <a:gd name="connsiteX64" fmla="*/ 2432585 w 20349121"/>
                <a:gd name="connsiteY64" fmla="*/ 3975088 h 6061796"/>
                <a:gd name="connsiteX65" fmla="*/ 1987108 w 20349121"/>
                <a:gd name="connsiteY65" fmla="*/ 4584688 h 6061796"/>
                <a:gd name="connsiteX66" fmla="*/ 1799539 w 20349121"/>
                <a:gd name="connsiteY66" fmla="*/ 5159119 h 6061796"/>
                <a:gd name="connsiteX67" fmla="*/ 1787816 w 20349121"/>
                <a:gd name="connsiteY67" fmla="*/ 5745273 h 6061796"/>
                <a:gd name="connsiteX68" fmla="*/ 1776093 w 20349121"/>
                <a:gd name="connsiteY68" fmla="*/ 5944565 h 6061796"/>
                <a:gd name="connsiteX69" fmla="*/ 1647139 w 20349121"/>
                <a:gd name="connsiteY69" fmla="*/ 5956288 h 6061796"/>
                <a:gd name="connsiteX70" fmla="*/ 709293 w 20349121"/>
                <a:gd name="connsiteY70" fmla="*/ 5932842 h 6061796"/>
                <a:gd name="connsiteX71" fmla="*/ 556893 w 20349121"/>
                <a:gd name="connsiteY71" fmla="*/ 5909396 h 6061796"/>
                <a:gd name="connsiteX72" fmla="*/ 474831 w 20349121"/>
                <a:gd name="connsiteY72" fmla="*/ 5803888 h 6061796"/>
                <a:gd name="connsiteX73" fmla="*/ 404493 w 20349121"/>
                <a:gd name="connsiteY73" fmla="*/ 5745273 h 6061796"/>
                <a:gd name="connsiteX74" fmla="*/ 263816 w 20349121"/>
                <a:gd name="connsiteY74" fmla="*/ 5581150 h 6061796"/>
                <a:gd name="connsiteX75" fmla="*/ 404493 w 20349121"/>
                <a:gd name="connsiteY75" fmla="*/ 5534257 h 6061796"/>
                <a:gd name="connsiteX76" fmla="*/ 334154 w 20349121"/>
                <a:gd name="connsiteY76" fmla="*/ 5428750 h 6061796"/>
                <a:gd name="connsiteX77" fmla="*/ 240370 w 20349121"/>
                <a:gd name="connsiteY77" fmla="*/ 5030165 h 6061796"/>
                <a:gd name="connsiteX78" fmla="*/ 205201 w 20349121"/>
                <a:gd name="connsiteY78" fmla="*/ 4983273 h 6061796"/>
                <a:gd name="connsiteX79" fmla="*/ 76247 w 20349121"/>
                <a:gd name="connsiteY79" fmla="*/ 4971550 h 6061796"/>
                <a:gd name="connsiteX80" fmla="*/ 52801 w 20349121"/>
                <a:gd name="connsiteY80" fmla="*/ 4842596 h 6061796"/>
                <a:gd name="connsiteX81" fmla="*/ 5908 w 20349121"/>
                <a:gd name="connsiteY81" fmla="*/ 4385396 h 6061796"/>
                <a:gd name="connsiteX82" fmla="*/ 17631 w 20349121"/>
                <a:gd name="connsiteY82" fmla="*/ 4315057 h 6061796"/>
                <a:gd name="connsiteX83" fmla="*/ 158308 w 20349121"/>
                <a:gd name="connsiteY83" fmla="*/ 4279888 h 6061796"/>
                <a:gd name="connsiteX84" fmla="*/ 240370 w 20349121"/>
                <a:gd name="connsiteY84" fmla="*/ 4150934 h 6061796"/>
                <a:gd name="connsiteX85" fmla="*/ 205201 w 20349121"/>
                <a:gd name="connsiteY85" fmla="*/ 3963365 h 6061796"/>
                <a:gd name="connsiteX86" fmla="*/ 193477 w 20349121"/>
                <a:gd name="connsiteY86" fmla="*/ 3623396 h 6061796"/>
                <a:gd name="connsiteX87" fmla="*/ 357601 w 20349121"/>
                <a:gd name="connsiteY87" fmla="*/ 3283427 h 6061796"/>
                <a:gd name="connsiteX88" fmla="*/ 1154770 w 20349121"/>
                <a:gd name="connsiteY88" fmla="*/ 2861396 h 6061796"/>
                <a:gd name="connsiteX89" fmla="*/ 2104339 w 20349121"/>
                <a:gd name="connsiteY89" fmla="*/ 2626934 h 6061796"/>
                <a:gd name="connsiteX90" fmla="*/ 3780739 w 20349121"/>
                <a:gd name="connsiteY90" fmla="*/ 2333857 h 6061796"/>
                <a:gd name="connsiteX91" fmla="*/ 5199231 w 20349121"/>
                <a:gd name="connsiteY91" fmla="*/ 2169734 h 6061796"/>
                <a:gd name="connsiteX92" fmla="*/ 5574370 w 20349121"/>
                <a:gd name="connsiteY92" fmla="*/ 2146288 h 6061796"/>
                <a:gd name="connsiteX93" fmla="*/ 5726770 w 20349121"/>
                <a:gd name="connsiteY93" fmla="*/ 2158011 h 6061796"/>
                <a:gd name="connsiteX94" fmla="*/ 5937785 w 20349121"/>
                <a:gd name="connsiteY94" fmla="*/ 2251796 h 6061796"/>
                <a:gd name="connsiteX95" fmla="*/ 5996401 w 20349121"/>
                <a:gd name="connsiteY95" fmla="*/ 2228350 h 6061796"/>
                <a:gd name="connsiteX0" fmla="*/ 5996401 w 20349121"/>
                <a:gd name="connsiteY0" fmla="*/ 2228350 h 6045759"/>
                <a:gd name="connsiteX1" fmla="*/ 6899077 w 20349121"/>
                <a:gd name="connsiteY1" fmla="*/ 1700811 h 6045759"/>
                <a:gd name="connsiteX2" fmla="*/ 8212062 w 20349121"/>
                <a:gd name="connsiteY2" fmla="*/ 915365 h 6045759"/>
                <a:gd name="connsiteX3" fmla="*/ 9032677 w 20349121"/>
                <a:gd name="connsiteY3" fmla="*/ 528504 h 6045759"/>
                <a:gd name="connsiteX4" fmla="*/ 9079570 w 20349121"/>
                <a:gd name="connsiteY4" fmla="*/ 469888 h 6045759"/>
                <a:gd name="connsiteX5" fmla="*/ 9220247 w 20349121"/>
                <a:gd name="connsiteY5" fmla="*/ 411273 h 6045759"/>
                <a:gd name="connsiteX6" fmla="*/ 10005693 w 20349121"/>
                <a:gd name="connsiteY6" fmla="*/ 188534 h 6045759"/>
                <a:gd name="connsiteX7" fmla="*/ 11365570 w 20349121"/>
                <a:gd name="connsiteY7" fmla="*/ 47857 h 6045759"/>
                <a:gd name="connsiteX8" fmla="*/ 12948185 w 20349121"/>
                <a:gd name="connsiteY8" fmla="*/ 965 h 6045759"/>
                <a:gd name="connsiteX9" fmla="*/ 14565970 w 20349121"/>
                <a:gd name="connsiteY9" fmla="*/ 83027 h 6045759"/>
                <a:gd name="connsiteX10" fmla="*/ 16054801 w 20349121"/>
                <a:gd name="connsiteY10" fmla="*/ 165088 h 6045759"/>
                <a:gd name="connsiteX11" fmla="*/ 17496739 w 20349121"/>
                <a:gd name="connsiteY11" fmla="*/ 364381 h 6045759"/>
                <a:gd name="connsiteX12" fmla="*/ 18012554 w 20349121"/>
                <a:gd name="connsiteY12" fmla="*/ 481611 h 6045759"/>
                <a:gd name="connsiteX13" fmla="*/ 18352524 w 20349121"/>
                <a:gd name="connsiteY13" fmla="*/ 528504 h 6045759"/>
                <a:gd name="connsiteX14" fmla="*/ 18434585 w 20349121"/>
                <a:gd name="connsiteY14" fmla="*/ 575396 h 6045759"/>
                <a:gd name="connsiteX15" fmla="*/ 18469754 w 20349121"/>
                <a:gd name="connsiteY15" fmla="*/ 634011 h 6045759"/>
                <a:gd name="connsiteX16" fmla="*/ 18903508 w 20349121"/>
                <a:gd name="connsiteY16" fmla="*/ 1091211 h 6045759"/>
                <a:gd name="connsiteX17" fmla="*/ 19560001 w 20349121"/>
                <a:gd name="connsiteY17" fmla="*/ 1853211 h 6045759"/>
                <a:gd name="connsiteX18" fmla="*/ 19665508 w 20349121"/>
                <a:gd name="connsiteY18" fmla="*/ 1993888 h 6045759"/>
                <a:gd name="connsiteX19" fmla="*/ 19864801 w 20349121"/>
                <a:gd name="connsiteY19" fmla="*/ 2099396 h 6045759"/>
                <a:gd name="connsiteX20" fmla="*/ 19946862 w 20349121"/>
                <a:gd name="connsiteY20" fmla="*/ 2228350 h 6045759"/>
                <a:gd name="connsiteX21" fmla="*/ 19911693 w 20349121"/>
                <a:gd name="connsiteY21" fmla="*/ 2415919 h 6045759"/>
                <a:gd name="connsiteX22" fmla="*/ 19888247 w 20349121"/>
                <a:gd name="connsiteY22" fmla="*/ 2802781 h 6045759"/>
                <a:gd name="connsiteX23" fmla="*/ 19888247 w 20349121"/>
                <a:gd name="connsiteY23" fmla="*/ 3060688 h 6045759"/>
                <a:gd name="connsiteX24" fmla="*/ 19993754 w 20349121"/>
                <a:gd name="connsiteY24" fmla="*/ 3271704 h 6045759"/>
                <a:gd name="connsiteX25" fmla="*/ 19982031 w 20349121"/>
                <a:gd name="connsiteY25" fmla="*/ 3447550 h 6045759"/>
                <a:gd name="connsiteX26" fmla="*/ 19935139 w 20349121"/>
                <a:gd name="connsiteY26" fmla="*/ 3635119 h 6045759"/>
                <a:gd name="connsiteX27" fmla="*/ 20134431 w 20349121"/>
                <a:gd name="connsiteY27" fmla="*/ 3705457 h 6045759"/>
                <a:gd name="connsiteX28" fmla="*/ 20275108 w 20349121"/>
                <a:gd name="connsiteY28" fmla="*/ 3752350 h 6045759"/>
                <a:gd name="connsiteX29" fmla="*/ 20345447 w 20349121"/>
                <a:gd name="connsiteY29" fmla="*/ 3846134 h 6045759"/>
                <a:gd name="connsiteX30" fmla="*/ 20333724 w 20349121"/>
                <a:gd name="connsiteY30" fmla="*/ 4010257 h 6045759"/>
                <a:gd name="connsiteX31" fmla="*/ 20286831 w 20349121"/>
                <a:gd name="connsiteY31" fmla="*/ 4186104 h 6045759"/>
                <a:gd name="connsiteX32" fmla="*/ 20275108 w 20349121"/>
                <a:gd name="connsiteY32" fmla="*/ 4397119 h 6045759"/>
                <a:gd name="connsiteX33" fmla="*/ 20181324 w 20349121"/>
                <a:gd name="connsiteY33" fmla="*/ 4397119 h 6045759"/>
                <a:gd name="connsiteX34" fmla="*/ 20087539 w 20349121"/>
                <a:gd name="connsiteY34" fmla="*/ 4748811 h 6045759"/>
                <a:gd name="connsiteX35" fmla="*/ 20064093 w 20349121"/>
                <a:gd name="connsiteY35" fmla="*/ 5182565 h 6045759"/>
                <a:gd name="connsiteX36" fmla="*/ 20157877 w 20349121"/>
                <a:gd name="connsiteY36" fmla="*/ 5475642 h 6045759"/>
                <a:gd name="connsiteX37" fmla="*/ 20052370 w 20349121"/>
                <a:gd name="connsiteY37" fmla="*/ 5510811 h 6045759"/>
                <a:gd name="connsiteX38" fmla="*/ 19548277 w 20349121"/>
                <a:gd name="connsiteY38" fmla="*/ 5534257 h 6045759"/>
                <a:gd name="connsiteX39" fmla="*/ 19454493 w 20349121"/>
                <a:gd name="connsiteY39" fmla="*/ 5756996 h 6045759"/>
                <a:gd name="connsiteX40" fmla="*/ 19290370 w 20349121"/>
                <a:gd name="connsiteY40" fmla="*/ 5780442 h 6045759"/>
                <a:gd name="connsiteX41" fmla="*/ 18223570 w 20349121"/>
                <a:gd name="connsiteY41" fmla="*/ 5768719 h 6045759"/>
                <a:gd name="connsiteX42" fmla="*/ 18223570 w 20349121"/>
                <a:gd name="connsiteY42" fmla="*/ 5581150 h 6045759"/>
                <a:gd name="connsiteX43" fmla="*/ 17989108 w 20349121"/>
                <a:gd name="connsiteY43" fmla="*/ 4725365 h 6045759"/>
                <a:gd name="connsiteX44" fmla="*/ 17602247 w 20349121"/>
                <a:gd name="connsiteY44" fmla="*/ 4162657 h 6045759"/>
                <a:gd name="connsiteX45" fmla="*/ 17145047 w 20349121"/>
                <a:gd name="connsiteY45" fmla="*/ 3857857 h 6045759"/>
                <a:gd name="connsiteX46" fmla="*/ 16429939 w 20349121"/>
                <a:gd name="connsiteY46" fmla="*/ 3682011 h 6045759"/>
                <a:gd name="connsiteX47" fmla="*/ 15902401 w 20349121"/>
                <a:gd name="connsiteY47" fmla="*/ 3728904 h 6045759"/>
                <a:gd name="connsiteX48" fmla="*/ 15386585 w 20349121"/>
                <a:gd name="connsiteY48" fmla="*/ 3951642 h 6045759"/>
                <a:gd name="connsiteX49" fmla="*/ 14964554 w 20349121"/>
                <a:gd name="connsiteY49" fmla="*/ 4397119 h 6045759"/>
                <a:gd name="connsiteX50" fmla="*/ 14636308 w 20349121"/>
                <a:gd name="connsiteY50" fmla="*/ 4912934 h 6045759"/>
                <a:gd name="connsiteX51" fmla="*/ 14542524 w 20349121"/>
                <a:gd name="connsiteY51" fmla="*/ 5393581 h 6045759"/>
                <a:gd name="connsiteX52" fmla="*/ 14542524 w 20349121"/>
                <a:gd name="connsiteY52" fmla="*/ 5768719 h 6045759"/>
                <a:gd name="connsiteX53" fmla="*/ 14554247 w 20349121"/>
                <a:gd name="connsiteY53" fmla="*/ 5991457 h 6045759"/>
                <a:gd name="connsiteX54" fmla="*/ 14472185 w 20349121"/>
                <a:gd name="connsiteY54" fmla="*/ 6014904 h 6045759"/>
                <a:gd name="connsiteX55" fmla="*/ 14073601 w 20349121"/>
                <a:gd name="connsiteY55" fmla="*/ 6014904 h 6045759"/>
                <a:gd name="connsiteX56" fmla="*/ 11693816 w 20349121"/>
                <a:gd name="connsiteY56" fmla="*/ 6038350 h 6045759"/>
                <a:gd name="connsiteX57" fmla="*/ 7121816 w 20349121"/>
                <a:gd name="connsiteY57" fmla="*/ 6038350 h 6045759"/>
                <a:gd name="connsiteX58" fmla="*/ 5328185 w 20349121"/>
                <a:gd name="connsiteY58" fmla="*/ 6003181 h 6045759"/>
                <a:gd name="connsiteX59" fmla="*/ 5351631 w 20349121"/>
                <a:gd name="connsiteY59" fmla="*/ 5604596 h 6045759"/>
                <a:gd name="connsiteX60" fmla="*/ 5222677 w 20349121"/>
                <a:gd name="connsiteY60" fmla="*/ 4678473 h 6045759"/>
                <a:gd name="connsiteX61" fmla="*/ 4554462 w 20349121"/>
                <a:gd name="connsiteY61" fmla="*/ 3881304 h 6045759"/>
                <a:gd name="connsiteX62" fmla="*/ 3804185 w 20349121"/>
                <a:gd name="connsiteY62" fmla="*/ 3635119 h 6045759"/>
                <a:gd name="connsiteX63" fmla="*/ 2995293 w 20349121"/>
                <a:gd name="connsiteY63" fmla="*/ 3693734 h 6045759"/>
                <a:gd name="connsiteX64" fmla="*/ 2432585 w 20349121"/>
                <a:gd name="connsiteY64" fmla="*/ 3975088 h 6045759"/>
                <a:gd name="connsiteX65" fmla="*/ 1987108 w 20349121"/>
                <a:gd name="connsiteY65" fmla="*/ 4584688 h 6045759"/>
                <a:gd name="connsiteX66" fmla="*/ 1799539 w 20349121"/>
                <a:gd name="connsiteY66" fmla="*/ 5159119 h 6045759"/>
                <a:gd name="connsiteX67" fmla="*/ 1787816 w 20349121"/>
                <a:gd name="connsiteY67" fmla="*/ 5745273 h 6045759"/>
                <a:gd name="connsiteX68" fmla="*/ 1776093 w 20349121"/>
                <a:gd name="connsiteY68" fmla="*/ 5944565 h 6045759"/>
                <a:gd name="connsiteX69" fmla="*/ 1647139 w 20349121"/>
                <a:gd name="connsiteY69" fmla="*/ 5956288 h 6045759"/>
                <a:gd name="connsiteX70" fmla="*/ 709293 w 20349121"/>
                <a:gd name="connsiteY70" fmla="*/ 5932842 h 6045759"/>
                <a:gd name="connsiteX71" fmla="*/ 556893 w 20349121"/>
                <a:gd name="connsiteY71" fmla="*/ 5909396 h 6045759"/>
                <a:gd name="connsiteX72" fmla="*/ 474831 w 20349121"/>
                <a:gd name="connsiteY72" fmla="*/ 5803888 h 6045759"/>
                <a:gd name="connsiteX73" fmla="*/ 404493 w 20349121"/>
                <a:gd name="connsiteY73" fmla="*/ 5745273 h 6045759"/>
                <a:gd name="connsiteX74" fmla="*/ 263816 w 20349121"/>
                <a:gd name="connsiteY74" fmla="*/ 5581150 h 6045759"/>
                <a:gd name="connsiteX75" fmla="*/ 404493 w 20349121"/>
                <a:gd name="connsiteY75" fmla="*/ 5534257 h 6045759"/>
                <a:gd name="connsiteX76" fmla="*/ 334154 w 20349121"/>
                <a:gd name="connsiteY76" fmla="*/ 5428750 h 6045759"/>
                <a:gd name="connsiteX77" fmla="*/ 240370 w 20349121"/>
                <a:gd name="connsiteY77" fmla="*/ 5030165 h 6045759"/>
                <a:gd name="connsiteX78" fmla="*/ 205201 w 20349121"/>
                <a:gd name="connsiteY78" fmla="*/ 4983273 h 6045759"/>
                <a:gd name="connsiteX79" fmla="*/ 76247 w 20349121"/>
                <a:gd name="connsiteY79" fmla="*/ 4971550 h 6045759"/>
                <a:gd name="connsiteX80" fmla="*/ 52801 w 20349121"/>
                <a:gd name="connsiteY80" fmla="*/ 4842596 h 6045759"/>
                <a:gd name="connsiteX81" fmla="*/ 5908 w 20349121"/>
                <a:gd name="connsiteY81" fmla="*/ 4385396 h 6045759"/>
                <a:gd name="connsiteX82" fmla="*/ 17631 w 20349121"/>
                <a:gd name="connsiteY82" fmla="*/ 4315057 h 6045759"/>
                <a:gd name="connsiteX83" fmla="*/ 158308 w 20349121"/>
                <a:gd name="connsiteY83" fmla="*/ 4279888 h 6045759"/>
                <a:gd name="connsiteX84" fmla="*/ 240370 w 20349121"/>
                <a:gd name="connsiteY84" fmla="*/ 4150934 h 6045759"/>
                <a:gd name="connsiteX85" fmla="*/ 205201 w 20349121"/>
                <a:gd name="connsiteY85" fmla="*/ 3963365 h 6045759"/>
                <a:gd name="connsiteX86" fmla="*/ 193477 w 20349121"/>
                <a:gd name="connsiteY86" fmla="*/ 3623396 h 6045759"/>
                <a:gd name="connsiteX87" fmla="*/ 357601 w 20349121"/>
                <a:gd name="connsiteY87" fmla="*/ 3283427 h 6045759"/>
                <a:gd name="connsiteX88" fmla="*/ 1154770 w 20349121"/>
                <a:gd name="connsiteY88" fmla="*/ 2861396 h 6045759"/>
                <a:gd name="connsiteX89" fmla="*/ 2104339 w 20349121"/>
                <a:gd name="connsiteY89" fmla="*/ 2626934 h 6045759"/>
                <a:gd name="connsiteX90" fmla="*/ 3780739 w 20349121"/>
                <a:gd name="connsiteY90" fmla="*/ 2333857 h 6045759"/>
                <a:gd name="connsiteX91" fmla="*/ 5199231 w 20349121"/>
                <a:gd name="connsiteY91" fmla="*/ 2169734 h 6045759"/>
                <a:gd name="connsiteX92" fmla="*/ 5574370 w 20349121"/>
                <a:gd name="connsiteY92" fmla="*/ 2146288 h 6045759"/>
                <a:gd name="connsiteX93" fmla="*/ 5726770 w 20349121"/>
                <a:gd name="connsiteY93" fmla="*/ 2158011 h 6045759"/>
                <a:gd name="connsiteX94" fmla="*/ 5937785 w 20349121"/>
                <a:gd name="connsiteY94" fmla="*/ 2251796 h 6045759"/>
                <a:gd name="connsiteX95" fmla="*/ 5996401 w 20349121"/>
                <a:gd name="connsiteY95" fmla="*/ 2228350 h 6045759"/>
                <a:gd name="connsiteX0" fmla="*/ 5996401 w 20349121"/>
                <a:gd name="connsiteY0" fmla="*/ 2228350 h 6080632"/>
                <a:gd name="connsiteX1" fmla="*/ 6899077 w 20349121"/>
                <a:gd name="connsiteY1" fmla="*/ 1700811 h 6080632"/>
                <a:gd name="connsiteX2" fmla="*/ 8212062 w 20349121"/>
                <a:gd name="connsiteY2" fmla="*/ 915365 h 6080632"/>
                <a:gd name="connsiteX3" fmla="*/ 9032677 w 20349121"/>
                <a:gd name="connsiteY3" fmla="*/ 528504 h 6080632"/>
                <a:gd name="connsiteX4" fmla="*/ 9079570 w 20349121"/>
                <a:gd name="connsiteY4" fmla="*/ 469888 h 6080632"/>
                <a:gd name="connsiteX5" fmla="*/ 9220247 w 20349121"/>
                <a:gd name="connsiteY5" fmla="*/ 411273 h 6080632"/>
                <a:gd name="connsiteX6" fmla="*/ 10005693 w 20349121"/>
                <a:gd name="connsiteY6" fmla="*/ 188534 h 6080632"/>
                <a:gd name="connsiteX7" fmla="*/ 11365570 w 20349121"/>
                <a:gd name="connsiteY7" fmla="*/ 47857 h 6080632"/>
                <a:gd name="connsiteX8" fmla="*/ 12948185 w 20349121"/>
                <a:gd name="connsiteY8" fmla="*/ 965 h 6080632"/>
                <a:gd name="connsiteX9" fmla="*/ 14565970 w 20349121"/>
                <a:gd name="connsiteY9" fmla="*/ 83027 h 6080632"/>
                <a:gd name="connsiteX10" fmla="*/ 16054801 w 20349121"/>
                <a:gd name="connsiteY10" fmla="*/ 165088 h 6080632"/>
                <a:gd name="connsiteX11" fmla="*/ 17496739 w 20349121"/>
                <a:gd name="connsiteY11" fmla="*/ 364381 h 6080632"/>
                <a:gd name="connsiteX12" fmla="*/ 18012554 w 20349121"/>
                <a:gd name="connsiteY12" fmla="*/ 481611 h 6080632"/>
                <a:gd name="connsiteX13" fmla="*/ 18352524 w 20349121"/>
                <a:gd name="connsiteY13" fmla="*/ 528504 h 6080632"/>
                <a:gd name="connsiteX14" fmla="*/ 18434585 w 20349121"/>
                <a:gd name="connsiteY14" fmla="*/ 575396 h 6080632"/>
                <a:gd name="connsiteX15" fmla="*/ 18469754 w 20349121"/>
                <a:gd name="connsiteY15" fmla="*/ 634011 h 6080632"/>
                <a:gd name="connsiteX16" fmla="*/ 18903508 w 20349121"/>
                <a:gd name="connsiteY16" fmla="*/ 1091211 h 6080632"/>
                <a:gd name="connsiteX17" fmla="*/ 19560001 w 20349121"/>
                <a:gd name="connsiteY17" fmla="*/ 1853211 h 6080632"/>
                <a:gd name="connsiteX18" fmla="*/ 19665508 w 20349121"/>
                <a:gd name="connsiteY18" fmla="*/ 1993888 h 6080632"/>
                <a:gd name="connsiteX19" fmla="*/ 19864801 w 20349121"/>
                <a:gd name="connsiteY19" fmla="*/ 2099396 h 6080632"/>
                <a:gd name="connsiteX20" fmla="*/ 19946862 w 20349121"/>
                <a:gd name="connsiteY20" fmla="*/ 2228350 h 6080632"/>
                <a:gd name="connsiteX21" fmla="*/ 19911693 w 20349121"/>
                <a:gd name="connsiteY21" fmla="*/ 2415919 h 6080632"/>
                <a:gd name="connsiteX22" fmla="*/ 19888247 w 20349121"/>
                <a:gd name="connsiteY22" fmla="*/ 2802781 h 6080632"/>
                <a:gd name="connsiteX23" fmla="*/ 19888247 w 20349121"/>
                <a:gd name="connsiteY23" fmla="*/ 3060688 h 6080632"/>
                <a:gd name="connsiteX24" fmla="*/ 19993754 w 20349121"/>
                <a:gd name="connsiteY24" fmla="*/ 3271704 h 6080632"/>
                <a:gd name="connsiteX25" fmla="*/ 19982031 w 20349121"/>
                <a:gd name="connsiteY25" fmla="*/ 3447550 h 6080632"/>
                <a:gd name="connsiteX26" fmla="*/ 19935139 w 20349121"/>
                <a:gd name="connsiteY26" fmla="*/ 3635119 h 6080632"/>
                <a:gd name="connsiteX27" fmla="*/ 20134431 w 20349121"/>
                <a:gd name="connsiteY27" fmla="*/ 3705457 h 6080632"/>
                <a:gd name="connsiteX28" fmla="*/ 20275108 w 20349121"/>
                <a:gd name="connsiteY28" fmla="*/ 3752350 h 6080632"/>
                <a:gd name="connsiteX29" fmla="*/ 20345447 w 20349121"/>
                <a:gd name="connsiteY29" fmla="*/ 3846134 h 6080632"/>
                <a:gd name="connsiteX30" fmla="*/ 20333724 w 20349121"/>
                <a:gd name="connsiteY30" fmla="*/ 4010257 h 6080632"/>
                <a:gd name="connsiteX31" fmla="*/ 20286831 w 20349121"/>
                <a:gd name="connsiteY31" fmla="*/ 4186104 h 6080632"/>
                <a:gd name="connsiteX32" fmla="*/ 20275108 w 20349121"/>
                <a:gd name="connsiteY32" fmla="*/ 4397119 h 6080632"/>
                <a:gd name="connsiteX33" fmla="*/ 20181324 w 20349121"/>
                <a:gd name="connsiteY33" fmla="*/ 4397119 h 6080632"/>
                <a:gd name="connsiteX34" fmla="*/ 20087539 w 20349121"/>
                <a:gd name="connsiteY34" fmla="*/ 4748811 h 6080632"/>
                <a:gd name="connsiteX35" fmla="*/ 20064093 w 20349121"/>
                <a:gd name="connsiteY35" fmla="*/ 5182565 h 6080632"/>
                <a:gd name="connsiteX36" fmla="*/ 20157877 w 20349121"/>
                <a:gd name="connsiteY36" fmla="*/ 5475642 h 6080632"/>
                <a:gd name="connsiteX37" fmla="*/ 20052370 w 20349121"/>
                <a:gd name="connsiteY37" fmla="*/ 5510811 h 6080632"/>
                <a:gd name="connsiteX38" fmla="*/ 19548277 w 20349121"/>
                <a:gd name="connsiteY38" fmla="*/ 5534257 h 6080632"/>
                <a:gd name="connsiteX39" fmla="*/ 19454493 w 20349121"/>
                <a:gd name="connsiteY39" fmla="*/ 5756996 h 6080632"/>
                <a:gd name="connsiteX40" fmla="*/ 19290370 w 20349121"/>
                <a:gd name="connsiteY40" fmla="*/ 5780442 h 6080632"/>
                <a:gd name="connsiteX41" fmla="*/ 18223570 w 20349121"/>
                <a:gd name="connsiteY41" fmla="*/ 5768719 h 6080632"/>
                <a:gd name="connsiteX42" fmla="*/ 18223570 w 20349121"/>
                <a:gd name="connsiteY42" fmla="*/ 5581150 h 6080632"/>
                <a:gd name="connsiteX43" fmla="*/ 17989108 w 20349121"/>
                <a:gd name="connsiteY43" fmla="*/ 4725365 h 6080632"/>
                <a:gd name="connsiteX44" fmla="*/ 17602247 w 20349121"/>
                <a:gd name="connsiteY44" fmla="*/ 4162657 h 6080632"/>
                <a:gd name="connsiteX45" fmla="*/ 17145047 w 20349121"/>
                <a:gd name="connsiteY45" fmla="*/ 3857857 h 6080632"/>
                <a:gd name="connsiteX46" fmla="*/ 16429939 w 20349121"/>
                <a:gd name="connsiteY46" fmla="*/ 3682011 h 6080632"/>
                <a:gd name="connsiteX47" fmla="*/ 15902401 w 20349121"/>
                <a:gd name="connsiteY47" fmla="*/ 3728904 h 6080632"/>
                <a:gd name="connsiteX48" fmla="*/ 15386585 w 20349121"/>
                <a:gd name="connsiteY48" fmla="*/ 3951642 h 6080632"/>
                <a:gd name="connsiteX49" fmla="*/ 14964554 w 20349121"/>
                <a:gd name="connsiteY49" fmla="*/ 4397119 h 6080632"/>
                <a:gd name="connsiteX50" fmla="*/ 14636308 w 20349121"/>
                <a:gd name="connsiteY50" fmla="*/ 4912934 h 6080632"/>
                <a:gd name="connsiteX51" fmla="*/ 14542524 w 20349121"/>
                <a:gd name="connsiteY51" fmla="*/ 5393581 h 6080632"/>
                <a:gd name="connsiteX52" fmla="*/ 14542524 w 20349121"/>
                <a:gd name="connsiteY52" fmla="*/ 5768719 h 6080632"/>
                <a:gd name="connsiteX53" fmla="*/ 14554247 w 20349121"/>
                <a:gd name="connsiteY53" fmla="*/ 5991457 h 6080632"/>
                <a:gd name="connsiteX54" fmla="*/ 14472185 w 20349121"/>
                <a:gd name="connsiteY54" fmla="*/ 6014904 h 6080632"/>
                <a:gd name="connsiteX55" fmla="*/ 14073601 w 20349121"/>
                <a:gd name="connsiteY55" fmla="*/ 6014904 h 6080632"/>
                <a:gd name="connsiteX56" fmla="*/ 11693816 w 20349121"/>
                <a:gd name="connsiteY56" fmla="*/ 6038350 h 6080632"/>
                <a:gd name="connsiteX57" fmla="*/ 7121816 w 20349121"/>
                <a:gd name="connsiteY57" fmla="*/ 6038350 h 6080632"/>
                <a:gd name="connsiteX58" fmla="*/ 5328185 w 20349121"/>
                <a:gd name="connsiteY58" fmla="*/ 6003181 h 6080632"/>
                <a:gd name="connsiteX59" fmla="*/ 5351631 w 20349121"/>
                <a:gd name="connsiteY59" fmla="*/ 5604596 h 6080632"/>
                <a:gd name="connsiteX60" fmla="*/ 5222677 w 20349121"/>
                <a:gd name="connsiteY60" fmla="*/ 4678473 h 6080632"/>
                <a:gd name="connsiteX61" fmla="*/ 4554462 w 20349121"/>
                <a:gd name="connsiteY61" fmla="*/ 3881304 h 6080632"/>
                <a:gd name="connsiteX62" fmla="*/ 3804185 w 20349121"/>
                <a:gd name="connsiteY62" fmla="*/ 3635119 h 6080632"/>
                <a:gd name="connsiteX63" fmla="*/ 2995293 w 20349121"/>
                <a:gd name="connsiteY63" fmla="*/ 3693734 h 6080632"/>
                <a:gd name="connsiteX64" fmla="*/ 2432585 w 20349121"/>
                <a:gd name="connsiteY64" fmla="*/ 3975088 h 6080632"/>
                <a:gd name="connsiteX65" fmla="*/ 1987108 w 20349121"/>
                <a:gd name="connsiteY65" fmla="*/ 4584688 h 6080632"/>
                <a:gd name="connsiteX66" fmla="*/ 1799539 w 20349121"/>
                <a:gd name="connsiteY66" fmla="*/ 5159119 h 6080632"/>
                <a:gd name="connsiteX67" fmla="*/ 1787816 w 20349121"/>
                <a:gd name="connsiteY67" fmla="*/ 5745273 h 6080632"/>
                <a:gd name="connsiteX68" fmla="*/ 1776093 w 20349121"/>
                <a:gd name="connsiteY68" fmla="*/ 5944565 h 6080632"/>
                <a:gd name="connsiteX69" fmla="*/ 1647139 w 20349121"/>
                <a:gd name="connsiteY69" fmla="*/ 5956288 h 6080632"/>
                <a:gd name="connsiteX70" fmla="*/ 709293 w 20349121"/>
                <a:gd name="connsiteY70" fmla="*/ 5932842 h 6080632"/>
                <a:gd name="connsiteX71" fmla="*/ 556893 w 20349121"/>
                <a:gd name="connsiteY71" fmla="*/ 5909396 h 6080632"/>
                <a:gd name="connsiteX72" fmla="*/ 474831 w 20349121"/>
                <a:gd name="connsiteY72" fmla="*/ 5803888 h 6080632"/>
                <a:gd name="connsiteX73" fmla="*/ 404493 w 20349121"/>
                <a:gd name="connsiteY73" fmla="*/ 5745273 h 6080632"/>
                <a:gd name="connsiteX74" fmla="*/ 263816 w 20349121"/>
                <a:gd name="connsiteY74" fmla="*/ 5581150 h 6080632"/>
                <a:gd name="connsiteX75" fmla="*/ 404493 w 20349121"/>
                <a:gd name="connsiteY75" fmla="*/ 5534257 h 6080632"/>
                <a:gd name="connsiteX76" fmla="*/ 334154 w 20349121"/>
                <a:gd name="connsiteY76" fmla="*/ 5428750 h 6080632"/>
                <a:gd name="connsiteX77" fmla="*/ 240370 w 20349121"/>
                <a:gd name="connsiteY77" fmla="*/ 5030165 h 6080632"/>
                <a:gd name="connsiteX78" fmla="*/ 205201 w 20349121"/>
                <a:gd name="connsiteY78" fmla="*/ 4983273 h 6080632"/>
                <a:gd name="connsiteX79" fmla="*/ 76247 w 20349121"/>
                <a:gd name="connsiteY79" fmla="*/ 4971550 h 6080632"/>
                <a:gd name="connsiteX80" fmla="*/ 52801 w 20349121"/>
                <a:gd name="connsiteY80" fmla="*/ 4842596 h 6080632"/>
                <a:gd name="connsiteX81" fmla="*/ 5908 w 20349121"/>
                <a:gd name="connsiteY81" fmla="*/ 4385396 h 6080632"/>
                <a:gd name="connsiteX82" fmla="*/ 17631 w 20349121"/>
                <a:gd name="connsiteY82" fmla="*/ 4315057 h 6080632"/>
                <a:gd name="connsiteX83" fmla="*/ 158308 w 20349121"/>
                <a:gd name="connsiteY83" fmla="*/ 4279888 h 6080632"/>
                <a:gd name="connsiteX84" fmla="*/ 240370 w 20349121"/>
                <a:gd name="connsiteY84" fmla="*/ 4150934 h 6080632"/>
                <a:gd name="connsiteX85" fmla="*/ 205201 w 20349121"/>
                <a:gd name="connsiteY85" fmla="*/ 3963365 h 6080632"/>
                <a:gd name="connsiteX86" fmla="*/ 193477 w 20349121"/>
                <a:gd name="connsiteY86" fmla="*/ 3623396 h 6080632"/>
                <a:gd name="connsiteX87" fmla="*/ 357601 w 20349121"/>
                <a:gd name="connsiteY87" fmla="*/ 3283427 h 6080632"/>
                <a:gd name="connsiteX88" fmla="*/ 1154770 w 20349121"/>
                <a:gd name="connsiteY88" fmla="*/ 2861396 h 6080632"/>
                <a:gd name="connsiteX89" fmla="*/ 2104339 w 20349121"/>
                <a:gd name="connsiteY89" fmla="*/ 2626934 h 6080632"/>
                <a:gd name="connsiteX90" fmla="*/ 3780739 w 20349121"/>
                <a:gd name="connsiteY90" fmla="*/ 2333857 h 6080632"/>
                <a:gd name="connsiteX91" fmla="*/ 5199231 w 20349121"/>
                <a:gd name="connsiteY91" fmla="*/ 2169734 h 6080632"/>
                <a:gd name="connsiteX92" fmla="*/ 5574370 w 20349121"/>
                <a:gd name="connsiteY92" fmla="*/ 2146288 h 6080632"/>
                <a:gd name="connsiteX93" fmla="*/ 5726770 w 20349121"/>
                <a:gd name="connsiteY93" fmla="*/ 2158011 h 6080632"/>
                <a:gd name="connsiteX94" fmla="*/ 5937785 w 20349121"/>
                <a:gd name="connsiteY94" fmla="*/ 2251796 h 6080632"/>
                <a:gd name="connsiteX95" fmla="*/ 5996401 w 20349121"/>
                <a:gd name="connsiteY95" fmla="*/ 2228350 h 6080632"/>
                <a:gd name="connsiteX0" fmla="*/ 5996401 w 20349121"/>
                <a:gd name="connsiteY0" fmla="*/ 2228350 h 6055371"/>
                <a:gd name="connsiteX1" fmla="*/ 6899077 w 20349121"/>
                <a:gd name="connsiteY1" fmla="*/ 1700811 h 6055371"/>
                <a:gd name="connsiteX2" fmla="*/ 8212062 w 20349121"/>
                <a:gd name="connsiteY2" fmla="*/ 915365 h 6055371"/>
                <a:gd name="connsiteX3" fmla="*/ 9032677 w 20349121"/>
                <a:gd name="connsiteY3" fmla="*/ 528504 h 6055371"/>
                <a:gd name="connsiteX4" fmla="*/ 9079570 w 20349121"/>
                <a:gd name="connsiteY4" fmla="*/ 469888 h 6055371"/>
                <a:gd name="connsiteX5" fmla="*/ 9220247 w 20349121"/>
                <a:gd name="connsiteY5" fmla="*/ 411273 h 6055371"/>
                <a:gd name="connsiteX6" fmla="*/ 10005693 w 20349121"/>
                <a:gd name="connsiteY6" fmla="*/ 188534 h 6055371"/>
                <a:gd name="connsiteX7" fmla="*/ 11365570 w 20349121"/>
                <a:gd name="connsiteY7" fmla="*/ 47857 h 6055371"/>
                <a:gd name="connsiteX8" fmla="*/ 12948185 w 20349121"/>
                <a:gd name="connsiteY8" fmla="*/ 965 h 6055371"/>
                <a:gd name="connsiteX9" fmla="*/ 14565970 w 20349121"/>
                <a:gd name="connsiteY9" fmla="*/ 83027 h 6055371"/>
                <a:gd name="connsiteX10" fmla="*/ 16054801 w 20349121"/>
                <a:gd name="connsiteY10" fmla="*/ 165088 h 6055371"/>
                <a:gd name="connsiteX11" fmla="*/ 17496739 w 20349121"/>
                <a:gd name="connsiteY11" fmla="*/ 364381 h 6055371"/>
                <a:gd name="connsiteX12" fmla="*/ 18012554 w 20349121"/>
                <a:gd name="connsiteY12" fmla="*/ 481611 h 6055371"/>
                <a:gd name="connsiteX13" fmla="*/ 18352524 w 20349121"/>
                <a:gd name="connsiteY13" fmla="*/ 528504 h 6055371"/>
                <a:gd name="connsiteX14" fmla="*/ 18434585 w 20349121"/>
                <a:gd name="connsiteY14" fmla="*/ 575396 h 6055371"/>
                <a:gd name="connsiteX15" fmla="*/ 18469754 w 20349121"/>
                <a:gd name="connsiteY15" fmla="*/ 634011 h 6055371"/>
                <a:gd name="connsiteX16" fmla="*/ 18903508 w 20349121"/>
                <a:gd name="connsiteY16" fmla="*/ 1091211 h 6055371"/>
                <a:gd name="connsiteX17" fmla="*/ 19560001 w 20349121"/>
                <a:gd name="connsiteY17" fmla="*/ 1853211 h 6055371"/>
                <a:gd name="connsiteX18" fmla="*/ 19665508 w 20349121"/>
                <a:gd name="connsiteY18" fmla="*/ 1993888 h 6055371"/>
                <a:gd name="connsiteX19" fmla="*/ 19864801 w 20349121"/>
                <a:gd name="connsiteY19" fmla="*/ 2099396 h 6055371"/>
                <a:gd name="connsiteX20" fmla="*/ 19946862 w 20349121"/>
                <a:gd name="connsiteY20" fmla="*/ 2228350 h 6055371"/>
                <a:gd name="connsiteX21" fmla="*/ 19911693 w 20349121"/>
                <a:gd name="connsiteY21" fmla="*/ 2415919 h 6055371"/>
                <a:gd name="connsiteX22" fmla="*/ 19888247 w 20349121"/>
                <a:gd name="connsiteY22" fmla="*/ 2802781 h 6055371"/>
                <a:gd name="connsiteX23" fmla="*/ 19888247 w 20349121"/>
                <a:gd name="connsiteY23" fmla="*/ 3060688 h 6055371"/>
                <a:gd name="connsiteX24" fmla="*/ 19993754 w 20349121"/>
                <a:gd name="connsiteY24" fmla="*/ 3271704 h 6055371"/>
                <a:gd name="connsiteX25" fmla="*/ 19982031 w 20349121"/>
                <a:gd name="connsiteY25" fmla="*/ 3447550 h 6055371"/>
                <a:gd name="connsiteX26" fmla="*/ 19935139 w 20349121"/>
                <a:gd name="connsiteY26" fmla="*/ 3635119 h 6055371"/>
                <a:gd name="connsiteX27" fmla="*/ 20134431 w 20349121"/>
                <a:gd name="connsiteY27" fmla="*/ 3705457 h 6055371"/>
                <a:gd name="connsiteX28" fmla="*/ 20275108 w 20349121"/>
                <a:gd name="connsiteY28" fmla="*/ 3752350 h 6055371"/>
                <a:gd name="connsiteX29" fmla="*/ 20345447 w 20349121"/>
                <a:gd name="connsiteY29" fmla="*/ 3846134 h 6055371"/>
                <a:gd name="connsiteX30" fmla="*/ 20333724 w 20349121"/>
                <a:gd name="connsiteY30" fmla="*/ 4010257 h 6055371"/>
                <a:gd name="connsiteX31" fmla="*/ 20286831 w 20349121"/>
                <a:gd name="connsiteY31" fmla="*/ 4186104 h 6055371"/>
                <a:gd name="connsiteX32" fmla="*/ 20275108 w 20349121"/>
                <a:gd name="connsiteY32" fmla="*/ 4397119 h 6055371"/>
                <a:gd name="connsiteX33" fmla="*/ 20181324 w 20349121"/>
                <a:gd name="connsiteY33" fmla="*/ 4397119 h 6055371"/>
                <a:gd name="connsiteX34" fmla="*/ 20087539 w 20349121"/>
                <a:gd name="connsiteY34" fmla="*/ 4748811 h 6055371"/>
                <a:gd name="connsiteX35" fmla="*/ 20064093 w 20349121"/>
                <a:gd name="connsiteY35" fmla="*/ 5182565 h 6055371"/>
                <a:gd name="connsiteX36" fmla="*/ 20157877 w 20349121"/>
                <a:gd name="connsiteY36" fmla="*/ 5475642 h 6055371"/>
                <a:gd name="connsiteX37" fmla="*/ 20052370 w 20349121"/>
                <a:gd name="connsiteY37" fmla="*/ 5510811 h 6055371"/>
                <a:gd name="connsiteX38" fmla="*/ 19548277 w 20349121"/>
                <a:gd name="connsiteY38" fmla="*/ 5534257 h 6055371"/>
                <a:gd name="connsiteX39" fmla="*/ 19454493 w 20349121"/>
                <a:gd name="connsiteY39" fmla="*/ 5756996 h 6055371"/>
                <a:gd name="connsiteX40" fmla="*/ 19290370 w 20349121"/>
                <a:gd name="connsiteY40" fmla="*/ 5780442 h 6055371"/>
                <a:gd name="connsiteX41" fmla="*/ 18223570 w 20349121"/>
                <a:gd name="connsiteY41" fmla="*/ 5768719 h 6055371"/>
                <a:gd name="connsiteX42" fmla="*/ 18223570 w 20349121"/>
                <a:gd name="connsiteY42" fmla="*/ 5581150 h 6055371"/>
                <a:gd name="connsiteX43" fmla="*/ 17989108 w 20349121"/>
                <a:gd name="connsiteY43" fmla="*/ 4725365 h 6055371"/>
                <a:gd name="connsiteX44" fmla="*/ 17602247 w 20349121"/>
                <a:gd name="connsiteY44" fmla="*/ 4162657 h 6055371"/>
                <a:gd name="connsiteX45" fmla="*/ 17145047 w 20349121"/>
                <a:gd name="connsiteY45" fmla="*/ 3857857 h 6055371"/>
                <a:gd name="connsiteX46" fmla="*/ 16429939 w 20349121"/>
                <a:gd name="connsiteY46" fmla="*/ 3682011 h 6055371"/>
                <a:gd name="connsiteX47" fmla="*/ 15902401 w 20349121"/>
                <a:gd name="connsiteY47" fmla="*/ 3728904 h 6055371"/>
                <a:gd name="connsiteX48" fmla="*/ 15386585 w 20349121"/>
                <a:gd name="connsiteY48" fmla="*/ 3951642 h 6055371"/>
                <a:gd name="connsiteX49" fmla="*/ 14964554 w 20349121"/>
                <a:gd name="connsiteY49" fmla="*/ 4397119 h 6055371"/>
                <a:gd name="connsiteX50" fmla="*/ 14636308 w 20349121"/>
                <a:gd name="connsiteY50" fmla="*/ 4912934 h 6055371"/>
                <a:gd name="connsiteX51" fmla="*/ 14542524 w 20349121"/>
                <a:gd name="connsiteY51" fmla="*/ 5393581 h 6055371"/>
                <a:gd name="connsiteX52" fmla="*/ 14542524 w 20349121"/>
                <a:gd name="connsiteY52" fmla="*/ 5768719 h 6055371"/>
                <a:gd name="connsiteX53" fmla="*/ 14554247 w 20349121"/>
                <a:gd name="connsiteY53" fmla="*/ 5991457 h 6055371"/>
                <a:gd name="connsiteX54" fmla="*/ 14472185 w 20349121"/>
                <a:gd name="connsiteY54" fmla="*/ 6014904 h 6055371"/>
                <a:gd name="connsiteX55" fmla="*/ 14073601 w 20349121"/>
                <a:gd name="connsiteY55" fmla="*/ 6014904 h 6055371"/>
                <a:gd name="connsiteX56" fmla="*/ 11693816 w 20349121"/>
                <a:gd name="connsiteY56" fmla="*/ 6038350 h 6055371"/>
                <a:gd name="connsiteX57" fmla="*/ 7121816 w 20349121"/>
                <a:gd name="connsiteY57" fmla="*/ 6038350 h 6055371"/>
                <a:gd name="connsiteX58" fmla="*/ 5328185 w 20349121"/>
                <a:gd name="connsiteY58" fmla="*/ 6003181 h 6055371"/>
                <a:gd name="connsiteX59" fmla="*/ 5351631 w 20349121"/>
                <a:gd name="connsiteY59" fmla="*/ 5604596 h 6055371"/>
                <a:gd name="connsiteX60" fmla="*/ 5222677 w 20349121"/>
                <a:gd name="connsiteY60" fmla="*/ 4678473 h 6055371"/>
                <a:gd name="connsiteX61" fmla="*/ 4554462 w 20349121"/>
                <a:gd name="connsiteY61" fmla="*/ 3881304 h 6055371"/>
                <a:gd name="connsiteX62" fmla="*/ 3804185 w 20349121"/>
                <a:gd name="connsiteY62" fmla="*/ 3635119 h 6055371"/>
                <a:gd name="connsiteX63" fmla="*/ 2995293 w 20349121"/>
                <a:gd name="connsiteY63" fmla="*/ 3693734 h 6055371"/>
                <a:gd name="connsiteX64" fmla="*/ 2432585 w 20349121"/>
                <a:gd name="connsiteY64" fmla="*/ 3975088 h 6055371"/>
                <a:gd name="connsiteX65" fmla="*/ 1987108 w 20349121"/>
                <a:gd name="connsiteY65" fmla="*/ 4584688 h 6055371"/>
                <a:gd name="connsiteX66" fmla="*/ 1799539 w 20349121"/>
                <a:gd name="connsiteY66" fmla="*/ 5159119 h 6055371"/>
                <a:gd name="connsiteX67" fmla="*/ 1787816 w 20349121"/>
                <a:gd name="connsiteY67" fmla="*/ 5745273 h 6055371"/>
                <a:gd name="connsiteX68" fmla="*/ 1776093 w 20349121"/>
                <a:gd name="connsiteY68" fmla="*/ 5944565 h 6055371"/>
                <a:gd name="connsiteX69" fmla="*/ 1647139 w 20349121"/>
                <a:gd name="connsiteY69" fmla="*/ 5956288 h 6055371"/>
                <a:gd name="connsiteX70" fmla="*/ 709293 w 20349121"/>
                <a:gd name="connsiteY70" fmla="*/ 5932842 h 6055371"/>
                <a:gd name="connsiteX71" fmla="*/ 556893 w 20349121"/>
                <a:gd name="connsiteY71" fmla="*/ 5909396 h 6055371"/>
                <a:gd name="connsiteX72" fmla="*/ 474831 w 20349121"/>
                <a:gd name="connsiteY72" fmla="*/ 5803888 h 6055371"/>
                <a:gd name="connsiteX73" fmla="*/ 404493 w 20349121"/>
                <a:gd name="connsiteY73" fmla="*/ 5745273 h 6055371"/>
                <a:gd name="connsiteX74" fmla="*/ 263816 w 20349121"/>
                <a:gd name="connsiteY74" fmla="*/ 5581150 h 6055371"/>
                <a:gd name="connsiteX75" fmla="*/ 404493 w 20349121"/>
                <a:gd name="connsiteY75" fmla="*/ 5534257 h 6055371"/>
                <a:gd name="connsiteX76" fmla="*/ 334154 w 20349121"/>
                <a:gd name="connsiteY76" fmla="*/ 5428750 h 6055371"/>
                <a:gd name="connsiteX77" fmla="*/ 240370 w 20349121"/>
                <a:gd name="connsiteY77" fmla="*/ 5030165 h 6055371"/>
                <a:gd name="connsiteX78" fmla="*/ 205201 w 20349121"/>
                <a:gd name="connsiteY78" fmla="*/ 4983273 h 6055371"/>
                <a:gd name="connsiteX79" fmla="*/ 76247 w 20349121"/>
                <a:gd name="connsiteY79" fmla="*/ 4971550 h 6055371"/>
                <a:gd name="connsiteX80" fmla="*/ 52801 w 20349121"/>
                <a:gd name="connsiteY80" fmla="*/ 4842596 h 6055371"/>
                <a:gd name="connsiteX81" fmla="*/ 5908 w 20349121"/>
                <a:gd name="connsiteY81" fmla="*/ 4385396 h 6055371"/>
                <a:gd name="connsiteX82" fmla="*/ 17631 w 20349121"/>
                <a:gd name="connsiteY82" fmla="*/ 4315057 h 6055371"/>
                <a:gd name="connsiteX83" fmla="*/ 158308 w 20349121"/>
                <a:gd name="connsiteY83" fmla="*/ 4279888 h 6055371"/>
                <a:gd name="connsiteX84" fmla="*/ 240370 w 20349121"/>
                <a:gd name="connsiteY84" fmla="*/ 4150934 h 6055371"/>
                <a:gd name="connsiteX85" fmla="*/ 205201 w 20349121"/>
                <a:gd name="connsiteY85" fmla="*/ 3963365 h 6055371"/>
                <a:gd name="connsiteX86" fmla="*/ 193477 w 20349121"/>
                <a:gd name="connsiteY86" fmla="*/ 3623396 h 6055371"/>
                <a:gd name="connsiteX87" fmla="*/ 357601 w 20349121"/>
                <a:gd name="connsiteY87" fmla="*/ 3283427 h 6055371"/>
                <a:gd name="connsiteX88" fmla="*/ 1154770 w 20349121"/>
                <a:gd name="connsiteY88" fmla="*/ 2861396 h 6055371"/>
                <a:gd name="connsiteX89" fmla="*/ 2104339 w 20349121"/>
                <a:gd name="connsiteY89" fmla="*/ 2626934 h 6055371"/>
                <a:gd name="connsiteX90" fmla="*/ 3780739 w 20349121"/>
                <a:gd name="connsiteY90" fmla="*/ 2333857 h 6055371"/>
                <a:gd name="connsiteX91" fmla="*/ 5199231 w 20349121"/>
                <a:gd name="connsiteY91" fmla="*/ 2169734 h 6055371"/>
                <a:gd name="connsiteX92" fmla="*/ 5574370 w 20349121"/>
                <a:gd name="connsiteY92" fmla="*/ 2146288 h 6055371"/>
                <a:gd name="connsiteX93" fmla="*/ 5726770 w 20349121"/>
                <a:gd name="connsiteY93" fmla="*/ 2158011 h 6055371"/>
                <a:gd name="connsiteX94" fmla="*/ 5937785 w 20349121"/>
                <a:gd name="connsiteY94" fmla="*/ 2251796 h 6055371"/>
                <a:gd name="connsiteX95" fmla="*/ 5996401 w 20349121"/>
                <a:gd name="connsiteY95" fmla="*/ 2228350 h 605537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222677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8166"/>
                <a:gd name="connsiteY0" fmla="*/ 2228350 h 6050491"/>
                <a:gd name="connsiteX1" fmla="*/ 6899077 w 20348166"/>
                <a:gd name="connsiteY1" fmla="*/ 1700811 h 6050491"/>
                <a:gd name="connsiteX2" fmla="*/ 8212062 w 20348166"/>
                <a:gd name="connsiteY2" fmla="*/ 915365 h 6050491"/>
                <a:gd name="connsiteX3" fmla="*/ 9032677 w 20348166"/>
                <a:gd name="connsiteY3" fmla="*/ 528504 h 6050491"/>
                <a:gd name="connsiteX4" fmla="*/ 9079570 w 20348166"/>
                <a:gd name="connsiteY4" fmla="*/ 469888 h 6050491"/>
                <a:gd name="connsiteX5" fmla="*/ 9220247 w 20348166"/>
                <a:gd name="connsiteY5" fmla="*/ 411273 h 6050491"/>
                <a:gd name="connsiteX6" fmla="*/ 10005693 w 20348166"/>
                <a:gd name="connsiteY6" fmla="*/ 188534 h 6050491"/>
                <a:gd name="connsiteX7" fmla="*/ 11365570 w 20348166"/>
                <a:gd name="connsiteY7" fmla="*/ 47857 h 6050491"/>
                <a:gd name="connsiteX8" fmla="*/ 12948185 w 20348166"/>
                <a:gd name="connsiteY8" fmla="*/ 965 h 6050491"/>
                <a:gd name="connsiteX9" fmla="*/ 14565970 w 20348166"/>
                <a:gd name="connsiteY9" fmla="*/ 83027 h 6050491"/>
                <a:gd name="connsiteX10" fmla="*/ 16054801 w 20348166"/>
                <a:gd name="connsiteY10" fmla="*/ 165088 h 6050491"/>
                <a:gd name="connsiteX11" fmla="*/ 17496739 w 20348166"/>
                <a:gd name="connsiteY11" fmla="*/ 364381 h 6050491"/>
                <a:gd name="connsiteX12" fmla="*/ 18012554 w 20348166"/>
                <a:gd name="connsiteY12" fmla="*/ 481611 h 6050491"/>
                <a:gd name="connsiteX13" fmla="*/ 18352524 w 20348166"/>
                <a:gd name="connsiteY13" fmla="*/ 528504 h 6050491"/>
                <a:gd name="connsiteX14" fmla="*/ 18434585 w 20348166"/>
                <a:gd name="connsiteY14" fmla="*/ 575396 h 6050491"/>
                <a:gd name="connsiteX15" fmla="*/ 18469754 w 20348166"/>
                <a:gd name="connsiteY15" fmla="*/ 634011 h 6050491"/>
                <a:gd name="connsiteX16" fmla="*/ 18903508 w 20348166"/>
                <a:gd name="connsiteY16" fmla="*/ 1091211 h 6050491"/>
                <a:gd name="connsiteX17" fmla="*/ 19560001 w 20348166"/>
                <a:gd name="connsiteY17" fmla="*/ 1853211 h 6050491"/>
                <a:gd name="connsiteX18" fmla="*/ 19665508 w 20348166"/>
                <a:gd name="connsiteY18" fmla="*/ 1993888 h 6050491"/>
                <a:gd name="connsiteX19" fmla="*/ 19864801 w 20348166"/>
                <a:gd name="connsiteY19" fmla="*/ 2099396 h 6050491"/>
                <a:gd name="connsiteX20" fmla="*/ 19946862 w 20348166"/>
                <a:gd name="connsiteY20" fmla="*/ 2228350 h 6050491"/>
                <a:gd name="connsiteX21" fmla="*/ 19911693 w 20348166"/>
                <a:gd name="connsiteY21" fmla="*/ 2415919 h 6050491"/>
                <a:gd name="connsiteX22" fmla="*/ 19923417 w 20348166"/>
                <a:gd name="connsiteY22" fmla="*/ 2779335 h 6050491"/>
                <a:gd name="connsiteX23" fmla="*/ 19888247 w 20348166"/>
                <a:gd name="connsiteY23" fmla="*/ 3060688 h 6050491"/>
                <a:gd name="connsiteX24" fmla="*/ 19993754 w 20348166"/>
                <a:gd name="connsiteY24" fmla="*/ 3271704 h 6050491"/>
                <a:gd name="connsiteX25" fmla="*/ 19982031 w 20348166"/>
                <a:gd name="connsiteY25" fmla="*/ 3447550 h 6050491"/>
                <a:gd name="connsiteX26" fmla="*/ 19935139 w 20348166"/>
                <a:gd name="connsiteY26" fmla="*/ 3635119 h 6050491"/>
                <a:gd name="connsiteX27" fmla="*/ 20134431 w 20348166"/>
                <a:gd name="connsiteY27" fmla="*/ 3705457 h 6050491"/>
                <a:gd name="connsiteX28" fmla="*/ 20275108 w 20348166"/>
                <a:gd name="connsiteY28" fmla="*/ 3752350 h 6050491"/>
                <a:gd name="connsiteX29" fmla="*/ 20345447 w 20348166"/>
                <a:gd name="connsiteY29" fmla="*/ 3846134 h 6050491"/>
                <a:gd name="connsiteX30" fmla="*/ 20333724 w 20348166"/>
                <a:gd name="connsiteY30" fmla="*/ 4010257 h 6050491"/>
                <a:gd name="connsiteX31" fmla="*/ 20333725 w 20348166"/>
                <a:gd name="connsiteY31" fmla="*/ 4209550 h 6050491"/>
                <a:gd name="connsiteX32" fmla="*/ 20275108 w 20348166"/>
                <a:gd name="connsiteY32" fmla="*/ 4397119 h 6050491"/>
                <a:gd name="connsiteX33" fmla="*/ 20169601 w 20348166"/>
                <a:gd name="connsiteY33" fmla="*/ 4432288 h 6050491"/>
                <a:gd name="connsiteX34" fmla="*/ 20087539 w 20348166"/>
                <a:gd name="connsiteY34" fmla="*/ 4748811 h 6050491"/>
                <a:gd name="connsiteX35" fmla="*/ 20064093 w 20348166"/>
                <a:gd name="connsiteY35" fmla="*/ 5182565 h 6050491"/>
                <a:gd name="connsiteX36" fmla="*/ 20157877 w 20348166"/>
                <a:gd name="connsiteY36" fmla="*/ 5475642 h 6050491"/>
                <a:gd name="connsiteX37" fmla="*/ 20052370 w 20348166"/>
                <a:gd name="connsiteY37" fmla="*/ 5510811 h 6050491"/>
                <a:gd name="connsiteX38" fmla="*/ 19548277 w 20348166"/>
                <a:gd name="connsiteY38" fmla="*/ 5534257 h 6050491"/>
                <a:gd name="connsiteX39" fmla="*/ 19454493 w 20348166"/>
                <a:gd name="connsiteY39" fmla="*/ 5756996 h 6050491"/>
                <a:gd name="connsiteX40" fmla="*/ 19290370 w 20348166"/>
                <a:gd name="connsiteY40" fmla="*/ 5780442 h 6050491"/>
                <a:gd name="connsiteX41" fmla="*/ 18223570 w 20348166"/>
                <a:gd name="connsiteY41" fmla="*/ 5768719 h 6050491"/>
                <a:gd name="connsiteX42" fmla="*/ 18223570 w 20348166"/>
                <a:gd name="connsiteY42" fmla="*/ 5581150 h 6050491"/>
                <a:gd name="connsiteX43" fmla="*/ 17989108 w 20348166"/>
                <a:gd name="connsiteY43" fmla="*/ 4725365 h 6050491"/>
                <a:gd name="connsiteX44" fmla="*/ 17602247 w 20348166"/>
                <a:gd name="connsiteY44" fmla="*/ 4162657 h 6050491"/>
                <a:gd name="connsiteX45" fmla="*/ 17145047 w 20348166"/>
                <a:gd name="connsiteY45" fmla="*/ 3857857 h 6050491"/>
                <a:gd name="connsiteX46" fmla="*/ 16429939 w 20348166"/>
                <a:gd name="connsiteY46" fmla="*/ 3682011 h 6050491"/>
                <a:gd name="connsiteX47" fmla="*/ 15902401 w 20348166"/>
                <a:gd name="connsiteY47" fmla="*/ 3728904 h 6050491"/>
                <a:gd name="connsiteX48" fmla="*/ 15386585 w 20348166"/>
                <a:gd name="connsiteY48" fmla="*/ 3951642 h 6050491"/>
                <a:gd name="connsiteX49" fmla="*/ 14964554 w 20348166"/>
                <a:gd name="connsiteY49" fmla="*/ 4397119 h 6050491"/>
                <a:gd name="connsiteX50" fmla="*/ 14636308 w 20348166"/>
                <a:gd name="connsiteY50" fmla="*/ 4912934 h 6050491"/>
                <a:gd name="connsiteX51" fmla="*/ 14542524 w 20348166"/>
                <a:gd name="connsiteY51" fmla="*/ 5393581 h 6050491"/>
                <a:gd name="connsiteX52" fmla="*/ 14542524 w 20348166"/>
                <a:gd name="connsiteY52" fmla="*/ 5768719 h 6050491"/>
                <a:gd name="connsiteX53" fmla="*/ 14554247 w 20348166"/>
                <a:gd name="connsiteY53" fmla="*/ 5991457 h 6050491"/>
                <a:gd name="connsiteX54" fmla="*/ 14472185 w 20348166"/>
                <a:gd name="connsiteY54" fmla="*/ 6014904 h 6050491"/>
                <a:gd name="connsiteX55" fmla="*/ 14073601 w 20348166"/>
                <a:gd name="connsiteY55" fmla="*/ 6014904 h 6050491"/>
                <a:gd name="connsiteX56" fmla="*/ 11693816 w 20348166"/>
                <a:gd name="connsiteY56" fmla="*/ 6038350 h 6050491"/>
                <a:gd name="connsiteX57" fmla="*/ 7121816 w 20348166"/>
                <a:gd name="connsiteY57" fmla="*/ 6038350 h 6050491"/>
                <a:gd name="connsiteX58" fmla="*/ 5328185 w 20348166"/>
                <a:gd name="connsiteY58" fmla="*/ 6003181 h 6050491"/>
                <a:gd name="connsiteX59" fmla="*/ 5351631 w 20348166"/>
                <a:gd name="connsiteY59" fmla="*/ 5604596 h 6050491"/>
                <a:gd name="connsiteX60" fmla="*/ 5187508 w 20348166"/>
                <a:gd name="connsiteY60" fmla="*/ 4678473 h 6050491"/>
                <a:gd name="connsiteX61" fmla="*/ 4613077 w 20348166"/>
                <a:gd name="connsiteY61" fmla="*/ 3939920 h 6050491"/>
                <a:gd name="connsiteX62" fmla="*/ 3804185 w 20348166"/>
                <a:gd name="connsiteY62" fmla="*/ 3635119 h 6050491"/>
                <a:gd name="connsiteX63" fmla="*/ 3077355 w 20348166"/>
                <a:gd name="connsiteY63" fmla="*/ 3693734 h 6050491"/>
                <a:gd name="connsiteX64" fmla="*/ 2479477 w 20348166"/>
                <a:gd name="connsiteY64" fmla="*/ 3998534 h 6050491"/>
                <a:gd name="connsiteX65" fmla="*/ 1987108 w 20348166"/>
                <a:gd name="connsiteY65" fmla="*/ 4584688 h 6050491"/>
                <a:gd name="connsiteX66" fmla="*/ 1799539 w 20348166"/>
                <a:gd name="connsiteY66" fmla="*/ 5159119 h 6050491"/>
                <a:gd name="connsiteX67" fmla="*/ 1787816 w 20348166"/>
                <a:gd name="connsiteY67" fmla="*/ 5745273 h 6050491"/>
                <a:gd name="connsiteX68" fmla="*/ 1776093 w 20348166"/>
                <a:gd name="connsiteY68" fmla="*/ 5944565 h 6050491"/>
                <a:gd name="connsiteX69" fmla="*/ 1647139 w 20348166"/>
                <a:gd name="connsiteY69" fmla="*/ 5956288 h 6050491"/>
                <a:gd name="connsiteX70" fmla="*/ 709293 w 20348166"/>
                <a:gd name="connsiteY70" fmla="*/ 5932842 h 6050491"/>
                <a:gd name="connsiteX71" fmla="*/ 556893 w 20348166"/>
                <a:gd name="connsiteY71" fmla="*/ 5909396 h 6050491"/>
                <a:gd name="connsiteX72" fmla="*/ 474831 w 20348166"/>
                <a:gd name="connsiteY72" fmla="*/ 5803888 h 6050491"/>
                <a:gd name="connsiteX73" fmla="*/ 404493 w 20348166"/>
                <a:gd name="connsiteY73" fmla="*/ 5745273 h 6050491"/>
                <a:gd name="connsiteX74" fmla="*/ 263816 w 20348166"/>
                <a:gd name="connsiteY74" fmla="*/ 5581150 h 6050491"/>
                <a:gd name="connsiteX75" fmla="*/ 404493 w 20348166"/>
                <a:gd name="connsiteY75" fmla="*/ 5534257 h 6050491"/>
                <a:gd name="connsiteX76" fmla="*/ 334154 w 20348166"/>
                <a:gd name="connsiteY76" fmla="*/ 5428750 h 6050491"/>
                <a:gd name="connsiteX77" fmla="*/ 240370 w 20348166"/>
                <a:gd name="connsiteY77" fmla="*/ 5030165 h 6050491"/>
                <a:gd name="connsiteX78" fmla="*/ 205201 w 20348166"/>
                <a:gd name="connsiteY78" fmla="*/ 4983273 h 6050491"/>
                <a:gd name="connsiteX79" fmla="*/ 76247 w 20348166"/>
                <a:gd name="connsiteY79" fmla="*/ 4971550 h 6050491"/>
                <a:gd name="connsiteX80" fmla="*/ 52801 w 20348166"/>
                <a:gd name="connsiteY80" fmla="*/ 4842596 h 6050491"/>
                <a:gd name="connsiteX81" fmla="*/ 5908 w 20348166"/>
                <a:gd name="connsiteY81" fmla="*/ 4385396 h 6050491"/>
                <a:gd name="connsiteX82" fmla="*/ 17631 w 20348166"/>
                <a:gd name="connsiteY82" fmla="*/ 4315057 h 6050491"/>
                <a:gd name="connsiteX83" fmla="*/ 158308 w 20348166"/>
                <a:gd name="connsiteY83" fmla="*/ 4279888 h 6050491"/>
                <a:gd name="connsiteX84" fmla="*/ 240370 w 20348166"/>
                <a:gd name="connsiteY84" fmla="*/ 4150934 h 6050491"/>
                <a:gd name="connsiteX85" fmla="*/ 205201 w 20348166"/>
                <a:gd name="connsiteY85" fmla="*/ 3963365 h 6050491"/>
                <a:gd name="connsiteX86" fmla="*/ 193477 w 20348166"/>
                <a:gd name="connsiteY86" fmla="*/ 3623396 h 6050491"/>
                <a:gd name="connsiteX87" fmla="*/ 357601 w 20348166"/>
                <a:gd name="connsiteY87" fmla="*/ 3283427 h 6050491"/>
                <a:gd name="connsiteX88" fmla="*/ 1154770 w 20348166"/>
                <a:gd name="connsiteY88" fmla="*/ 2861396 h 6050491"/>
                <a:gd name="connsiteX89" fmla="*/ 2104339 w 20348166"/>
                <a:gd name="connsiteY89" fmla="*/ 2626934 h 6050491"/>
                <a:gd name="connsiteX90" fmla="*/ 3780739 w 20348166"/>
                <a:gd name="connsiteY90" fmla="*/ 2333857 h 6050491"/>
                <a:gd name="connsiteX91" fmla="*/ 5199231 w 20348166"/>
                <a:gd name="connsiteY91" fmla="*/ 2169734 h 6050491"/>
                <a:gd name="connsiteX92" fmla="*/ 5574370 w 20348166"/>
                <a:gd name="connsiteY92" fmla="*/ 2146288 h 6050491"/>
                <a:gd name="connsiteX93" fmla="*/ 5726770 w 20348166"/>
                <a:gd name="connsiteY93" fmla="*/ 2158011 h 6050491"/>
                <a:gd name="connsiteX94" fmla="*/ 5937785 w 20348166"/>
                <a:gd name="connsiteY94" fmla="*/ 2251796 h 6050491"/>
                <a:gd name="connsiteX95" fmla="*/ 5996401 w 20348166"/>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12554 w 20358094"/>
                <a:gd name="connsiteY12" fmla="*/ 481611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36001 w 20358094"/>
                <a:gd name="connsiteY12" fmla="*/ 469888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49690"/>
                <a:gd name="connsiteX1" fmla="*/ 6899077 w 20358094"/>
                <a:gd name="connsiteY1" fmla="*/ 1700811 h 6049690"/>
                <a:gd name="connsiteX2" fmla="*/ 8212062 w 20358094"/>
                <a:gd name="connsiteY2" fmla="*/ 915365 h 6049690"/>
                <a:gd name="connsiteX3" fmla="*/ 9032677 w 20358094"/>
                <a:gd name="connsiteY3" fmla="*/ 528504 h 6049690"/>
                <a:gd name="connsiteX4" fmla="*/ 9079570 w 20358094"/>
                <a:gd name="connsiteY4" fmla="*/ 469888 h 6049690"/>
                <a:gd name="connsiteX5" fmla="*/ 9220247 w 20358094"/>
                <a:gd name="connsiteY5" fmla="*/ 411273 h 6049690"/>
                <a:gd name="connsiteX6" fmla="*/ 10005693 w 20358094"/>
                <a:gd name="connsiteY6" fmla="*/ 188534 h 6049690"/>
                <a:gd name="connsiteX7" fmla="*/ 11365570 w 20358094"/>
                <a:gd name="connsiteY7" fmla="*/ 47857 h 6049690"/>
                <a:gd name="connsiteX8" fmla="*/ 12948185 w 20358094"/>
                <a:gd name="connsiteY8" fmla="*/ 965 h 6049690"/>
                <a:gd name="connsiteX9" fmla="*/ 14565970 w 20358094"/>
                <a:gd name="connsiteY9" fmla="*/ 83027 h 6049690"/>
                <a:gd name="connsiteX10" fmla="*/ 16054801 w 20358094"/>
                <a:gd name="connsiteY10" fmla="*/ 165088 h 6049690"/>
                <a:gd name="connsiteX11" fmla="*/ 17496739 w 20358094"/>
                <a:gd name="connsiteY11" fmla="*/ 364381 h 6049690"/>
                <a:gd name="connsiteX12" fmla="*/ 18036001 w 20358094"/>
                <a:gd name="connsiteY12" fmla="*/ 469888 h 6049690"/>
                <a:gd name="connsiteX13" fmla="*/ 18352524 w 20358094"/>
                <a:gd name="connsiteY13" fmla="*/ 528504 h 6049690"/>
                <a:gd name="connsiteX14" fmla="*/ 18434585 w 20358094"/>
                <a:gd name="connsiteY14" fmla="*/ 575396 h 6049690"/>
                <a:gd name="connsiteX15" fmla="*/ 18469754 w 20358094"/>
                <a:gd name="connsiteY15" fmla="*/ 634011 h 6049690"/>
                <a:gd name="connsiteX16" fmla="*/ 18903508 w 20358094"/>
                <a:gd name="connsiteY16" fmla="*/ 1091211 h 6049690"/>
                <a:gd name="connsiteX17" fmla="*/ 19560001 w 20358094"/>
                <a:gd name="connsiteY17" fmla="*/ 1853211 h 6049690"/>
                <a:gd name="connsiteX18" fmla="*/ 19665508 w 20358094"/>
                <a:gd name="connsiteY18" fmla="*/ 1993888 h 6049690"/>
                <a:gd name="connsiteX19" fmla="*/ 19864801 w 20358094"/>
                <a:gd name="connsiteY19" fmla="*/ 2099396 h 6049690"/>
                <a:gd name="connsiteX20" fmla="*/ 19946862 w 20358094"/>
                <a:gd name="connsiteY20" fmla="*/ 2228350 h 6049690"/>
                <a:gd name="connsiteX21" fmla="*/ 19911693 w 20358094"/>
                <a:gd name="connsiteY21" fmla="*/ 2415919 h 6049690"/>
                <a:gd name="connsiteX22" fmla="*/ 19923417 w 20358094"/>
                <a:gd name="connsiteY22" fmla="*/ 2779335 h 6049690"/>
                <a:gd name="connsiteX23" fmla="*/ 19888247 w 20358094"/>
                <a:gd name="connsiteY23" fmla="*/ 3060688 h 6049690"/>
                <a:gd name="connsiteX24" fmla="*/ 19993754 w 20358094"/>
                <a:gd name="connsiteY24" fmla="*/ 3271704 h 6049690"/>
                <a:gd name="connsiteX25" fmla="*/ 19982031 w 20358094"/>
                <a:gd name="connsiteY25" fmla="*/ 3447550 h 6049690"/>
                <a:gd name="connsiteX26" fmla="*/ 19935139 w 20358094"/>
                <a:gd name="connsiteY26" fmla="*/ 3635119 h 6049690"/>
                <a:gd name="connsiteX27" fmla="*/ 20134431 w 20358094"/>
                <a:gd name="connsiteY27" fmla="*/ 3705457 h 6049690"/>
                <a:gd name="connsiteX28" fmla="*/ 20275108 w 20358094"/>
                <a:gd name="connsiteY28" fmla="*/ 3752350 h 6049690"/>
                <a:gd name="connsiteX29" fmla="*/ 20345447 w 20358094"/>
                <a:gd name="connsiteY29" fmla="*/ 3846134 h 6049690"/>
                <a:gd name="connsiteX30" fmla="*/ 20357170 w 20358094"/>
                <a:gd name="connsiteY30" fmla="*/ 4010257 h 6049690"/>
                <a:gd name="connsiteX31" fmla="*/ 20333725 w 20358094"/>
                <a:gd name="connsiteY31" fmla="*/ 4209550 h 6049690"/>
                <a:gd name="connsiteX32" fmla="*/ 20275108 w 20358094"/>
                <a:gd name="connsiteY32" fmla="*/ 4397119 h 6049690"/>
                <a:gd name="connsiteX33" fmla="*/ 20169601 w 20358094"/>
                <a:gd name="connsiteY33" fmla="*/ 4432288 h 6049690"/>
                <a:gd name="connsiteX34" fmla="*/ 20087539 w 20358094"/>
                <a:gd name="connsiteY34" fmla="*/ 4748811 h 6049690"/>
                <a:gd name="connsiteX35" fmla="*/ 20064093 w 20358094"/>
                <a:gd name="connsiteY35" fmla="*/ 5182565 h 6049690"/>
                <a:gd name="connsiteX36" fmla="*/ 20157877 w 20358094"/>
                <a:gd name="connsiteY36" fmla="*/ 5475642 h 6049690"/>
                <a:gd name="connsiteX37" fmla="*/ 20052370 w 20358094"/>
                <a:gd name="connsiteY37" fmla="*/ 5510811 h 6049690"/>
                <a:gd name="connsiteX38" fmla="*/ 19548277 w 20358094"/>
                <a:gd name="connsiteY38" fmla="*/ 5534257 h 6049690"/>
                <a:gd name="connsiteX39" fmla="*/ 19454493 w 20358094"/>
                <a:gd name="connsiteY39" fmla="*/ 5756996 h 6049690"/>
                <a:gd name="connsiteX40" fmla="*/ 19290370 w 20358094"/>
                <a:gd name="connsiteY40" fmla="*/ 5780442 h 6049690"/>
                <a:gd name="connsiteX41" fmla="*/ 18223570 w 20358094"/>
                <a:gd name="connsiteY41" fmla="*/ 5768719 h 6049690"/>
                <a:gd name="connsiteX42" fmla="*/ 18223570 w 20358094"/>
                <a:gd name="connsiteY42" fmla="*/ 5581150 h 6049690"/>
                <a:gd name="connsiteX43" fmla="*/ 17989108 w 20358094"/>
                <a:gd name="connsiteY43" fmla="*/ 4725365 h 6049690"/>
                <a:gd name="connsiteX44" fmla="*/ 17602247 w 20358094"/>
                <a:gd name="connsiteY44" fmla="*/ 4162657 h 6049690"/>
                <a:gd name="connsiteX45" fmla="*/ 17145047 w 20358094"/>
                <a:gd name="connsiteY45" fmla="*/ 3857857 h 6049690"/>
                <a:gd name="connsiteX46" fmla="*/ 16429939 w 20358094"/>
                <a:gd name="connsiteY46" fmla="*/ 3682011 h 6049690"/>
                <a:gd name="connsiteX47" fmla="*/ 15902401 w 20358094"/>
                <a:gd name="connsiteY47" fmla="*/ 3728904 h 6049690"/>
                <a:gd name="connsiteX48" fmla="*/ 15386585 w 20358094"/>
                <a:gd name="connsiteY48" fmla="*/ 3951642 h 6049690"/>
                <a:gd name="connsiteX49" fmla="*/ 14964554 w 20358094"/>
                <a:gd name="connsiteY49" fmla="*/ 4397119 h 6049690"/>
                <a:gd name="connsiteX50" fmla="*/ 14636308 w 20358094"/>
                <a:gd name="connsiteY50" fmla="*/ 4912934 h 6049690"/>
                <a:gd name="connsiteX51" fmla="*/ 14542524 w 20358094"/>
                <a:gd name="connsiteY51" fmla="*/ 5393581 h 6049690"/>
                <a:gd name="connsiteX52" fmla="*/ 14542524 w 20358094"/>
                <a:gd name="connsiteY52" fmla="*/ 5768719 h 6049690"/>
                <a:gd name="connsiteX53" fmla="*/ 14554247 w 20358094"/>
                <a:gd name="connsiteY53" fmla="*/ 5991457 h 6049690"/>
                <a:gd name="connsiteX54" fmla="*/ 14472185 w 20358094"/>
                <a:gd name="connsiteY54" fmla="*/ 6014904 h 6049690"/>
                <a:gd name="connsiteX55" fmla="*/ 14073601 w 20358094"/>
                <a:gd name="connsiteY55" fmla="*/ 6014904 h 6049690"/>
                <a:gd name="connsiteX56" fmla="*/ 11693816 w 20358094"/>
                <a:gd name="connsiteY56" fmla="*/ 6038350 h 6049690"/>
                <a:gd name="connsiteX57" fmla="*/ 7121816 w 20358094"/>
                <a:gd name="connsiteY57" fmla="*/ 6038350 h 6049690"/>
                <a:gd name="connsiteX58" fmla="*/ 5328185 w 20358094"/>
                <a:gd name="connsiteY58" fmla="*/ 6003181 h 6049690"/>
                <a:gd name="connsiteX59" fmla="*/ 5375077 w 20358094"/>
                <a:gd name="connsiteY59" fmla="*/ 5545980 h 6049690"/>
                <a:gd name="connsiteX60" fmla="*/ 5187508 w 20358094"/>
                <a:gd name="connsiteY60" fmla="*/ 4678473 h 6049690"/>
                <a:gd name="connsiteX61" fmla="*/ 4613077 w 20358094"/>
                <a:gd name="connsiteY61" fmla="*/ 3939920 h 6049690"/>
                <a:gd name="connsiteX62" fmla="*/ 3804185 w 20358094"/>
                <a:gd name="connsiteY62" fmla="*/ 3635119 h 6049690"/>
                <a:gd name="connsiteX63" fmla="*/ 3077355 w 20358094"/>
                <a:gd name="connsiteY63" fmla="*/ 3693734 h 6049690"/>
                <a:gd name="connsiteX64" fmla="*/ 2479477 w 20358094"/>
                <a:gd name="connsiteY64" fmla="*/ 3998534 h 6049690"/>
                <a:gd name="connsiteX65" fmla="*/ 1987108 w 20358094"/>
                <a:gd name="connsiteY65" fmla="*/ 4584688 h 6049690"/>
                <a:gd name="connsiteX66" fmla="*/ 1799539 w 20358094"/>
                <a:gd name="connsiteY66" fmla="*/ 5159119 h 6049690"/>
                <a:gd name="connsiteX67" fmla="*/ 1787816 w 20358094"/>
                <a:gd name="connsiteY67" fmla="*/ 5745273 h 6049690"/>
                <a:gd name="connsiteX68" fmla="*/ 1776093 w 20358094"/>
                <a:gd name="connsiteY68" fmla="*/ 5944565 h 6049690"/>
                <a:gd name="connsiteX69" fmla="*/ 1647139 w 20358094"/>
                <a:gd name="connsiteY69" fmla="*/ 5956288 h 6049690"/>
                <a:gd name="connsiteX70" fmla="*/ 709293 w 20358094"/>
                <a:gd name="connsiteY70" fmla="*/ 5932842 h 6049690"/>
                <a:gd name="connsiteX71" fmla="*/ 556893 w 20358094"/>
                <a:gd name="connsiteY71" fmla="*/ 5909396 h 6049690"/>
                <a:gd name="connsiteX72" fmla="*/ 474831 w 20358094"/>
                <a:gd name="connsiteY72" fmla="*/ 5803888 h 6049690"/>
                <a:gd name="connsiteX73" fmla="*/ 404493 w 20358094"/>
                <a:gd name="connsiteY73" fmla="*/ 5745273 h 6049690"/>
                <a:gd name="connsiteX74" fmla="*/ 263816 w 20358094"/>
                <a:gd name="connsiteY74" fmla="*/ 5581150 h 6049690"/>
                <a:gd name="connsiteX75" fmla="*/ 404493 w 20358094"/>
                <a:gd name="connsiteY75" fmla="*/ 5534257 h 6049690"/>
                <a:gd name="connsiteX76" fmla="*/ 334154 w 20358094"/>
                <a:gd name="connsiteY76" fmla="*/ 5428750 h 6049690"/>
                <a:gd name="connsiteX77" fmla="*/ 240370 w 20358094"/>
                <a:gd name="connsiteY77" fmla="*/ 5030165 h 6049690"/>
                <a:gd name="connsiteX78" fmla="*/ 205201 w 20358094"/>
                <a:gd name="connsiteY78" fmla="*/ 4983273 h 6049690"/>
                <a:gd name="connsiteX79" fmla="*/ 76247 w 20358094"/>
                <a:gd name="connsiteY79" fmla="*/ 4971550 h 6049690"/>
                <a:gd name="connsiteX80" fmla="*/ 52801 w 20358094"/>
                <a:gd name="connsiteY80" fmla="*/ 4842596 h 6049690"/>
                <a:gd name="connsiteX81" fmla="*/ 5908 w 20358094"/>
                <a:gd name="connsiteY81" fmla="*/ 4385396 h 6049690"/>
                <a:gd name="connsiteX82" fmla="*/ 17631 w 20358094"/>
                <a:gd name="connsiteY82" fmla="*/ 4315057 h 6049690"/>
                <a:gd name="connsiteX83" fmla="*/ 158308 w 20358094"/>
                <a:gd name="connsiteY83" fmla="*/ 4279888 h 6049690"/>
                <a:gd name="connsiteX84" fmla="*/ 240370 w 20358094"/>
                <a:gd name="connsiteY84" fmla="*/ 4150934 h 6049690"/>
                <a:gd name="connsiteX85" fmla="*/ 205201 w 20358094"/>
                <a:gd name="connsiteY85" fmla="*/ 3963365 h 6049690"/>
                <a:gd name="connsiteX86" fmla="*/ 193477 w 20358094"/>
                <a:gd name="connsiteY86" fmla="*/ 3623396 h 6049690"/>
                <a:gd name="connsiteX87" fmla="*/ 357601 w 20358094"/>
                <a:gd name="connsiteY87" fmla="*/ 3283427 h 6049690"/>
                <a:gd name="connsiteX88" fmla="*/ 1154770 w 20358094"/>
                <a:gd name="connsiteY88" fmla="*/ 2861396 h 6049690"/>
                <a:gd name="connsiteX89" fmla="*/ 2104339 w 20358094"/>
                <a:gd name="connsiteY89" fmla="*/ 2626934 h 6049690"/>
                <a:gd name="connsiteX90" fmla="*/ 3780739 w 20358094"/>
                <a:gd name="connsiteY90" fmla="*/ 2333857 h 6049690"/>
                <a:gd name="connsiteX91" fmla="*/ 5199231 w 20358094"/>
                <a:gd name="connsiteY91" fmla="*/ 2169734 h 6049690"/>
                <a:gd name="connsiteX92" fmla="*/ 5574370 w 20358094"/>
                <a:gd name="connsiteY92" fmla="*/ 2146288 h 6049690"/>
                <a:gd name="connsiteX93" fmla="*/ 5726770 w 20358094"/>
                <a:gd name="connsiteY93" fmla="*/ 2158011 h 6049690"/>
                <a:gd name="connsiteX94" fmla="*/ 5937785 w 20358094"/>
                <a:gd name="connsiteY94" fmla="*/ 2251796 h 6049690"/>
                <a:gd name="connsiteX95" fmla="*/ 5996401 w 20358094"/>
                <a:gd name="connsiteY95" fmla="*/ 2228350 h 6049690"/>
                <a:gd name="connsiteX0" fmla="*/ 5996401 w 20358094"/>
                <a:gd name="connsiteY0" fmla="*/ 2228350 h 6054551"/>
                <a:gd name="connsiteX1" fmla="*/ 6899077 w 20358094"/>
                <a:gd name="connsiteY1" fmla="*/ 1700811 h 6054551"/>
                <a:gd name="connsiteX2" fmla="*/ 8212062 w 20358094"/>
                <a:gd name="connsiteY2" fmla="*/ 915365 h 6054551"/>
                <a:gd name="connsiteX3" fmla="*/ 9032677 w 20358094"/>
                <a:gd name="connsiteY3" fmla="*/ 528504 h 6054551"/>
                <a:gd name="connsiteX4" fmla="*/ 9079570 w 20358094"/>
                <a:gd name="connsiteY4" fmla="*/ 469888 h 6054551"/>
                <a:gd name="connsiteX5" fmla="*/ 9220247 w 20358094"/>
                <a:gd name="connsiteY5" fmla="*/ 411273 h 6054551"/>
                <a:gd name="connsiteX6" fmla="*/ 10005693 w 20358094"/>
                <a:gd name="connsiteY6" fmla="*/ 188534 h 6054551"/>
                <a:gd name="connsiteX7" fmla="*/ 11365570 w 20358094"/>
                <a:gd name="connsiteY7" fmla="*/ 47857 h 6054551"/>
                <a:gd name="connsiteX8" fmla="*/ 12948185 w 20358094"/>
                <a:gd name="connsiteY8" fmla="*/ 965 h 6054551"/>
                <a:gd name="connsiteX9" fmla="*/ 14565970 w 20358094"/>
                <a:gd name="connsiteY9" fmla="*/ 83027 h 6054551"/>
                <a:gd name="connsiteX10" fmla="*/ 16054801 w 20358094"/>
                <a:gd name="connsiteY10" fmla="*/ 165088 h 6054551"/>
                <a:gd name="connsiteX11" fmla="*/ 17496739 w 20358094"/>
                <a:gd name="connsiteY11" fmla="*/ 364381 h 6054551"/>
                <a:gd name="connsiteX12" fmla="*/ 18036001 w 20358094"/>
                <a:gd name="connsiteY12" fmla="*/ 469888 h 6054551"/>
                <a:gd name="connsiteX13" fmla="*/ 18352524 w 20358094"/>
                <a:gd name="connsiteY13" fmla="*/ 528504 h 6054551"/>
                <a:gd name="connsiteX14" fmla="*/ 18434585 w 20358094"/>
                <a:gd name="connsiteY14" fmla="*/ 575396 h 6054551"/>
                <a:gd name="connsiteX15" fmla="*/ 18469754 w 20358094"/>
                <a:gd name="connsiteY15" fmla="*/ 634011 h 6054551"/>
                <a:gd name="connsiteX16" fmla="*/ 18903508 w 20358094"/>
                <a:gd name="connsiteY16" fmla="*/ 1091211 h 6054551"/>
                <a:gd name="connsiteX17" fmla="*/ 19560001 w 20358094"/>
                <a:gd name="connsiteY17" fmla="*/ 1853211 h 6054551"/>
                <a:gd name="connsiteX18" fmla="*/ 19665508 w 20358094"/>
                <a:gd name="connsiteY18" fmla="*/ 1993888 h 6054551"/>
                <a:gd name="connsiteX19" fmla="*/ 19864801 w 20358094"/>
                <a:gd name="connsiteY19" fmla="*/ 2099396 h 6054551"/>
                <a:gd name="connsiteX20" fmla="*/ 19946862 w 20358094"/>
                <a:gd name="connsiteY20" fmla="*/ 2228350 h 6054551"/>
                <a:gd name="connsiteX21" fmla="*/ 19911693 w 20358094"/>
                <a:gd name="connsiteY21" fmla="*/ 2415919 h 6054551"/>
                <a:gd name="connsiteX22" fmla="*/ 19923417 w 20358094"/>
                <a:gd name="connsiteY22" fmla="*/ 2779335 h 6054551"/>
                <a:gd name="connsiteX23" fmla="*/ 19888247 w 20358094"/>
                <a:gd name="connsiteY23" fmla="*/ 3060688 h 6054551"/>
                <a:gd name="connsiteX24" fmla="*/ 19993754 w 20358094"/>
                <a:gd name="connsiteY24" fmla="*/ 3271704 h 6054551"/>
                <a:gd name="connsiteX25" fmla="*/ 19982031 w 20358094"/>
                <a:gd name="connsiteY25" fmla="*/ 3447550 h 6054551"/>
                <a:gd name="connsiteX26" fmla="*/ 19935139 w 20358094"/>
                <a:gd name="connsiteY26" fmla="*/ 3635119 h 6054551"/>
                <a:gd name="connsiteX27" fmla="*/ 20134431 w 20358094"/>
                <a:gd name="connsiteY27" fmla="*/ 3705457 h 6054551"/>
                <a:gd name="connsiteX28" fmla="*/ 20275108 w 20358094"/>
                <a:gd name="connsiteY28" fmla="*/ 3752350 h 6054551"/>
                <a:gd name="connsiteX29" fmla="*/ 20345447 w 20358094"/>
                <a:gd name="connsiteY29" fmla="*/ 3846134 h 6054551"/>
                <a:gd name="connsiteX30" fmla="*/ 20357170 w 20358094"/>
                <a:gd name="connsiteY30" fmla="*/ 4010257 h 6054551"/>
                <a:gd name="connsiteX31" fmla="*/ 20333725 w 20358094"/>
                <a:gd name="connsiteY31" fmla="*/ 4209550 h 6054551"/>
                <a:gd name="connsiteX32" fmla="*/ 20275108 w 20358094"/>
                <a:gd name="connsiteY32" fmla="*/ 4397119 h 6054551"/>
                <a:gd name="connsiteX33" fmla="*/ 20169601 w 20358094"/>
                <a:gd name="connsiteY33" fmla="*/ 4432288 h 6054551"/>
                <a:gd name="connsiteX34" fmla="*/ 20087539 w 20358094"/>
                <a:gd name="connsiteY34" fmla="*/ 4748811 h 6054551"/>
                <a:gd name="connsiteX35" fmla="*/ 20064093 w 20358094"/>
                <a:gd name="connsiteY35" fmla="*/ 5182565 h 6054551"/>
                <a:gd name="connsiteX36" fmla="*/ 20157877 w 20358094"/>
                <a:gd name="connsiteY36" fmla="*/ 5475642 h 6054551"/>
                <a:gd name="connsiteX37" fmla="*/ 20052370 w 20358094"/>
                <a:gd name="connsiteY37" fmla="*/ 5510811 h 6054551"/>
                <a:gd name="connsiteX38" fmla="*/ 19548277 w 20358094"/>
                <a:gd name="connsiteY38" fmla="*/ 5534257 h 6054551"/>
                <a:gd name="connsiteX39" fmla="*/ 19454493 w 20358094"/>
                <a:gd name="connsiteY39" fmla="*/ 5756996 h 6054551"/>
                <a:gd name="connsiteX40" fmla="*/ 19290370 w 20358094"/>
                <a:gd name="connsiteY40" fmla="*/ 5780442 h 6054551"/>
                <a:gd name="connsiteX41" fmla="*/ 18223570 w 20358094"/>
                <a:gd name="connsiteY41" fmla="*/ 5768719 h 6054551"/>
                <a:gd name="connsiteX42" fmla="*/ 18223570 w 20358094"/>
                <a:gd name="connsiteY42" fmla="*/ 5581150 h 6054551"/>
                <a:gd name="connsiteX43" fmla="*/ 17989108 w 20358094"/>
                <a:gd name="connsiteY43" fmla="*/ 4725365 h 6054551"/>
                <a:gd name="connsiteX44" fmla="*/ 17602247 w 20358094"/>
                <a:gd name="connsiteY44" fmla="*/ 4162657 h 6054551"/>
                <a:gd name="connsiteX45" fmla="*/ 17145047 w 20358094"/>
                <a:gd name="connsiteY45" fmla="*/ 3857857 h 6054551"/>
                <a:gd name="connsiteX46" fmla="*/ 16429939 w 20358094"/>
                <a:gd name="connsiteY46" fmla="*/ 3682011 h 6054551"/>
                <a:gd name="connsiteX47" fmla="*/ 15902401 w 20358094"/>
                <a:gd name="connsiteY47" fmla="*/ 3728904 h 6054551"/>
                <a:gd name="connsiteX48" fmla="*/ 15386585 w 20358094"/>
                <a:gd name="connsiteY48" fmla="*/ 3951642 h 6054551"/>
                <a:gd name="connsiteX49" fmla="*/ 14964554 w 20358094"/>
                <a:gd name="connsiteY49" fmla="*/ 4397119 h 6054551"/>
                <a:gd name="connsiteX50" fmla="*/ 14636308 w 20358094"/>
                <a:gd name="connsiteY50" fmla="*/ 4912934 h 6054551"/>
                <a:gd name="connsiteX51" fmla="*/ 14542524 w 20358094"/>
                <a:gd name="connsiteY51" fmla="*/ 5393581 h 6054551"/>
                <a:gd name="connsiteX52" fmla="*/ 14542524 w 20358094"/>
                <a:gd name="connsiteY52" fmla="*/ 5768719 h 6054551"/>
                <a:gd name="connsiteX53" fmla="*/ 14554247 w 20358094"/>
                <a:gd name="connsiteY53" fmla="*/ 5991457 h 6054551"/>
                <a:gd name="connsiteX54" fmla="*/ 14472185 w 20358094"/>
                <a:gd name="connsiteY54" fmla="*/ 6014904 h 6054551"/>
                <a:gd name="connsiteX55" fmla="*/ 14073601 w 20358094"/>
                <a:gd name="connsiteY55" fmla="*/ 6014904 h 6054551"/>
                <a:gd name="connsiteX56" fmla="*/ 11693816 w 20358094"/>
                <a:gd name="connsiteY56" fmla="*/ 6038350 h 6054551"/>
                <a:gd name="connsiteX57" fmla="*/ 7121816 w 20358094"/>
                <a:gd name="connsiteY57" fmla="*/ 6038350 h 6054551"/>
                <a:gd name="connsiteX58" fmla="*/ 5328185 w 20358094"/>
                <a:gd name="connsiteY58" fmla="*/ 6003181 h 6054551"/>
                <a:gd name="connsiteX59" fmla="*/ 5375077 w 20358094"/>
                <a:gd name="connsiteY59" fmla="*/ 5545980 h 6054551"/>
                <a:gd name="connsiteX60" fmla="*/ 5187508 w 20358094"/>
                <a:gd name="connsiteY60" fmla="*/ 4678473 h 6054551"/>
                <a:gd name="connsiteX61" fmla="*/ 4613077 w 20358094"/>
                <a:gd name="connsiteY61" fmla="*/ 3939920 h 6054551"/>
                <a:gd name="connsiteX62" fmla="*/ 3804185 w 20358094"/>
                <a:gd name="connsiteY62" fmla="*/ 3635119 h 6054551"/>
                <a:gd name="connsiteX63" fmla="*/ 3077355 w 20358094"/>
                <a:gd name="connsiteY63" fmla="*/ 3693734 h 6054551"/>
                <a:gd name="connsiteX64" fmla="*/ 2479477 w 20358094"/>
                <a:gd name="connsiteY64" fmla="*/ 3998534 h 6054551"/>
                <a:gd name="connsiteX65" fmla="*/ 1987108 w 20358094"/>
                <a:gd name="connsiteY65" fmla="*/ 4584688 h 6054551"/>
                <a:gd name="connsiteX66" fmla="*/ 1799539 w 20358094"/>
                <a:gd name="connsiteY66" fmla="*/ 5159119 h 6054551"/>
                <a:gd name="connsiteX67" fmla="*/ 1787816 w 20358094"/>
                <a:gd name="connsiteY67" fmla="*/ 5745273 h 6054551"/>
                <a:gd name="connsiteX68" fmla="*/ 1776093 w 20358094"/>
                <a:gd name="connsiteY68" fmla="*/ 5944565 h 6054551"/>
                <a:gd name="connsiteX69" fmla="*/ 1647139 w 20358094"/>
                <a:gd name="connsiteY69" fmla="*/ 5956288 h 6054551"/>
                <a:gd name="connsiteX70" fmla="*/ 709293 w 20358094"/>
                <a:gd name="connsiteY70" fmla="*/ 5932842 h 6054551"/>
                <a:gd name="connsiteX71" fmla="*/ 556893 w 20358094"/>
                <a:gd name="connsiteY71" fmla="*/ 5909396 h 6054551"/>
                <a:gd name="connsiteX72" fmla="*/ 474831 w 20358094"/>
                <a:gd name="connsiteY72" fmla="*/ 5803888 h 6054551"/>
                <a:gd name="connsiteX73" fmla="*/ 404493 w 20358094"/>
                <a:gd name="connsiteY73" fmla="*/ 5745273 h 6054551"/>
                <a:gd name="connsiteX74" fmla="*/ 263816 w 20358094"/>
                <a:gd name="connsiteY74" fmla="*/ 5581150 h 6054551"/>
                <a:gd name="connsiteX75" fmla="*/ 404493 w 20358094"/>
                <a:gd name="connsiteY75" fmla="*/ 5534257 h 6054551"/>
                <a:gd name="connsiteX76" fmla="*/ 334154 w 20358094"/>
                <a:gd name="connsiteY76" fmla="*/ 5428750 h 6054551"/>
                <a:gd name="connsiteX77" fmla="*/ 240370 w 20358094"/>
                <a:gd name="connsiteY77" fmla="*/ 5030165 h 6054551"/>
                <a:gd name="connsiteX78" fmla="*/ 205201 w 20358094"/>
                <a:gd name="connsiteY78" fmla="*/ 4983273 h 6054551"/>
                <a:gd name="connsiteX79" fmla="*/ 76247 w 20358094"/>
                <a:gd name="connsiteY79" fmla="*/ 4971550 h 6054551"/>
                <a:gd name="connsiteX80" fmla="*/ 52801 w 20358094"/>
                <a:gd name="connsiteY80" fmla="*/ 4842596 h 6054551"/>
                <a:gd name="connsiteX81" fmla="*/ 5908 w 20358094"/>
                <a:gd name="connsiteY81" fmla="*/ 4385396 h 6054551"/>
                <a:gd name="connsiteX82" fmla="*/ 17631 w 20358094"/>
                <a:gd name="connsiteY82" fmla="*/ 4315057 h 6054551"/>
                <a:gd name="connsiteX83" fmla="*/ 158308 w 20358094"/>
                <a:gd name="connsiteY83" fmla="*/ 4279888 h 6054551"/>
                <a:gd name="connsiteX84" fmla="*/ 240370 w 20358094"/>
                <a:gd name="connsiteY84" fmla="*/ 4150934 h 6054551"/>
                <a:gd name="connsiteX85" fmla="*/ 205201 w 20358094"/>
                <a:gd name="connsiteY85" fmla="*/ 3963365 h 6054551"/>
                <a:gd name="connsiteX86" fmla="*/ 193477 w 20358094"/>
                <a:gd name="connsiteY86" fmla="*/ 3623396 h 6054551"/>
                <a:gd name="connsiteX87" fmla="*/ 357601 w 20358094"/>
                <a:gd name="connsiteY87" fmla="*/ 3283427 h 6054551"/>
                <a:gd name="connsiteX88" fmla="*/ 1154770 w 20358094"/>
                <a:gd name="connsiteY88" fmla="*/ 2861396 h 6054551"/>
                <a:gd name="connsiteX89" fmla="*/ 2104339 w 20358094"/>
                <a:gd name="connsiteY89" fmla="*/ 2626934 h 6054551"/>
                <a:gd name="connsiteX90" fmla="*/ 3780739 w 20358094"/>
                <a:gd name="connsiteY90" fmla="*/ 2333857 h 6054551"/>
                <a:gd name="connsiteX91" fmla="*/ 5199231 w 20358094"/>
                <a:gd name="connsiteY91" fmla="*/ 2169734 h 6054551"/>
                <a:gd name="connsiteX92" fmla="*/ 5574370 w 20358094"/>
                <a:gd name="connsiteY92" fmla="*/ 2146288 h 6054551"/>
                <a:gd name="connsiteX93" fmla="*/ 5726770 w 20358094"/>
                <a:gd name="connsiteY93" fmla="*/ 2158011 h 6054551"/>
                <a:gd name="connsiteX94" fmla="*/ 5937785 w 20358094"/>
                <a:gd name="connsiteY94" fmla="*/ 2251796 h 6054551"/>
                <a:gd name="connsiteX95" fmla="*/ 5996401 w 20358094"/>
                <a:gd name="connsiteY95" fmla="*/ 2228350 h 6054551"/>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51631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36308 w 20358094"/>
                <a:gd name="connsiteY50" fmla="*/ 4912934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48994 w 20358094"/>
                <a:gd name="connsiteY26" fmla="*/ 3648974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37785 w 20358094"/>
                <a:gd name="connsiteY0" fmla="*/ 2251796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144 h 6042876"/>
                <a:gd name="connsiteX1" fmla="*/ 6899077 w 20358094"/>
                <a:gd name="connsiteY1" fmla="*/ 1680159 h 6042876"/>
                <a:gd name="connsiteX2" fmla="*/ 8218989 w 20358094"/>
                <a:gd name="connsiteY2" fmla="*/ 929350 h 6042876"/>
                <a:gd name="connsiteX3" fmla="*/ 9032677 w 20358094"/>
                <a:gd name="connsiteY3" fmla="*/ 528634 h 6042876"/>
                <a:gd name="connsiteX4" fmla="*/ 9079570 w 20358094"/>
                <a:gd name="connsiteY4" fmla="*/ 470018 h 6042876"/>
                <a:gd name="connsiteX5" fmla="*/ 9220247 w 20358094"/>
                <a:gd name="connsiteY5" fmla="*/ 411403 h 6042876"/>
                <a:gd name="connsiteX6" fmla="*/ 10022627 w 20358094"/>
                <a:gd name="connsiteY6" fmla="*/ 209830 h 6042876"/>
                <a:gd name="connsiteX7" fmla="*/ 11365570 w 20358094"/>
                <a:gd name="connsiteY7" fmla="*/ 47987 h 6042876"/>
                <a:gd name="connsiteX8" fmla="*/ 12948185 w 20358094"/>
                <a:gd name="connsiteY8" fmla="*/ 1095 h 6042876"/>
                <a:gd name="connsiteX9" fmla="*/ 14565970 w 20358094"/>
                <a:gd name="connsiteY9" fmla="*/ 83157 h 6042876"/>
                <a:gd name="connsiteX10" fmla="*/ 16054801 w 20358094"/>
                <a:gd name="connsiteY10" fmla="*/ 165218 h 6042876"/>
                <a:gd name="connsiteX11" fmla="*/ 17496739 w 20358094"/>
                <a:gd name="connsiteY11" fmla="*/ 364511 h 6042876"/>
                <a:gd name="connsiteX12" fmla="*/ 18036001 w 20358094"/>
                <a:gd name="connsiteY12" fmla="*/ 470018 h 6042876"/>
                <a:gd name="connsiteX13" fmla="*/ 18352524 w 20358094"/>
                <a:gd name="connsiteY13" fmla="*/ 528634 h 6042876"/>
                <a:gd name="connsiteX14" fmla="*/ 18434585 w 20358094"/>
                <a:gd name="connsiteY14" fmla="*/ 575526 h 6042876"/>
                <a:gd name="connsiteX15" fmla="*/ 18469754 w 20358094"/>
                <a:gd name="connsiteY15" fmla="*/ 634141 h 6042876"/>
                <a:gd name="connsiteX16" fmla="*/ 18903508 w 20358094"/>
                <a:gd name="connsiteY16" fmla="*/ 1091341 h 6042876"/>
                <a:gd name="connsiteX17" fmla="*/ 19560001 w 20358094"/>
                <a:gd name="connsiteY17" fmla="*/ 1853341 h 6042876"/>
                <a:gd name="connsiteX18" fmla="*/ 19665508 w 20358094"/>
                <a:gd name="connsiteY18" fmla="*/ 1994018 h 6042876"/>
                <a:gd name="connsiteX19" fmla="*/ 19864801 w 20358094"/>
                <a:gd name="connsiteY19" fmla="*/ 2099526 h 6042876"/>
                <a:gd name="connsiteX20" fmla="*/ 19946862 w 20358094"/>
                <a:gd name="connsiteY20" fmla="*/ 2228480 h 6042876"/>
                <a:gd name="connsiteX21" fmla="*/ 19911693 w 20358094"/>
                <a:gd name="connsiteY21" fmla="*/ 2416049 h 6042876"/>
                <a:gd name="connsiteX22" fmla="*/ 19958052 w 20358094"/>
                <a:gd name="connsiteY22" fmla="*/ 2744828 h 6042876"/>
                <a:gd name="connsiteX23" fmla="*/ 19922884 w 20358094"/>
                <a:gd name="connsiteY23" fmla="*/ 3046963 h 6042876"/>
                <a:gd name="connsiteX24" fmla="*/ 19993754 w 20358094"/>
                <a:gd name="connsiteY24" fmla="*/ 3271834 h 6042876"/>
                <a:gd name="connsiteX25" fmla="*/ 19982031 w 20358094"/>
                <a:gd name="connsiteY25" fmla="*/ 3447680 h 6042876"/>
                <a:gd name="connsiteX26" fmla="*/ 19962849 w 20358094"/>
                <a:gd name="connsiteY26" fmla="*/ 3642177 h 6042876"/>
                <a:gd name="connsiteX27" fmla="*/ 20134431 w 20358094"/>
                <a:gd name="connsiteY27" fmla="*/ 3705587 h 6042876"/>
                <a:gd name="connsiteX28" fmla="*/ 20275108 w 20358094"/>
                <a:gd name="connsiteY28" fmla="*/ 3752480 h 6042876"/>
                <a:gd name="connsiteX29" fmla="*/ 20345447 w 20358094"/>
                <a:gd name="connsiteY29" fmla="*/ 3846264 h 6042876"/>
                <a:gd name="connsiteX30" fmla="*/ 20357170 w 20358094"/>
                <a:gd name="connsiteY30" fmla="*/ 4010387 h 6042876"/>
                <a:gd name="connsiteX31" fmla="*/ 20333725 w 20358094"/>
                <a:gd name="connsiteY31" fmla="*/ 4209680 h 6042876"/>
                <a:gd name="connsiteX32" fmla="*/ 20275108 w 20358094"/>
                <a:gd name="connsiteY32" fmla="*/ 4397249 h 6042876"/>
                <a:gd name="connsiteX33" fmla="*/ 20169601 w 20358094"/>
                <a:gd name="connsiteY33" fmla="*/ 4432418 h 6042876"/>
                <a:gd name="connsiteX34" fmla="*/ 20087539 w 20358094"/>
                <a:gd name="connsiteY34" fmla="*/ 4748941 h 6042876"/>
                <a:gd name="connsiteX35" fmla="*/ 20064093 w 20358094"/>
                <a:gd name="connsiteY35" fmla="*/ 5182695 h 6042876"/>
                <a:gd name="connsiteX36" fmla="*/ 20157877 w 20358094"/>
                <a:gd name="connsiteY36" fmla="*/ 5475772 h 6042876"/>
                <a:gd name="connsiteX37" fmla="*/ 20052370 w 20358094"/>
                <a:gd name="connsiteY37" fmla="*/ 5510941 h 6042876"/>
                <a:gd name="connsiteX38" fmla="*/ 19548277 w 20358094"/>
                <a:gd name="connsiteY38" fmla="*/ 5534387 h 6042876"/>
                <a:gd name="connsiteX39" fmla="*/ 19454493 w 20358094"/>
                <a:gd name="connsiteY39" fmla="*/ 5757126 h 6042876"/>
                <a:gd name="connsiteX40" fmla="*/ 19290370 w 20358094"/>
                <a:gd name="connsiteY40" fmla="*/ 5780572 h 6042876"/>
                <a:gd name="connsiteX41" fmla="*/ 18223570 w 20358094"/>
                <a:gd name="connsiteY41" fmla="*/ 5768849 h 6042876"/>
                <a:gd name="connsiteX42" fmla="*/ 18223570 w 20358094"/>
                <a:gd name="connsiteY42" fmla="*/ 5581280 h 6042876"/>
                <a:gd name="connsiteX43" fmla="*/ 18009890 w 20358094"/>
                <a:gd name="connsiteY43" fmla="*/ 4725495 h 6042876"/>
                <a:gd name="connsiteX44" fmla="*/ 17602247 w 20358094"/>
                <a:gd name="connsiteY44" fmla="*/ 4162787 h 6042876"/>
                <a:gd name="connsiteX45" fmla="*/ 17145047 w 20358094"/>
                <a:gd name="connsiteY45" fmla="*/ 3857987 h 6042876"/>
                <a:gd name="connsiteX46" fmla="*/ 16429939 w 20358094"/>
                <a:gd name="connsiteY46" fmla="*/ 3682141 h 6042876"/>
                <a:gd name="connsiteX47" fmla="*/ 15902401 w 20358094"/>
                <a:gd name="connsiteY47" fmla="*/ 3729034 h 6042876"/>
                <a:gd name="connsiteX48" fmla="*/ 15386585 w 20358094"/>
                <a:gd name="connsiteY48" fmla="*/ 3979481 h 6042876"/>
                <a:gd name="connsiteX49" fmla="*/ 14964554 w 20358094"/>
                <a:gd name="connsiteY49" fmla="*/ 4397249 h 6042876"/>
                <a:gd name="connsiteX50" fmla="*/ 14664550 w 20358094"/>
                <a:gd name="connsiteY50" fmla="*/ 4936510 h 6042876"/>
                <a:gd name="connsiteX51" fmla="*/ 14542524 w 20358094"/>
                <a:gd name="connsiteY51" fmla="*/ 5393711 h 6042876"/>
                <a:gd name="connsiteX52" fmla="*/ 14542524 w 20358094"/>
                <a:gd name="connsiteY52" fmla="*/ 5768849 h 6042876"/>
                <a:gd name="connsiteX53" fmla="*/ 14554247 w 20358094"/>
                <a:gd name="connsiteY53" fmla="*/ 5991587 h 6042876"/>
                <a:gd name="connsiteX54" fmla="*/ 14472185 w 20358094"/>
                <a:gd name="connsiteY54" fmla="*/ 6015034 h 6042876"/>
                <a:gd name="connsiteX55" fmla="*/ 14073601 w 20358094"/>
                <a:gd name="connsiteY55" fmla="*/ 6015034 h 6042876"/>
                <a:gd name="connsiteX56" fmla="*/ 11693816 w 20358094"/>
                <a:gd name="connsiteY56" fmla="*/ 6038480 h 6042876"/>
                <a:gd name="connsiteX57" fmla="*/ 7121816 w 20358094"/>
                <a:gd name="connsiteY57" fmla="*/ 6038480 h 6042876"/>
                <a:gd name="connsiteX58" fmla="*/ 5328185 w 20358094"/>
                <a:gd name="connsiteY58" fmla="*/ 6003311 h 6042876"/>
                <a:gd name="connsiteX59" fmla="*/ 5351631 w 20358094"/>
                <a:gd name="connsiteY59" fmla="*/ 5510941 h 6042876"/>
                <a:gd name="connsiteX60" fmla="*/ 5187508 w 20358094"/>
                <a:gd name="connsiteY60" fmla="*/ 4678603 h 6042876"/>
                <a:gd name="connsiteX61" fmla="*/ 4613077 w 20358094"/>
                <a:gd name="connsiteY61" fmla="*/ 3940050 h 6042876"/>
                <a:gd name="connsiteX62" fmla="*/ 3804185 w 20358094"/>
                <a:gd name="connsiteY62" fmla="*/ 3635249 h 6042876"/>
                <a:gd name="connsiteX63" fmla="*/ 3077355 w 20358094"/>
                <a:gd name="connsiteY63" fmla="*/ 3693864 h 6042876"/>
                <a:gd name="connsiteX64" fmla="*/ 2479477 w 20358094"/>
                <a:gd name="connsiteY64" fmla="*/ 3998664 h 6042876"/>
                <a:gd name="connsiteX65" fmla="*/ 1987108 w 20358094"/>
                <a:gd name="connsiteY65" fmla="*/ 4584818 h 6042876"/>
                <a:gd name="connsiteX66" fmla="*/ 1799539 w 20358094"/>
                <a:gd name="connsiteY66" fmla="*/ 5159249 h 6042876"/>
                <a:gd name="connsiteX67" fmla="*/ 1787816 w 20358094"/>
                <a:gd name="connsiteY67" fmla="*/ 5745403 h 6042876"/>
                <a:gd name="connsiteX68" fmla="*/ 1776093 w 20358094"/>
                <a:gd name="connsiteY68" fmla="*/ 5944695 h 6042876"/>
                <a:gd name="connsiteX69" fmla="*/ 1647139 w 20358094"/>
                <a:gd name="connsiteY69" fmla="*/ 5956418 h 6042876"/>
                <a:gd name="connsiteX70" fmla="*/ 709293 w 20358094"/>
                <a:gd name="connsiteY70" fmla="*/ 5932972 h 6042876"/>
                <a:gd name="connsiteX71" fmla="*/ 556893 w 20358094"/>
                <a:gd name="connsiteY71" fmla="*/ 5909526 h 6042876"/>
                <a:gd name="connsiteX72" fmla="*/ 474831 w 20358094"/>
                <a:gd name="connsiteY72" fmla="*/ 5804018 h 6042876"/>
                <a:gd name="connsiteX73" fmla="*/ 404493 w 20358094"/>
                <a:gd name="connsiteY73" fmla="*/ 5745403 h 6042876"/>
                <a:gd name="connsiteX74" fmla="*/ 263816 w 20358094"/>
                <a:gd name="connsiteY74" fmla="*/ 5581280 h 6042876"/>
                <a:gd name="connsiteX75" fmla="*/ 404493 w 20358094"/>
                <a:gd name="connsiteY75" fmla="*/ 5534387 h 6042876"/>
                <a:gd name="connsiteX76" fmla="*/ 334154 w 20358094"/>
                <a:gd name="connsiteY76" fmla="*/ 5428880 h 6042876"/>
                <a:gd name="connsiteX77" fmla="*/ 240370 w 20358094"/>
                <a:gd name="connsiteY77" fmla="*/ 5030295 h 6042876"/>
                <a:gd name="connsiteX78" fmla="*/ 205201 w 20358094"/>
                <a:gd name="connsiteY78" fmla="*/ 4983403 h 6042876"/>
                <a:gd name="connsiteX79" fmla="*/ 76247 w 20358094"/>
                <a:gd name="connsiteY79" fmla="*/ 4971680 h 6042876"/>
                <a:gd name="connsiteX80" fmla="*/ 52801 w 20358094"/>
                <a:gd name="connsiteY80" fmla="*/ 4842726 h 6042876"/>
                <a:gd name="connsiteX81" fmla="*/ 5908 w 20358094"/>
                <a:gd name="connsiteY81" fmla="*/ 4385526 h 6042876"/>
                <a:gd name="connsiteX82" fmla="*/ 17631 w 20358094"/>
                <a:gd name="connsiteY82" fmla="*/ 4315187 h 6042876"/>
                <a:gd name="connsiteX83" fmla="*/ 158308 w 20358094"/>
                <a:gd name="connsiteY83" fmla="*/ 4280018 h 6042876"/>
                <a:gd name="connsiteX84" fmla="*/ 240370 w 20358094"/>
                <a:gd name="connsiteY84" fmla="*/ 4151064 h 6042876"/>
                <a:gd name="connsiteX85" fmla="*/ 205201 w 20358094"/>
                <a:gd name="connsiteY85" fmla="*/ 3963495 h 6042876"/>
                <a:gd name="connsiteX86" fmla="*/ 193477 w 20358094"/>
                <a:gd name="connsiteY86" fmla="*/ 3623526 h 6042876"/>
                <a:gd name="connsiteX87" fmla="*/ 357601 w 20358094"/>
                <a:gd name="connsiteY87" fmla="*/ 3283557 h 6042876"/>
                <a:gd name="connsiteX88" fmla="*/ 1154770 w 20358094"/>
                <a:gd name="connsiteY88" fmla="*/ 2861526 h 6042876"/>
                <a:gd name="connsiteX89" fmla="*/ 2104339 w 20358094"/>
                <a:gd name="connsiteY89" fmla="*/ 2627064 h 6042876"/>
                <a:gd name="connsiteX90" fmla="*/ 3780739 w 20358094"/>
                <a:gd name="connsiteY90" fmla="*/ 2333987 h 6042876"/>
                <a:gd name="connsiteX91" fmla="*/ 5199231 w 20358094"/>
                <a:gd name="connsiteY91" fmla="*/ 2169864 h 6042876"/>
                <a:gd name="connsiteX92" fmla="*/ 5574370 w 20358094"/>
                <a:gd name="connsiteY92" fmla="*/ 2146418 h 6042876"/>
                <a:gd name="connsiteX93" fmla="*/ 5726770 w 20358094"/>
                <a:gd name="connsiteY93" fmla="*/ 2158141 h 6042876"/>
                <a:gd name="connsiteX94" fmla="*/ 5972421 w 20358094"/>
                <a:gd name="connsiteY94" fmla="*/ 2231144 h 6042876"/>
                <a:gd name="connsiteX0" fmla="*/ 5972421 w 20358094"/>
                <a:gd name="connsiteY0" fmla="*/ 2219181 h 6030913"/>
                <a:gd name="connsiteX1" fmla="*/ 6899077 w 20358094"/>
                <a:gd name="connsiteY1" fmla="*/ 1668196 h 6030913"/>
                <a:gd name="connsiteX2" fmla="*/ 8218989 w 20358094"/>
                <a:gd name="connsiteY2" fmla="*/ 917387 h 6030913"/>
                <a:gd name="connsiteX3" fmla="*/ 9032677 w 20358094"/>
                <a:gd name="connsiteY3" fmla="*/ 516671 h 6030913"/>
                <a:gd name="connsiteX4" fmla="*/ 9079570 w 20358094"/>
                <a:gd name="connsiteY4" fmla="*/ 458055 h 6030913"/>
                <a:gd name="connsiteX5" fmla="*/ 9220247 w 20358094"/>
                <a:gd name="connsiteY5" fmla="*/ 399440 h 6030913"/>
                <a:gd name="connsiteX6" fmla="*/ 10022627 w 20358094"/>
                <a:gd name="connsiteY6" fmla="*/ 197867 h 6030913"/>
                <a:gd name="connsiteX7" fmla="*/ 11365570 w 20358094"/>
                <a:gd name="connsiteY7" fmla="*/ 36024 h 6030913"/>
                <a:gd name="connsiteX8" fmla="*/ 12943952 w 20358094"/>
                <a:gd name="connsiteY8" fmla="*/ 1832 h 6030913"/>
                <a:gd name="connsiteX9" fmla="*/ 14565970 w 20358094"/>
                <a:gd name="connsiteY9" fmla="*/ 71194 h 6030913"/>
                <a:gd name="connsiteX10" fmla="*/ 16054801 w 20358094"/>
                <a:gd name="connsiteY10" fmla="*/ 153255 h 6030913"/>
                <a:gd name="connsiteX11" fmla="*/ 17496739 w 20358094"/>
                <a:gd name="connsiteY11" fmla="*/ 352548 h 6030913"/>
                <a:gd name="connsiteX12" fmla="*/ 18036001 w 20358094"/>
                <a:gd name="connsiteY12" fmla="*/ 458055 h 6030913"/>
                <a:gd name="connsiteX13" fmla="*/ 18352524 w 20358094"/>
                <a:gd name="connsiteY13" fmla="*/ 516671 h 6030913"/>
                <a:gd name="connsiteX14" fmla="*/ 18434585 w 20358094"/>
                <a:gd name="connsiteY14" fmla="*/ 563563 h 6030913"/>
                <a:gd name="connsiteX15" fmla="*/ 18469754 w 20358094"/>
                <a:gd name="connsiteY15" fmla="*/ 622178 h 6030913"/>
                <a:gd name="connsiteX16" fmla="*/ 18903508 w 20358094"/>
                <a:gd name="connsiteY16" fmla="*/ 1079378 h 6030913"/>
                <a:gd name="connsiteX17" fmla="*/ 19560001 w 20358094"/>
                <a:gd name="connsiteY17" fmla="*/ 1841378 h 6030913"/>
                <a:gd name="connsiteX18" fmla="*/ 19665508 w 20358094"/>
                <a:gd name="connsiteY18" fmla="*/ 1982055 h 6030913"/>
                <a:gd name="connsiteX19" fmla="*/ 19864801 w 20358094"/>
                <a:gd name="connsiteY19" fmla="*/ 2087563 h 6030913"/>
                <a:gd name="connsiteX20" fmla="*/ 19946862 w 20358094"/>
                <a:gd name="connsiteY20" fmla="*/ 2216517 h 6030913"/>
                <a:gd name="connsiteX21" fmla="*/ 19911693 w 20358094"/>
                <a:gd name="connsiteY21" fmla="*/ 2404086 h 6030913"/>
                <a:gd name="connsiteX22" fmla="*/ 19958052 w 20358094"/>
                <a:gd name="connsiteY22" fmla="*/ 2732865 h 6030913"/>
                <a:gd name="connsiteX23" fmla="*/ 19922884 w 20358094"/>
                <a:gd name="connsiteY23" fmla="*/ 3035000 h 6030913"/>
                <a:gd name="connsiteX24" fmla="*/ 19993754 w 20358094"/>
                <a:gd name="connsiteY24" fmla="*/ 3259871 h 6030913"/>
                <a:gd name="connsiteX25" fmla="*/ 19982031 w 20358094"/>
                <a:gd name="connsiteY25" fmla="*/ 3435717 h 6030913"/>
                <a:gd name="connsiteX26" fmla="*/ 19962849 w 20358094"/>
                <a:gd name="connsiteY26" fmla="*/ 3630214 h 6030913"/>
                <a:gd name="connsiteX27" fmla="*/ 20134431 w 20358094"/>
                <a:gd name="connsiteY27" fmla="*/ 3693624 h 6030913"/>
                <a:gd name="connsiteX28" fmla="*/ 20275108 w 20358094"/>
                <a:gd name="connsiteY28" fmla="*/ 3740517 h 6030913"/>
                <a:gd name="connsiteX29" fmla="*/ 20345447 w 20358094"/>
                <a:gd name="connsiteY29" fmla="*/ 3834301 h 6030913"/>
                <a:gd name="connsiteX30" fmla="*/ 20357170 w 20358094"/>
                <a:gd name="connsiteY30" fmla="*/ 3998424 h 6030913"/>
                <a:gd name="connsiteX31" fmla="*/ 20333725 w 20358094"/>
                <a:gd name="connsiteY31" fmla="*/ 4197717 h 6030913"/>
                <a:gd name="connsiteX32" fmla="*/ 20275108 w 20358094"/>
                <a:gd name="connsiteY32" fmla="*/ 4385286 h 6030913"/>
                <a:gd name="connsiteX33" fmla="*/ 20169601 w 20358094"/>
                <a:gd name="connsiteY33" fmla="*/ 4420455 h 6030913"/>
                <a:gd name="connsiteX34" fmla="*/ 20087539 w 20358094"/>
                <a:gd name="connsiteY34" fmla="*/ 4736978 h 6030913"/>
                <a:gd name="connsiteX35" fmla="*/ 20064093 w 20358094"/>
                <a:gd name="connsiteY35" fmla="*/ 5170732 h 6030913"/>
                <a:gd name="connsiteX36" fmla="*/ 20157877 w 20358094"/>
                <a:gd name="connsiteY36" fmla="*/ 5463809 h 6030913"/>
                <a:gd name="connsiteX37" fmla="*/ 20052370 w 20358094"/>
                <a:gd name="connsiteY37" fmla="*/ 5498978 h 6030913"/>
                <a:gd name="connsiteX38" fmla="*/ 19548277 w 20358094"/>
                <a:gd name="connsiteY38" fmla="*/ 5522424 h 6030913"/>
                <a:gd name="connsiteX39" fmla="*/ 19454493 w 20358094"/>
                <a:gd name="connsiteY39" fmla="*/ 5745163 h 6030913"/>
                <a:gd name="connsiteX40" fmla="*/ 19290370 w 20358094"/>
                <a:gd name="connsiteY40" fmla="*/ 5768609 h 6030913"/>
                <a:gd name="connsiteX41" fmla="*/ 18223570 w 20358094"/>
                <a:gd name="connsiteY41" fmla="*/ 5756886 h 6030913"/>
                <a:gd name="connsiteX42" fmla="*/ 18223570 w 20358094"/>
                <a:gd name="connsiteY42" fmla="*/ 5569317 h 6030913"/>
                <a:gd name="connsiteX43" fmla="*/ 18009890 w 20358094"/>
                <a:gd name="connsiteY43" fmla="*/ 4713532 h 6030913"/>
                <a:gd name="connsiteX44" fmla="*/ 17602247 w 20358094"/>
                <a:gd name="connsiteY44" fmla="*/ 4150824 h 6030913"/>
                <a:gd name="connsiteX45" fmla="*/ 17145047 w 20358094"/>
                <a:gd name="connsiteY45" fmla="*/ 3846024 h 6030913"/>
                <a:gd name="connsiteX46" fmla="*/ 16429939 w 20358094"/>
                <a:gd name="connsiteY46" fmla="*/ 3670178 h 6030913"/>
                <a:gd name="connsiteX47" fmla="*/ 15902401 w 20358094"/>
                <a:gd name="connsiteY47" fmla="*/ 3717071 h 6030913"/>
                <a:gd name="connsiteX48" fmla="*/ 15386585 w 20358094"/>
                <a:gd name="connsiteY48" fmla="*/ 3967518 h 6030913"/>
                <a:gd name="connsiteX49" fmla="*/ 14964554 w 20358094"/>
                <a:gd name="connsiteY49" fmla="*/ 4385286 h 6030913"/>
                <a:gd name="connsiteX50" fmla="*/ 14664550 w 20358094"/>
                <a:gd name="connsiteY50" fmla="*/ 4924547 h 6030913"/>
                <a:gd name="connsiteX51" fmla="*/ 14542524 w 20358094"/>
                <a:gd name="connsiteY51" fmla="*/ 5381748 h 6030913"/>
                <a:gd name="connsiteX52" fmla="*/ 14542524 w 20358094"/>
                <a:gd name="connsiteY52" fmla="*/ 5756886 h 6030913"/>
                <a:gd name="connsiteX53" fmla="*/ 14554247 w 20358094"/>
                <a:gd name="connsiteY53" fmla="*/ 5979624 h 6030913"/>
                <a:gd name="connsiteX54" fmla="*/ 14472185 w 20358094"/>
                <a:gd name="connsiteY54" fmla="*/ 6003071 h 6030913"/>
                <a:gd name="connsiteX55" fmla="*/ 14073601 w 20358094"/>
                <a:gd name="connsiteY55" fmla="*/ 6003071 h 6030913"/>
                <a:gd name="connsiteX56" fmla="*/ 11693816 w 20358094"/>
                <a:gd name="connsiteY56" fmla="*/ 6026517 h 6030913"/>
                <a:gd name="connsiteX57" fmla="*/ 7121816 w 20358094"/>
                <a:gd name="connsiteY57" fmla="*/ 6026517 h 6030913"/>
                <a:gd name="connsiteX58" fmla="*/ 5328185 w 20358094"/>
                <a:gd name="connsiteY58" fmla="*/ 5991348 h 6030913"/>
                <a:gd name="connsiteX59" fmla="*/ 5351631 w 20358094"/>
                <a:gd name="connsiteY59" fmla="*/ 5498978 h 6030913"/>
                <a:gd name="connsiteX60" fmla="*/ 5187508 w 20358094"/>
                <a:gd name="connsiteY60" fmla="*/ 4666640 h 6030913"/>
                <a:gd name="connsiteX61" fmla="*/ 4613077 w 20358094"/>
                <a:gd name="connsiteY61" fmla="*/ 3928087 h 6030913"/>
                <a:gd name="connsiteX62" fmla="*/ 3804185 w 20358094"/>
                <a:gd name="connsiteY62" fmla="*/ 3623286 h 6030913"/>
                <a:gd name="connsiteX63" fmla="*/ 3077355 w 20358094"/>
                <a:gd name="connsiteY63" fmla="*/ 3681901 h 6030913"/>
                <a:gd name="connsiteX64" fmla="*/ 2479477 w 20358094"/>
                <a:gd name="connsiteY64" fmla="*/ 3986701 h 6030913"/>
                <a:gd name="connsiteX65" fmla="*/ 1987108 w 20358094"/>
                <a:gd name="connsiteY65" fmla="*/ 4572855 h 6030913"/>
                <a:gd name="connsiteX66" fmla="*/ 1799539 w 20358094"/>
                <a:gd name="connsiteY66" fmla="*/ 5147286 h 6030913"/>
                <a:gd name="connsiteX67" fmla="*/ 1787816 w 20358094"/>
                <a:gd name="connsiteY67" fmla="*/ 5733440 h 6030913"/>
                <a:gd name="connsiteX68" fmla="*/ 1776093 w 20358094"/>
                <a:gd name="connsiteY68" fmla="*/ 5932732 h 6030913"/>
                <a:gd name="connsiteX69" fmla="*/ 1647139 w 20358094"/>
                <a:gd name="connsiteY69" fmla="*/ 5944455 h 6030913"/>
                <a:gd name="connsiteX70" fmla="*/ 709293 w 20358094"/>
                <a:gd name="connsiteY70" fmla="*/ 5921009 h 6030913"/>
                <a:gd name="connsiteX71" fmla="*/ 556893 w 20358094"/>
                <a:gd name="connsiteY71" fmla="*/ 5897563 h 6030913"/>
                <a:gd name="connsiteX72" fmla="*/ 474831 w 20358094"/>
                <a:gd name="connsiteY72" fmla="*/ 5792055 h 6030913"/>
                <a:gd name="connsiteX73" fmla="*/ 404493 w 20358094"/>
                <a:gd name="connsiteY73" fmla="*/ 5733440 h 6030913"/>
                <a:gd name="connsiteX74" fmla="*/ 263816 w 20358094"/>
                <a:gd name="connsiteY74" fmla="*/ 5569317 h 6030913"/>
                <a:gd name="connsiteX75" fmla="*/ 404493 w 20358094"/>
                <a:gd name="connsiteY75" fmla="*/ 5522424 h 6030913"/>
                <a:gd name="connsiteX76" fmla="*/ 334154 w 20358094"/>
                <a:gd name="connsiteY76" fmla="*/ 5416917 h 6030913"/>
                <a:gd name="connsiteX77" fmla="*/ 240370 w 20358094"/>
                <a:gd name="connsiteY77" fmla="*/ 5018332 h 6030913"/>
                <a:gd name="connsiteX78" fmla="*/ 205201 w 20358094"/>
                <a:gd name="connsiteY78" fmla="*/ 4971440 h 6030913"/>
                <a:gd name="connsiteX79" fmla="*/ 76247 w 20358094"/>
                <a:gd name="connsiteY79" fmla="*/ 4959717 h 6030913"/>
                <a:gd name="connsiteX80" fmla="*/ 52801 w 20358094"/>
                <a:gd name="connsiteY80" fmla="*/ 4830763 h 6030913"/>
                <a:gd name="connsiteX81" fmla="*/ 5908 w 20358094"/>
                <a:gd name="connsiteY81" fmla="*/ 4373563 h 6030913"/>
                <a:gd name="connsiteX82" fmla="*/ 17631 w 20358094"/>
                <a:gd name="connsiteY82" fmla="*/ 4303224 h 6030913"/>
                <a:gd name="connsiteX83" fmla="*/ 158308 w 20358094"/>
                <a:gd name="connsiteY83" fmla="*/ 4268055 h 6030913"/>
                <a:gd name="connsiteX84" fmla="*/ 240370 w 20358094"/>
                <a:gd name="connsiteY84" fmla="*/ 4139101 h 6030913"/>
                <a:gd name="connsiteX85" fmla="*/ 205201 w 20358094"/>
                <a:gd name="connsiteY85" fmla="*/ 3951532 h 6030913"/>
                <a:gd name="connsiteX86" fmla="*/ 193477 w 20358094"/>
                <a:gd name="connsiteY86" fmla="*/ 3611563 h 6030913"/>
                <a:gd name="connsiteX87" fmla="*/ 357601 w 20358094"/>
                <a:gd name="connsiteY87" fmla="*/ 3271594 h 6030913"/>
                <a:gd name="connsiteX88" fmla="*/ 1154770 w 20358094"/>
                <a:gd name="connsiteY88" fmla="*/ 2849563 h 6030913"/>
                <a:gd name="connsiteX89" fmla="*/ 2104339 w 20358094"/>
                <a:gd name="connsiteY89" fmla="*/ 2615101 h 6030913"/>
                <a:gd name="connsiteX90" fmla="*/ 3780739 w 20358094"/>
                <a:gd name="connsiteY90" fmla="*/ 2322024 h 6030913"/>
                <a:gd name="connsiteX91" fmla="*/ 5199231 w 20358094"/>
                <a:gd name="connsiteY91" fmla="*/ 2157901 h 6030913"/>
                <a:gd name="connsiteX92" fmla="*/ 5574370 w 20358094"/>
                <a:gd name="connsiteY92" fmla="*/ 2134455 h 6030913"/>
                <a:gd name="connsiteX93" fmla="*/ 5726770 w 20358094"/>
                <a:gd name="connsiteY93" fmla="*/ 2146178 h 6030913"/>
                <a:gd name="connsiteX94" fmla="*/ 5972421 w 20358094"/>
                <a:gd name="connsiteY94" fmla="*/ 2219181 h 603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0358094" h="6030913">
                  <a:moveTo>
                    <a:pt x="5972421" y="2219181"/>
                  </a:moveTo>
                  <a:cubicBezTo>
                    <a:pt x="6043114" y="2181081"/>
                    <a:pt x="6524649" y="1885162"/>
                    <a:pt x="6899077" y="1668196"/>
                  </a:cubicBezTo>
                  <a:cubicBezTo>
                    <a:pt x="7273505" y="1451230"/>
                    <a:pt x="7863389" y="1109308"/>
                    <a:pt x="8218989" y="917387"/>
                  </a:cubicBezTo>
                  <a:cubicBezTo>
                    <a:pt x="8574589" y="725466"/>
                    <a:pt x="8889247" y="593226"/>
                    <a:pt x="9032677" y="516671"/>
                  </a:cubicBezTo>
                  <a:cubicBezTo>
                    <a:pt x="9176107" y="440116"/>
                    <a:pt x="9048308" y="477593"/>
                    <a:pt x="9079570" y="458055"/>
                  </a:cubicBezTo>
                  <a:cubicBezTo>
                    <a:pt x="9110832" y="438516"/>
                    <a:pt x="9063071" y="442805"/>
                    <a:pt x="9220247" y="399440"/>
                  </a:cubicBezTo>
                  <a:cubicBezTo>
                    <a:pt x="9377423" y="356075"/>
                    <a:pt x="9665073" y="258436"/>
                    <a:pt x="10022627" y="197867"/>
                  </a:cubicBezTo>
                  <a:cubicBezTo>
                    <a:pt x="10380181" y="137298"/>
                    <a:pt x="10878683" y="68696"/>
                    <a:pt x="11365570" y="36024"/>
                  </a:cubicBezTo>
                  <a:cubicBezTo>
                    <a:pt x="11852457" y="3352"/>
                    <a:pt x="12410552" y="-4030"/>
                    <a:pt x="12943952" y="1832"/>
                  </a:cubicBezTo>
                  <a:cubicBezTo>
                    <a:pt x="13477352" y="7694"/>
                    <a:pt x="14047495" y="45957"/>
                    <a:pt x="14565970" y="71194"/>
                  </a:cubicBezTo>
                  <a:cubicBezTo>
                    <a:pt x="15084445" y="96431"/>
                    <a:pt x="15566340" y="106363"/>
                    <a:pt x="16054801" y="153255"/>
                  </a:cubicBezTo>
                  <a:cubicBezTo>
                    <a:pt x="16543262" y="200147"/>
                    <a:pt x="17166539" y="301748"/>
                    <a:pt x="17496739" y="352548"/>
                  </a:cubicBezTo>
                  <a:cubicBezTo>
                    <a:pt x="17826939" y="403348"/>
                    <a:pt x="17893370" y="430701"/>
                    <a:pt x="18036001" y="458055"/>
                  </a:cubicBezTo>
                  <a:cubicBezTo>
                    <a:pt x="18178632" y="485409"/>
                    <a:pt x="18286093" y="499086"/>
                    <a:pt x="18352524" y="516671"/>
                  </a:cubicBezTo>
                  <a:cubicBezTo>
                    <a:pt x="18418955" y="534256"/>
                    <a:pt x="18415047" y="545978"/>
                    <a:pt x="18434585" y="563563"/>
                  </a:cubicBezTo>
                  <a:cubicBezTo>
                    <a:pt x="18454123" y="581147"/>
                    <a:pt x="18391600" y="536209"/>
                    <a:pt x="18469754" y="622178"/>
                  </a:cubicBezTo>
                  <a:cubicBezTo>
                    <a:pt x="18547908" y="708147"/>
                    <a:pt x="18721800" y="876178"/>
                    <a:pt x="18903508" y="1079378"/>
                  </a:cubicBezTo>
                  <a:cubicBezTo>
                    <a:pt x="19085216" y="1282578"/>
                    <a:pt x="19433001" y="1690932"/>
                    <a:pt x="19560001" y="1841378"/>
                  </a:cubicBezTo>
                  <a:cubicBezTo>
                    <a:pt x="19687001" y="1991824"/>
                    <a:pt x="19614708" y="1941024"/>
                    <a:pt x="19665508" y="1982055"/>
                  </a:cubicBezTo>
                  <a:cubicBezTo>
                    <a:pt x="19716308" y="2023086"/>
                    <a:pt x="19817909" y="2048486"/>
                    <a:pt x="19864801" y="2087563"/>
                  </a:cubicBezTo>
                  <a:cubicBezTo>
                    <a:pt x="19911693" y="2126640"/>
                    <a:pt x="19939047" y="2163763"/>
                    <a:pt x="19946862" y="2216517"/>
                  </a:cubicBezTo>
                  <a:cubicBezTo>
                    <a:pt x="19954677" y="2269271"/>
                    <a:pt x="19909828" y="2318028"/>
                    <a:pt x="19911693" y="2404086"/>
                  </a:cubicBezTo>
                  <a:cubicBezTo>
                    <a:pt x="19913558" y="2490144"/>
                    <a:pt x="19956187" y="2627713"/>
                    <a:pt x="19958052" y="2732865"/>
                  </a:cubicBezTo>
                  <a:cubicBezTo>
                    <a:pt x="19959917" y="2838017"/>
                    <a:pt x="19916934" y="2947166"/>
                    <a:pt x="19922884" y="3035000"/>
                  </a:cubicBezTo>
                  <a:cubicBezTo>
                    <a:pt x="19928834" y="3122834"/>
                    <a:pt x="19983896" y="3193085"/>
                    <a:pt x="19993754" y="3259871"/>
                  </a:cubicBezTo>
                  <a:cubicBezTo>
                    <a:pt x="20003612" y="3326657"/>
                    <a:pt x="19987182" y="3373993"/>
                    <a:pt x="19982031" y="3435717"/>
                  </a:cubicBezTo>
                  <a:cubicBezTo>
                    <a:pt x="19976880" y="3497441"/>
                    <a:pt x="19965157" y="3587230"/>
                    <a:pt x="19962849" y="3630214"/>
                  </a:cubicBezTo>
                  <a:cubicBezTo>
                    <a:pt x="19960541" y="3673198"/>
                    <a:pt x="20082388" y="3675240"/>
                    <a:pt x="20134431" y="3693624"/>
                  </a:cubicBezTo>
                  <a:cubicBezTo>
                    <a:pt x="20186474" y="3712008"/>
                    <a:pt x="20239939" y="3717071"/>
                    <a:pt x="20275108" y="3740517"/>
                  </a:cubicBezTo>
                  <a:cubicBezTo>
                    <a:pt x="20310277" y="3763963"/>
                    <a:pt x="20331770" y="3791317"/>
                    <a:pt x="20345447" y="3834301"/>
                  </a:cubicBezTo>
                  <a:cubicBezTo>
                    <a:pt x="20359124" y="3877285"/>
                    <a:pt x="20359124" y="3937855"/>
                    <a:pt x="20357170" y="3998424"/>
                  </a:cubicBezTo>
                  <a:cubicBezTo>
                    <a:pt x="20355216" y="4058993"/>
                    <a:pt x="20347402" y="4133240"/>
                    <a:pt x="20333725" y="4197717"/>
                  </a:cubicBezTo>
                  <a:cubicBezTo>
                    <a:pt x="20320048" y="4262194"/>
                    <a:pt x="20302462" y="4348163"/>
                    <a:pt x="20275108" y="4385286"/>
                  </a:cubicBezTo>
                  <a:cubicBezTo>
                    <a:pt x="20247754" y="4422409"/>
                    <a:pt x="20200863" y="4361840"/>
                    <a:pt x="20169601" y="4420455"/>
                  </a:cubicBezTo>
                  <a:cubicBezTo>
                    <a:pt x="20138340" y="4479070"/>
                    <a:pt x="20091271" y="4653496"/>
                    <a:pt x="20087539" y="4736978"/>
                  </a:cubicBezTo>
                  <a:cubicBezTo>
                    <a:pt x="20083807" y="4820460"/>
                    <a:pt x="20093933" y="5063448"/>
                    <a:pt x="20064093" y="5170732"/>
                  </a:cubicBezTo>
                  <a:cubicBezTo>
                    <a:pt x="20034253" y="5278016"/>
                    <a:pt x="20159831" y="5409101"/>
                    <a:pt x="20157877" y="5463809"/>
                  </a:cubicBezTo>
                  <a:cubicBezTo>
                    <a:pt x="20155923" y="5518517"/>
                    <a:pt x="20153970" y="5489209"/>
                    <a:pt x="20052370" y="5498978"/>
                  </a:cubicBezTo>
                  <a:cubicBezTo>
                    <a:pt x="19950770" y="5508747"/>
                    <a:pt x="19647923" y="5481393"/>
                    <a:pt x="19548277" y="5522424"/>
                  </a:cubicBezTo>
                  <a:cubicBezTo>
                    <a:pt x="19448631" y="5563455"/>
                    <a:pt x="19497477" y="5704132"/>
                    <a:pt x="19454493" y="5745163"/>
                  </a:cubicBezTo>
                  <a:cubicBezTo>
                    <a:pt x="19411509" y="5786194"/>
                    <a:pt x="19290370" y="5768609"/>
                    <a:pt x="19290370" y="5768609"/>
                  </a:cubicBezTo>
                  <a:cubicBezTo>
                    <a:pt x="19085216" y="5770563"/>
                    <a:pt x="18401370" y="5790101"/>
                    <a:pt x="18223570" y="5756886"/>
                  </a:cubicBezTo>
                  <a:cubicBezTo>
                    <a:pt x="18045770" y="5723671"/>
                    <a:pt x="18238402" y="5777846"/>
                    <a:pt x="18223570" y="5569317"/>
                  </a:cubicBezTo>
                  <a:cubicBezTo>
                    <a:pt x="18208738" y="5360788"/>
                    <a:pt x="18113444" y="4949948"/>
                    <a:pt x="18009890" y="4713532"/>
                  </a:cubicBezTo>
                  <a:cubicBezTo>
                    <a:pt x="17906336" y="4477117"/>
                    <a:pt x="17746387" y="4295409"/>
                    <a:pt x="17602247" y="4150824"/>
                  </a:cubicBezTo>
                  <a:cubicBezTo>
                    <a:pt x="17458107" y="4006239"/>
                    <a:pt x="17326578" y="3933059"/>
                    <a:pt x="17145047" y="3846024"/>
                  </a:cubicBezTo>
                  <a:cubicBezTo>
                    <a:pt x="16963516" y="3758989"/>
                    <a:pt x="16637047" y="3670889"/>
                    <a:pt x="16429939" y="3670178"/>
                  </a:cubicBezTo>
                  <a:cubicBezTo>
                    <a:pt x="16222831" y="3669467"/>
                    <a:pt x="16076293" y="3667514"/>
                    <a:pt x="15902401" y="3717071"/>
                  </a:cubicBezTo>
                  <a:cubicBezTo>
                    <a:pt x="15728509" y="3766628"/>
                    <a:pt x="15542893" y="3856149"/>
                    <a:pt x="15386585" y="3967518"/>
                  </a:cubicBezTo>
                  <a:cubicBezTo>
                    <a:pt x="15230277" y="4078887"/>
                    <a:pt x="15084893" y="4225781"/>
                    <a:pt x="14964554" y="4385286"/>
                  </a:cubicBezTo>
                  <a:cubicBezTo>
                    <a:pt x="14844215" y="4544791"/>
                    <a:pt x="14727961" y="4744615"/>
                    <a:pt x="14664550" y="4924547"/>
                  </a:cubicBezTo>
                  <a:cubicBezTo>
                    <a:pt x="14601139" y="5104479"/>
                    <a:pt x="14562862" y="5243025"/>
                    <a:pt x="14542524" y="5381748"/>
                  </a:cubicBezTo>
                  <a:cubicBezTo>
                    <a:pt x="14522186" y="5520471"/>
                    <a:pt x="14540570" y="5657240"/>
                    <a:pt x="14542524" y="5756886"/>
                  </a:cubicBezTo>
                  <a:cubicBezTo>
                    <a:pt x="14544478" y="5856532"/>
                    <a:pt x="14565970" y="5938593"/>
                    <a:pt x="14554247" y="5979624"/>
                  </a:cubicBezTo>
                  <a:cubicBezTo>
                    <a:pt x="14542524" y="6020655"/>
                    <a:pt x="14552293" y="5999163"/>
                    <a:pt x="14472185" y="6003071"/>
                  </a:cubicBezTo>
                  <a:cubicBezTo>
                    <a:pt x="14392077" y="6006979"/>
                    <a:pt x="14073601" y="6003071"/>
                    <a:pt x="14073601" y="6003071"/>
                  </a:cubicBezTo>
                  <a:lnTo>
                    <a:pt x="11693816" y="6026517"/>
                  </a:lnTo>
                  <a:lnTo>
                    <a:pt x="7121816" y="6026517"/>
                  </a:lnTo>
                  <a:cubicBezTo>
                    <a:pt x="6060878" y="6020656"/>
                    <a:pt x="5318416" y="6055825"/>
                    <a:pt x="5328185" y="5991348"/>
                  </a:cubicBezTo>
                  <a:cubicBezTo>
                    <a:pt x="5337954" y="5926871"/>
                    <a:pt x="5363353" y="5708040"/>
                    <a:pt x="5351631" y="5498978"/>
                  </a:cubicBezTo>
                  <a:cubicBezTo>
                    <a:pt x="5339909" y="5289916"/>
                    <a:pt x="5310600" y="4928455"/>
                    <a:pt x="5187508" y="4666640"/>
                  </a:cubicBezTo>
                  <a:cubicBezTo>
                    <a:pt x="5064416" y="4404825"/>
                    <a:pt x="4843631" y="4101979"/>
                    <a:pt x="4613077" y="3928087"/>
                  </a:cubicBezTo>
                  <a:cubicBezTo>
                    <a:pt x="4382523" y="3754195"/>
                    <a:pt x="4060139" y="3664317"/>
                    <a:pt x="3804185" y="3623286"/>
                  </a:cubicBezTo>
                  <a:cubicBezTo>
                    <a:pt x="3548231" y="3582255"/>
                    <a:pt x="3298140" y="3621332"/>
                    <a:pt x="3077355" y="3681901"/>
                  </a:cubicBezTo>
                  <a:cubicBezTo>
                    <a:pt x="2856570" y="3742470"/>
                    <a:pt x="2661185" y="3838209"/>
                    <a:pt x="2479477" y="3986701"/>
                  </a:cubicBezTo>
                  <a:cubicBezTo>
                    <a:pt x="2297769" y="4135193"/>
                    <a:pt x="2100431" y="4379424"/>
                    <a:pt x="1987108" y="4572855"/>
                  </a:cubicBezTo>
                  <a:cubicBezTo>
                    <a:pt x="1873785" y="4766286"/>
                    <a:pt x="1832754" y="4953855"/>
                    <a:pt x="1799539" y="5147286"/>
                  </a:cubicBezTo>
                  <a:cubicBezTo>
                    <a:pt x="1766324" y="5340717"/>
                    <a:pt x="1791724" y="5602532"/>
                    <a:pt x="1787816" y="5733440"/>
                  </a:cubicBezTo>
                  <a:cubicBezTo>
                    <a:pt x="1783908" y="5864348"/>
                    <a:pt x="1799539" y="5897563"/>
                    <a:pt x="1776093" y="5932732"/>
                  </a:cubicBezTo>
                  <a:cubicBezTo>
                    <a:pt x="1752647" y="5967901"/>
                    <a:pt x="1824939" y="5946409"/>
                    <a:pt x="1647139" y="5944455"/>
                  </a:cubicBezTo>
                  <a:cubicBezTo>
                    <a:pt x="1469339" y="5942501"/>
                    <a:pt x="891001" y="5928824"/>
                    <a:pt x="709293" y="5921009"/>
                  </a:cubicBezTo>
                  <a:cubicBezTo>
                    <a:pt x="527585" y="5913194"/>
                    <a:pt x="595970" y="5919055"/>
                    <a:pt x="556893" y="5897563"/>
                  </a:cubicBezTo>
                  <a:cubicBezTo>
                    <a:pt x="517816" y="5876071"/>
                    <a:pt x="500231" y="5819409"/>
                    <a:pt x="474831" y="5792055"/>
                  </a:cubicBezTo>
                  <a:cubicBezTo>
                    <a:pt x="449431" y="5764701"/>
                    <a:pt x="439662" y="5770563"/>
                    <a:pt x="404493" y="5733440"/>
                  </a:cubicBezTo>
                  <a:cubicBezTo>
                    <a:pt x="369324" y="5696317"/>
                    <a:pt x="263816" y="5604486"/>
                    <a:pt x="263816" y="5569317"/>
                  </a:cubicBezTo>
                  <a:cubicBezTo>
                    <a:pt x="263816" y="5534148"/>
                    <a:pt x="392770" y="5547824"/>
                    <a:pt x="404493" y="5522424"/>
                  </a:cubicBezTo>
                  <a:cubicBezTo>
                    <a:pt x="416216" y="5497024"/>
                    <a:pt x="361508" y="5500932"/>
                    <a:pt x="334154" y="5416917"/>
                  </a:cubicBezTo>
                  <a:cubicBezTo>
                    <a:pt x="306800" y="5332902"/>
                    <a:pt x="240370" y="5018332"/>
                    <a:pt x="240370" y="5018332"/>
                  </a:cubicBezTo>
                  <a:cubicBezTo>
                    <a:pt x="218878" y="4944086"/>
                    <a:pt x="232555" y="4981209"/>
                    <a:pt x="205201" y="4971440"/>
                  </a:cubicBezTo>
                  <a:cubicBezTo>
                    <a:pt x="177847" y="4961671"/>
                    <a:pt x="101647" y="4983163"/>
                    <a:pt x="76247" y="4959717"/>
                  </a:cubicBezTo>
                  <a:cubicBezTo>
                    <a:pt x="50847" y="4936271"/>
                    <a:pt x="64524" y="4928455"/>
                    <a:pt x="52801" y="4830763"/>
                  </a:cubicBezTo>
                  <a:cubicBezTo>
                    <a:pt x="41078" y="4733071"/>
                    <a:pt x="11770" y="4461486"/>
                    <a:pt x="5908" y="4373563"/>
                  </a:cubicBezTo>
                  <a:cubicBezTo>
                    <a:pt x="46" y="4285640"/>
                    <a:pt x="-7769" y="4320809"/>
                    <a:pt x="17631" y="4303224"/>
                  </a:cubicBezTo>
                  <a:cubicBezTo>
                    <a:pt x="43031" y="4285639"/>
                    <a:pt x="121185" y="4295409"/>
                    <a:pt x="158308" y="4268055"/>
                  </a:cubicBezTo>
                  <a:cubicBezTo>
                    <a:pt x="195431" y="4240701"/>
                    <a:pt x="232555" y="4191855"/>
                    <a:pt x="240370" y="4139101"/>
                  </a:cubicBezTo>
                  <a:cubicBezTo>
                    <a:pt x="248185" y="4086347"/>
                    <a:pt x="213016" y="4039455"/>
                    <a:pt x="205201" y="3951532"/>
                  </a:cubicBezTo>
                  <a:cubicBezTo>
                    <a:pt x="197385" y="3863609"/>
                    <a:pt x="168077" y="3724886"/>
                    <a:pt x="193477" y="3611563"/>
                  </a:cubicBezTo>
                  <a:cubicBezTo>
                    <a:pt x="218877" y="3498240"/>
                    <a:pt x="197386" y="3398594"/>
                    <a:pt x="357601" y="3271594"/>
                  </a:cubicBezTo>
                  <a:cubicBezTo>
                    <a:pt x="517816" y="3144594"/>
                    <a:pt x="863647" y="2958978"/>
                    <a:pt x="1154770" y="2849563"/>
                  </a:cubicBezTo>
                  <a:cubicBezTo>
                    <a:pt x="1445893" y="2740148"/>
                    <a:pt x="1666678" y="2703024"/>
                    <a:pt x="2104339" y="2615101"/>
                  </a:cubicBezTo>
                  <a:cubicBezTo>
                    <a:pt x="2542000" y="2527178"/>
                    <a:pt x="3264924" y="2398224"/>
                    <a:pt x="3780739" y="2322024"/>
                  </a:cubicBezTo>
                  <a:cubicBezTo>
                    <a:pt x="4296554" y="2245824"/>
                    <a:pt x="4900293" y="2189162"/>
                    <a:pt x="5199231" y="2157901"/>
                  </a:cubicBezTo>
                  <a:cubicBezTo>
                    <a:pt x="5498169" y="2126640"/>
                    <a:pt x="5486447" y="2136409"/>
                    <a:pt x="5574370" y="2134455"/>
                  </a:cubicBezTo>
                  <a:cubicBezTo>
                    <a:pt x="5662293" y="2132501"/>
                    <a:pt x="5666201" y="2128593"/>
                    <a:pt x="5726770" y="2146178"/>
                  </a:cubicBezTo>
                  <a:cubicBezTo>
                    <a:pt x="5787339" y="2163763"/>
                    <a:pt x="5901728" y="2257281"/>
                    <a:pt x="5972421" y="2219181"/>
                  </a:cubicBezTo>
                  <a:close/>
                </a:path>
              </a:pathLst>
            </a:custGeom>
            <a:solidFill>
              <a:schemeClr val="accent1">
                <a:lumMod val="20000"/>
                <a:lumOff val="80000"/>
              </a:schemeClr>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p:cNvSpPr/>
            <p:nvPr/>
          </p:nvSpPr>
          <p:spPr bwMode="auto">
            <a:xfrm>
              <a:off x="3097263" y="2850856"/>
              <a:ext cx="1033331" cy="1033330"/>
            </a:xfrm>
            <a:prstGeom prst="ellipse">
              <a:avLst/>
            </a:prstGeom>
            <a:solidFill>
              <a:schemeClr val="bg1"/>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7421535" y="2850856"/>
              <a:ext cx="1033331" cy="1033330"/>
            </a:xfrm>
            <a:prstGeom prst="ellipse">
              <a:avLst/>
            </a:prstGeom>
            <a:solidFill>
              <a:schemeClr val="bg1"/>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p:cNvCxnSpPr/>
            <p:nvPr/>
          </p:nvCxnSpPr>
          <p:spPr>
            <a:xfrm flipV="1">
              <a:off x="3020769" y="3524787"/>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3" name="Straight Connector 22"/>
            <p:cNvCxnSpPr/>
            <p:nvPr/>
          </p:nvCxnSpPr>
          <p:spPr>
            <a:xfrm flipV="1">
              <a:off x="4110564" y="3524787"/>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4" name="Straight Connector 23"/>
            <p:cNvCxnSpPr/>
            <p:nvPr/>
          </p:nvCxnSpPr>
          <p:spPr>
            <a:xfrm flipV="1">
              <a:off x="8447117" y="3505005"/>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5" name="Straight Connector 24"/>
            <p:cNvCxnSpPr/>
            <p:nvPr/>
          </p:nvCxnSpPr>
          <p:spPr>
            <a:xfrm flipV="1">
              <a:off x="7318255" y="3516874"/>
              <a:ext cx="111028" cy="4282"/>
            </a:xfrm>
            <a:prstGeom prst="line">
              <a:avLst/>
            </a:prstGeom>
            <a:noFill/>
            <a:ln w="9525" cap="rnd" cmpd="sng" algn="ctr">
              <a:solidFill>
                <a:schemeClr val="bg1">
                  <a:lumMod val="50000"/>
                </a:schemeClr>
              </a:solidFill>
              <a:prstDash val="solid"/>
              <a:headEnd type="none"/>
              <a:tailEnd type="none"/>
            </a:ln>
            <a:effectLst/>
          </p:spPr>
        </p:cxnSp>
        <p:sp>
          <p:nvSpPr>
            <p:cNvPr id="26" name="Freeform: Shape 25"/>
            <p:cNvSpPr/>
            <p:nvPr/>
          </p:nvSpPr>
          <p:spPr bwMode="auto">
            <a:xfrm>
              <a:off x="4224355" y="3283448"/>
              <a:ext cx="3117622" cy="119835"/>
            </a:xfrm>
            <a:custGeom>
              <a:avLst/>
              <a:gdLst>
                <a:gd name="connsiteX0" fmla="*/ 0 w 9237785"/>
                <a:gd name="connsiteY0" fmla="*/ 152400 h 366891"/>
                <a:gd name="connsiteX1" fmla="*/ 4525108 w 9237785"/>
                <a:gd name="connsiteY1" fmla="*/ 363416 h 366891"/>
                <a:gd name="connsiteX2" fmla="*/ 9237785 w 9237785"/>
                <a:gd name="connsiteY2" fmla="*/ 0 h 366891"/>
                <a:gd name="connsiteX0" fmla="*/ 0 w 9237785"/>
                <a:gd name="connsiteY0" fmla="*/ 152400 h 374275"/>
                <a:gd name="connsiteX1" fmla="*/ 4525108 w 9237785"/>
                <a:gd name="connsiteY1" fmla="*/ 363416 h 374275"/>
                <a:gd name="connsiteX2" fmla="*/ 9237785 w 9237785"/>
                <a:gd name="connsiteY2" fmla="*/ 0 h 374275"/>
                <a:gd name="connsiteX0" fmla="*/ 0 w 9237785"/>
                <a:gd name="connsiteY0" fmla="*/ 152400 h 389310"/>
                <a:gd name="connsiteX1" fmla="*/ 4525108 w 9237785"/>
                <a:gd name="connsiteY1" fmla="*/ 363416 h 389310"/>
                <a:gd name="connsiteX2" fmla="*/ 9237785 w 9237785"/>
                <a:gd name="connsiteY2" fmla="*/ 0 h 389310"/>
                <a:gd name="connsiteX0" fmla="*/ 0 w 9237785"/>
                <a:gd name="connsiteY0" fmla="*/ 152400 h 361897"/>
                <a:gd name="connsiteX1" fmla="*/ 4513385 w 9237785"/>
                <a:gd name="connsiteY1" fmla="*/ 328247 h 361897"/>
                <a:gd name="connsiteX2" fmla="*/ 9237785 w 9237785"/>
                <a:gd name="connsiteY2" fmla="*/ 0 h 361897"/>
                <a:gd name="connsiteX0" fmla="*/ 0 w 9237785"/>
                <a:gd name="connsiteY0" fmla="*/ 175846 h 355082"/>
                <a:gd name="connsiteX1" fmla="*/ 4513385 w 9237785"/>
                <a:gd name="connsiteY1" fmla="*/ 328247 h 355082"/>
                <a:gd name="connsiteX2" fmla="*/ 9237785 w 9237785"/>
                <a:gd name="connsiteY2" fmla="*/ 0 h 355082"/>
              </a:gdLst>
              <a:ahLst/>
              <a:cxnLst>
                <a:cxn ang="0">
                  <a:pos x="connsiteX0" y="connsiteY0"/>
                </a:cxn>
                <a:cxn ang="0">
                  <a:pos x="connsiteX1" y="connsiteY1"/>
                </a:cxn>
                <a:cxn ang="0">
                  <a:pos x="connsiteX2" y="connsiteY2"/>
                </a:cxn>
              </a:cxnLst>
              <a:rect l="l" t="t" r="r" b="b"/>
              <a:pathLst>
                <a:path w="9237785" h="355082">
                  <a:moveTo>
                    <a:pt x="0" y="175846"/>
                  </a:moveTo>
                  <a:cubicBezTo>
                    <a:pt x="1445846" y="411285"/>
                    <a:pt x="2973754" y="357555"/>
                    <a:pt x="4513385" y="328247"/>
                  </a:cubicBezTo>
                  <a:cubicBezTo>
                    <a:pt x="6053016" y="298939"/>
                    <a:pt x="7651262" y="169008"/>
                    <a:pt x="9237785"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p:cNvSpPr/>
            <p:nvPr/>
          </p:nvSpPr>
          <p:spPr bwMode="auto">
            <a:xfrm>
              <a:off x="5427700" y="2237027"/>
              <a:ext cx="1339388" cy="1086482"/>
            </a:xfrm>
            <a:custGeom>
              <a:avLst/>
              <a:gdLst>
                <a:gd name="connsiteX0" fmla="*/ 2757283 w 3969686"/>
                <a:gd name="connsiteY0" fmla="*/ 2967952 h 3226746"/>
                <a:gd name="connsiteX1" fmla="*/ 2978956 w 3969686"/>
                <a:gd name="connsiteY1" fmla="*/ 2386061 h 3226746"/>
                <a:gd name="connsiteX2" fmla="*/ 3269901 w 3969686"/>
                <a:gd name="connsiteY2" fmla="*/ 1630988 h 3226746"/>
                <a:gd name="connsiteX3" fmla="*/ 3740956 w 3969686"/>
                <a:gd name="connsiteY3" fmla="*/ 785861 h 3226746"/>
                <a:gd name="connsiteX4" fmla="*/ 3782519 w 3969686"/>
                <a:gd name="connsiteY4" fmla="*/ 688879 h 3226746"/>
                <a:gd name="connsiteX5" fmla="*/ 3837937 w 3969686"/>
                <a:gd name="connsiteY5" fmla="*/ 640388 h 3226746"/>
                <a:gd name="connsiteX6" fmla="*/ 3921065 w 3969686"/>
                <a:gd name="connsiteY6" fmla="*/ 404861 h 3226746"/>
                <a:gd name="connsiteX7" fmla="*/ 3969556 w 3969686"/>
                <a:gd name="connsiteY7" fmla="*/ 93133 h 3226746"/>
                <a:gd name="connsiteX8" fmla="*/ 3907210 w 3969686"/>
                <a:gd name="connsiteY8" fmla="*/ 51570 h 3226746"/>
                <a:gd name="connsiteX9" fmla="*/ 3692465 w 3969686"/>
                <a:gd name="connsiteY9" fmla="*/ 3079 h 3226746"/>
                <a:gd name="connsiteX10" fmla="*/ 3477719 w 3969686"/>
                <a:gd name="connsiteY10" fmla="*/ 16933 h 3226746"/>
                <a:gd name="connsiteX11" fmla="*/ 3401519 w 3969686"/>
                <a:gd name="connsiteY11" fmla="*/ 113915 h 3226746"/>
                <a:gd name="connsiteX12" fmla="*/ 3304537 w 3969686"/>
                <a:gd name="connsiteY12" fmla="*/ 377152 h 3226746"/>
                <a:gd name="connsiteX13" fmla="*/ 3159065 w 3969686"/>
                <a:gd name="connsiteY13" fmla="*/ 605752 h 3226746"/>
                <a:gd name="connsiteX14" fmla="*/ 2888901 w 3969686"/>
                <a:gd name="connsiteY14" fmla="*/ 979824 h 3226746"/>
                <a:gd name="connsiteX15" fmla="*/ 2549465 w 3969686"/>
                <a:gd name="connsiteY15" fmla="*/ 1360824 h 3226746"/>
                <a:gd name="connsiteX16" fmla="*/ 2320865 w 3969686"/>
                <a:gd name="connsiteY16" fmla="*/ 1644842 h 3226746"/>
                <a:gd name="connsiteX17" fmla="*/ 2168465 w 3969686"/>
                <a:gd name="connsiteY17" fmla="*/ 2102042 h 3226746"/>
                <a:gd name="connsiteX18" fmla="*/ 2196174 w 3969686"/>
                <a:gd name="connsiteY18" fmla="*/ 2531533 h 3226746"/>
                <a:gd name="connsiteX19" fmla="*/ 2272374 w 3969686"/>
                <a:gd name="connsiteY19" fmla="*/ 2767061 h 3226746"/>
                <a:gd name="connsiteX20" fmla="*/ 2272374 w 3969686"/>
                <a:gd name="connsiteY20" fmla="*/ 2787842 h 3226746"/>
                <a:gd name="connsiteX21" fmla="*/ 2230810 w 3969686"/>
                <a:gd name="connsiteY21" fmla="*/ 2760133 h 3226746"/>
                <a:gd name="connsiteX22" fmla="*/ 1856737 w 3969686"/>
                <a:gd name="connsiteY22" fmla="*/ 2621588 h 3226746"/>
                <a:gd name="connsiteX23" fmla="*/ 1420319 w 3969686"/>
                <a:gd name="connsiteY23" fmla="*/ 2427624 h 3226746"/>
                <a:gd name="connsiteX24" fmla="*/ 1032392 w 3969686"/>
                <a:gd name="connsiteY24" fmla="*/ 2275224 h 3226746"/>
                <a:gd name="connsiteX25" fmla="*/ 727592 w 3969686"/>
                <a:gd name="connsiteY25" fmla="*/ 2219806 h 3226746"/>
                <a:gd name="connsiteX26" fmla="*/ 443574 w 3969686"/>
                <a:gd name="connsiteY26" fmla="*/ 2233661 h 3226746"/>
                <a:gd name="connsiteX27" fmla="*/ 249610 w 3969686"/>
                <a:gd name="connsiteY27" fmla="*/ 2302933 h 3226746"/>
                <a:gd name="connsiteX28" fmla="*/ 173410 w 3969686"/>
                <a:gd name="connsiteY28" fmla="*/ 2309861 h 3226746"/>
                <a:gd name="connsiteX29" fmla="*/ 83356 w 3969686"/>
                <a:gd name="connsiteY29" fmla="*/ 2302933 h 3226746"/>
                <a:gd name="connsiteX30" fmla="*/ 7156 w 3969686"/>
                <a:gd name="connsiteY30" fmla="*/ 2358352 h 3226746"/>
                <a:gd name="connsiteX31" fmla="*/ 7156 w 3969686"/>
                <a:gd name="connsiteY31" fmla="*/ 2573097 h 3226746"/>
                <a:gd name="connsiteX32" fmla="*/ 41792 w 3969686"/>
                <a:gd name="connsiteY32" fmla="*/ 2780915 h 3226746"/>
                <a:gd name="connsiteX33" fmla="*/ 48719 w 3969686"/>
                <a:gd name="connsiteY33" fmla="*/ 2850188 h 3226746"/>
                <a:gd name="connsiteX34" fmla="*/ 152628 w 3969686"/>
                <a:gd name="connsiteY34" fmla="*/ 2870970 h 3226746"/>
                <a:gd name="connsiteX35" fmla="*/ 803792 w 3969686"/>
                <a:gd name="connsiteY35" fmla="*/ 2954097 h 3226746"/>
                <a:gd name="connsiteX36" fmla="*/ 1822101 w 3969686"/>
                <a:gd name="connsiteY36" fmla="*/ 3099570 h 3226746"/>
                <a:gd name="connsiteX37" fmla="*/ 2376283 w 3969686"/>
                <a:gd name="connsiteY37" fmla="*/ 3189624 h 3226746"/>
                <a:gd name="connsiteX38" fmla="*/ 2701865 w 3969686"/>
                <a:gd name="connsiteY38" fmla="*/ 3224261 h 3226746"/>
                <a:gd name="connsiteX39" fmla="*/ 2743428 w 3969686"/>
                <a:gd name="connsiteY39" fmla="*/ 3127279 h 3226746"/>
                <a:gd name="connsiteX40" fmla="*/ 2757283 w 3969686"/>
                <a:gd name="connsiteY40" fmla="*/ 2967952 h 3226746"/>
                <a:gd name="connsiteX0" fmla="*/ 2756944 w 3969347"/>
                <a:gd name="connsiteY0" fmla="*/ 2967952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56944 w 3969347"/>
                <a:gd name="connsiteY40" fmla="*/ 2967952 h 3226746"/>
                <a:gd name="connsiteX0" fmla="*/ 2770799 w 3969347"/>
                <a:gd name="connsiteY0" fmla="*/ 2961024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70799 w 3969347"/>
                <a:gd name="connsiteY40" fmla="*/ 2961024 h 3226746"/>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88562 w 3969347"/>
                <a:gd name="connsiteY14" fmla="*/ 979824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42466 w 3968724"/>
                <a:gd name="connsiteY39" fmla="*/ 3127279 h 3220325"/>
                <a:gd name="connsiteX40" fmla="*/ 2770176 w 3968724"/>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18836"/>
                <a:gd name="connsiteX1" fmla="*/ 2971067 w 3968724"/>
                <a:gd name="connsiteY1" fmla="*/ 2392988 h 3218836"/>
                <a:gd name="connsiteX2" fmla="*/ 3268939 w 3968724"/>
                <a:gd name="connsiteY2" fmla="*/ 1630988 h 3218836"/>
                <a:gd name="connsiteX3" fmla="*/ 3739994 w 3968724"/>
                <a:gd name="connsiteY3" fmla="*/ 785861 h 3218836"/>
                <a:gd name="connsiteX4" fmla="*/ 3781557 w 3968724"/>
                <a:gd name="connsiteY4" fmla="*/ 688879 h 3218836"/>
                <a:gd name="connsiteX5" fmla="*/ 3836975 w 3968724"/>
                <a:gd name="connsiteY5" fmla="*/ 640388 h 3218836"/>
                <a:gd name="connsiteX6" fmla="*/ 3920103 w 3968724"/>
                <a:gd name="connsiteY6" fmla="*/ 404861 h 3218836"/>
                <a:gd name="connsiteX7" fmla="*/ 3968594 w 3968724"/>
                <a:gd name="connsiteY7" fmla="*/ 93133 h 3218836"/>
                <a:gd name="connsiteX8" fmla="*/ 3906248 w 3968724"/>
                <a:gd name="connsiteY8" fmla="*/ 51570 h 3218836"/>
                <a:gd name="connsiteX9" fmla="*/ 3691503 w 3968724"/>
                <a:gd name="connsiteY9" fmla="*/ 3079 h 3218836"/>
                <a:gd name="connsiteX10" fmla="*/ 3476757 w 3968724"/>
                <a:gd name="connsiteY10" fmla="*/ 16933 h 3218836"/>
                <a:gd name="connsiteX11" fmla="*/ 3400557 w 3968724"/>
                <a:gd name="connsiteY11" fmla="*/ 113915 h 3218836"/>
                <a:gd name="connsiteX12" fmla="*/ 3289720 w 3968724"/>
                <a:gd name="connsiteY12" fmla="*/ 370225 h 3218836"/>
                <a:gd name="connsiteX13" fmla="*/ 3158103 w 3968724"/>
                <a:gd name="connsiteY13" fmla="*/ 605752 h 3218836"/>
                <a:gd name="connsiteX14" fmla="*/ 2867157 w 3968724"/>
                <a:gd name="connsiteY14" fmla="*/ 972897 h 3218836"/>
                <a:gd name="connsiteX15" fmla="*/ 2548503 w 3968724"/>
                <a:gd name="connsiteY15" fmla="*/ 1360824 h 3218836"/>
                <a:gd name="connsiteX16" fmla="*/ 2319903 w 3968724"/>
                <a:gd name="connsiteY16" fmla="*/ 1644842 h 3218836"/>
                <a:gd name="connsiteX17" fmla="*/ 2167503 w 3968724"/>
                <a:gd name="connsiteY17" fmla="*/ 2102042 h 3218836"/>
                <a:gd name="connsiteX18" fmla="*/ 2195212 w 3968724"/>
                <a:gd name="connsiteY18" fmla="*/ 2531533 h 3218836"/>
                <a:gd name="connsiteX19" fmla="*/ 2271412 w 3968724"/>
                <a:gd name="connsiteY19" fmla="*/ 2767061 h 3218836"/>
                <a:gd name="connsiteX20" fmla="*/ 2271412 w 3968724"/>
                <a:gd name="connsiteY20" fmla="*/ 2787842 h 3218836"/>
                <a:gd name="connsiteX21" fmla="*/ 2229848 w 3968724"/>
                <a:gd name="connsiteY21" fmla="*/ 2760133 h 3218836"/>
                <a:gd name="connsiteX22" fmla="*/ 1855775 w 3968724"/>
                <a:gd name="connsiteY22" fmla="*/ 2621588 h 3218836"/>
                <a:gd name="connsiteX23" fmla="*/ 1419357 w 3968724"/>
                <a:gd name="connsiteY23" fmla="*/ 2427624 h 3218836"/>
                <a:gd name="connsiteX24" fmla="*/ 1031430 w 3968724"/>
                <a:gd name="connsiteY24" fmla="*/ 2275224 h 3218836"/>
                <a:gd name="connsiteX25" fmla="*/ 726630 w 3968724"/>
                <a:gd name="connsiteY25" fmla="*/ 2219806 h 3218836"/>
                <a:gd name="connsiteX26" fmla="*/ 442612 w 3968724"/>
                <a:gd name="connsiteY26" fmla="*/ 2233661 h 3218836"/>
                <a:gd name="connsiteX27" fmla="*/ 248648 w 3968724"/>
                <a:gd name="connsiteY27" fmla="*/ 2302933 h 3218836"/>
                <a:gd name="connsiteX28" fmla="*/ 172448 w 3968724"/>
                <a:gd name="connsiteY28" fmla="*/ 2309861 h 3218836"/>
                <a:gd name="connsiteX29" fmla="*/ 82394 w 3968724"/>
                <a:gd name="connsiteY29" fmla="*/ 2302933 h 3218836"/>
                <a:gd name="connsiteX30" fmla="*/ 6194 w 3968724"/>
                <a:gd name="connsiteY30" fmla="*/ 2358352 h 3218836"/>
                <a:gd name="connsiteX31" fmla="*/ 6194 w 3968724"/>
                <a:gd name="connsiteY31" fmla="*/ 2573097 h 3218836"/>
                <a:gd name="connsiteX32" fmla="*/ 20047 w 3968724"/>
                <a:gd name="connsiteY32" fmla="*/ 2746279 h 3218836"/>
                <a:gd name="connsiteX33" fmla="*/ 47757 w 3968724"/>
                <a:gd name="connsiteY33" fmla="*/ 2850188 h 3218836"/>
                <a:gd name="connsiteX34" fmla="*/ 151666 w 3968724"/>
                <a:gd name="connsiteY34" fmla="*/ 2870970 h 3218836"/>
                <a:gd name="connsiteX35" fmla="*/ 802830 w 3968724"/>
                <a:gd name="connsiteY35" fmla="*/ 2954097 h 3218836"/>
                <a:gd name="connsiteX36" fmla="*/ 1821139 w 3968724"/>
                <a:gd name="connsiteY36" fmla="*/ 3099570 h 3218836"/>
                <a:gd name="connsiteX37" fmla="*/ 2375321 w 3968724"/>
                <a:gd name="connsiteY37" fmla="*/ 3161915 h 3218836"/>
                <a:gd name="connsiteX38" fmla="*/ 2680121 w 3968724"/>
                <a:gd name="connsiteY38" fmla="*/ 3217333 h 3218836"/>
                <a:gd name="connsiteX39" fmla="*/ 2770176 w 3968724"/>
                <a:gd name="connsiteY39" fmla="*/ 2961024 h 3218836"/>
                <a:gd name="connsiteX0" fmla="*/ 2770176 w 3968724"/>
                <a:gd name="connsiteY0" fmla="*/ 2961024 h 3219342"/>
                <a:gd name="connsiteX1" fmla="*/ 2971067 w 3968724"/>
                <a:gd name="connsiteY1" fmla="*/ 2392988 h 3219342"/>
                <a:gd name="connsiteX2" fmla="*/ 3268939 w 3968724"/>
                <a:gd name="connsiteY2" fmla="*/ 1630988 h 3219342"/>
                <a:gd name="connsiteX3" fmla="*/ 3739994 w 3968724"/>
                <a:gd name="connsiteY3" fmla="*/ 785861 h 3219342"/>
                <a:gd name="connsiteX4" fmla="*/ 3781557 w 3968724"/>
                <a:gd name="connsiteY4" fmla="*/ 688879 h 3219342"/>
                <a:gd name="connsiteX5" fmla="*/ 3836975 w 3968724"/>
                <a:gd name="connsiteY5" fmla="*/ 640388 h 3219342"/>
                <a:gd name="connsiteX6" fmla="*/ 3920103 w 3968724"/>
                <a:gd name="connsiteY6" fmla="*/ 404861 h 3219342"/>
                <a:gd name="connsiteX7" fmla="*/ 3968594 w 3968724"/>
                <a:gd name="connsiteY7" fmla="*/ 93133 h 3219342"/>
                <a:gd name="connsiteX8" fmla="*/ 3906248 w 3968724"/>
                <a:gd name="connsiteY8" fmla="*/ 51570 h 3219342"/>
                <a:gd name="connsiteX9" fmla="*/ 3691503 w 3968724"/>
                <a:gd name="connsiteY9" fmla="*/ 3079 h 3219342"/>
                <a:gd name="connsiteX10" fmla="*/ 3476757 w 3968724"/>
                <a:gd name="connsiteY10" fmla="*/ 16933 h 3219342"/>
                <a:gd name="connsiteX11" fmla="*/ 3400557 w 3968724"/>
                <a:gd name="connsiteY11" fmla="*/ 113915 h 3219342"/>
                <a:gd name="connsiteX12" fmla="*/ 3289720 w 3968724"/>
                <a:gd name="connsiteY12" fmla="*/ 370225 h 3219342"/>
                <a:gd name="connsiteX13" fmla="*/ 3158103 w 3968724"/>
                <a:gd name="connsiteY13" fmla="*/ 605752 h 3219342"/>
                <a:gd name="connsiteX14" fmla="*/ 2867157 w 3968724"/>
                <a:gd name="connsiteY14" fmla="*/ 972897 h 3219342"/>
                <a:gd name="connsiteX15" fmla="*/ 2548503 w 3968724"/>
                <a:gd name="connsiteY15" fmla="*/ 1360824 h 3219342"/>
                <a:gd name="connsiteX16" fmla="*/ 2319903 w 3968724"/>
                <a:gd name="connsiteY16" fmla="*/ 1644842 h 3219342"/>
                <a:gd name="connsiteX17" fmla="*/ 2167503 w 3968724"/>
                <a:gd name="connsiteY17" fmla="*/ 2102042 h 3219342"/>
                <a:gd name="connsiteX18" fmla="*/ 2195212 w 3968724"/>
                <a:gd name="connsiteY18" fmla="*/ 2531533 h 3219342"/>
                <a:gd name="connsiteX19" fmla="*/ 2271412 w 3968724"/>
                <a:gd name="connsiteY19" fmla="*/ 2767061 h 3219342"/>
                <a:gd name="connsiteX20" fmla="*/ 2271412 w 3968724"/>
                <a:gd name="connsiteY20" fmla="*/ 2787842 h 3219342"/>
                <a:gd name="connsiteX21" fmla="*/ 2229848 w 3968724"/>
                <a:gd name="connsiteY21" fmla="*/ 2760133 h 3219342"/>
                <a:gd name="connsiteX22" fmla="*/ 1855775 w 3968724"/>
                <a:gd name="connsiteY22" fmla="*/ 2621588 h 3219342"/>
                <a:gd name="connsiteX23" fmla="*/ 1419357 w 3968724"/>
                <a:gd name="connsiteY23" fmla="*/ 2427624 h 3219342"/>
                <a:gd name="connsiteX24" fmla="*/ 1031430 w 3968724"/>
                <a:gd name="connsiteY24" fmla="*/ 2275224 h 3219342"/>
                <a:gd name="connsiteX25" fmla="*/ 726630 w 3968724"/>
                <a:gd name="connsiteY25" fmla="*/ 2219806 h 3219342"/>
                <a:gd name="connsiteX26" fmla="*/ 442612 w 3968724"/>
                <a:gd name="connsiteY26" fmla="*/ 2233661 h 3219342"/>
                <a:gd name="connsiteX27" fmla="*/ 248648 w 3968724"/>
                <a:gd name="connsiteY27" fmla="*/ 2302933 h 3219342"/>
                <a:gd name="connsiteX28" fmla="*/ 172448 w 3968724"/>
                <a:gd name="connsiteY28" fmla="*/ 2309861 h 3219342"/>
                <a:gd name="connsiteX29" fmla="*/ 82394 w 3968724"/>
                <a:gd name="connsiteY29" fmla="*/ 2302933 h 3219342"/>
                <a:gd name="connsiteX30" fmla="*/ 6194 w 3968724"/>
                <a:gd name="connsiteY30" fmla="*/ 2358352 h 3219342"/>
                <a:gd name="connsiteX31" fmla="*/ 6194 w 3968724"/>
                <a:gd name="connsiteY31" fmla="*/ 2573097 h 3219342"/>
                <a:gd name="connsiteX32" fmla="*/ 20047 w 3968724"/>
                <a:gd name="connsiteY32" fmla="*/ 2746279 h 3219342"/>
                <a:gd name="connsiteX33" fmla="*/ 47757 w 3968724"/>
                <a:gd name="connsiteY33" fmla="*/ 2850188 h 3219342"/>
                <a:gd name="connsiteX34" fmla="*/ 151666 w 3968724"/>
                <a:gd name="connsiteY34" fmla="*/ 2870970 h 3219342"/>
                <a:gd name="connsiteX35" fmla="*/ 802830 w 3968724"/>
                <a:gd name="connsiteY35" fmla="*/ 2954097 h 3219342"/>
                <a:gd name="connsiteX36" fmla="*/ 1821139 w 3968724"/>
                <a:gd name="connsiteY36" fmla="*/ 3099570 h 3219342"/>
                <a:gd name="connsiteX37" fmla="*/ 2368394 w 3968724"/>
                <a:gd name="connsiteY37" fmla="*/ 3175770 h 3219342"/>
                <a:gd name="connsiteX38" fmla="*/ 2680121 w 3968724"/>
                <a:gd name="connsiteY38" fmla="*/ 3217333 h 3219342"/>
                <a:gd name="connsiteX39" fmla="*/ 2770176 w 3968724"/>
                <a:gd name="connsiteY39" fmla="*/ 2961024 h 321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968724" h="3219342">
                  <a:moveTo>
                    <a:pt x="2770176" y="2961024"/>
                  </a:moveTo>
                  <a:cubicBezTo>
                    <a:pt x="2825595" y="2809779"/>
                    <a:pt x="2887940" y="2614661"/>
                    <a:pt x="2971067" y="2392988"/>
                  </a:cubicBezTo>
                  <a:cubicBezTo>
                    <a:pt x="3054194" y="2171315"/>
                    <a:pt x="3140785" y="1898842"/>
                    <a:pt x="3268939" y="1630988"/>
                  </a:cubicBezTo>
                  <a:cubicBezTo>
                    <a:pt x="3397093" y="1363134"/>
                    <a:pt x="3654558" y="942879"/>
                    <a:pt x="3739994" y="785861"/>
                  </a:cubicBezTo>
                  <a:cubicBezTo>
                    <a:pt x="3825430" y="628843"/>
                    <a:pt x="3765394" y="713124"/>
                    <a:pt x="3781557" y="688879"/>
                  </a:cubicBezTo>
                  <a:cubicBezTo>
                    <a:pt x="3797720" y="664634"/>
                    <a:pt x="3813884" y="687724"/>
                    <a:pt x="3836975" y="640388"/>
                  </a:cubicBezTo>
                  <a:cubicBezTo>
                    <a:pt x="3860066" y="593052"/>
                    <a:pt x="3898166" y="496070"/>
                    <a:pt x="3920103" y="404861"/>
                  </a:cubicBezTo>
                  <a:cubicBezTo>
                    <a:pt x="3942040" y="313652"/>
                    <a:pt x="3970903" y="152015"/>
                    <a:pt x="3968594" y="93133"/>
                  </a:cubicBezTo>
                  <a:cubicBezTo>
                    <a:pt x="3966285" y="34251"/>
                    <a:pt x="3952430" y="66579"/>
                    <a:pt x="3906248" y="51570"/>
                  </a:cubicBezTo>
                  <a:cubicBezTo>
                    <a:pt x="3860066" y="36561"/>
                    <a:pt x="3763085" y="8852"/>
                    <a:pt x="3691503" y="3079"/>
                  </a:cubicBezTo>
                  <a:cubicBezTo>
                    <a:pt x="3619921" y="-2694"/>
                    <a:pt x="3525248" y="-1540"/>
                    <a:pt x="3476757" y="16933"/>
                  </a:cubicBezTo>
                  <a:cubicBezTo>
                    <a:pt x="3428266" y="35406"/>
                    <a:pt x="3431730" y="55033"/>
                    <a:pt x="3400557" y="113915"/>
                  </a:cubicBezTo>
                  <a:cubicBezTo>
                    <a:pt x="3369384" y="172797"/>
                    <a:pt x="3330129" y="288252"/>
                    <a:pt x="3289720" y="370225"/>
                  </a:cubicBezTo>
                  <a:cubicBezTo>
                    <a:pt x="3249311" y="452198"/>
                    <a:pt x="3228530" y="505307"/>
                    <a:pt x="3158103" y="605752"/>
                  </a:cubicBezTo>
                  <a:cubicBezTo>
                    <a:pt x="3087676" y="706197"/>
                    <a:pt x="2968757" y="847052"/>
                    <a:pt x="2867157" y="972897"/>
                  </a:cubicBezTo>
                  <a:cubicBezTo>
                    <a:pt x="2765557" y="1098742"/>
                    <a:pt x="2639712" y="1248833"/>
                    <a:pt x="2548503" y="1360824"/>
                  </a:cubicBezTo>
                  <a:cubicBezTo>
                    <a:pt x="2457294" y="1472815"/>
                    <a:pt x="2383403" y="1521306"/>
                    <a:pt x="2319903" y="1644842"/>
                  </a:cubicBezTo>
                  <a:cubicBezTo>
                    <a:pt x="2256403" y="1768378"/>
                    <a:pt x="2188285" y="1954260"/>
                    <a:pt x="2167503" y="2102042"/>
                  </a:cubicBezTo>
                  <a:cubicBezTo>
                    <a:pt x="2146721" y="2249824"/>
                    <a:pt x="2164040" y="2441478"/>
                    <a:pt x="2195212" y="2531533"/>
                  </a:cubicBezTo>
                  <a:cubicBezTo>
                    <a:pt x="2226384" y="2621588"/>
                    <a:pt x="2271412" y="2767061"/>
                    <a:pt x="2271412" y="2767061"/>
                  </a:cubicBezTo>
                  <a:cubicBezTo>
                    <a:pt x="2284112" y="2809779"/>
                    <a:pt x="2278339" y="2788997"/>
                    <a:pt x="2271412" y="2787842"/>
                  </a:cubicBezTo>
                  <a:cubicBezTo>
                    <a:pt x="2264485" y="2786687"/>
                    <a:pt x="2299121" y="2787842"/>
                    <a:pt x="2229848" y="2760133"/>
                  </a:cubicBezTo>
                  <a:cubicBezTo>
                    <a:pt x="2160575" y="2732424"/>
                    <a:pt x="1990857" y="2677006"/>
                    <a:pt x="1855775" y="2621588"/>
                  </a:cubicBezTo>
                  <a:cubicBezTo>
                    <a:pt x="1720693" y="2566170"/>
                    <a:pt x="1556748" y="2485351"/>
                    <a:pt x="1419357" y="2427624"/>
                  </a:cubicBezTo>
                  <a:cubicBezTo>
                    <a:pt x="1281966" y="2369897"/>
                    <a:pt x="1146884" y="2309860"/>
                    <a:pt x="1031430" y="2275224"/>
                  </a:cubicBezTo>
                  <a:cubicBezTo>
                    <a:pt x="915975" y="2240588"/>
                    <a:pt x="824766" y="2226733"/>
                    <a:pt x="726630" y="2219806"/>
                  </a:cubicBezTo>
                  <a:cubicBezTo>
                    <a:pt x="628494" y="2212879"/>
                    <a:pt x="522276" y="2219806"/>
                    <a:pt x="442612" y="2233661"/>
                  </a:cubicBezTo>
                  <a:cubicBezTo>
                    <a:pt x="362948" y="2247515"/>
                    <a:pt x="293675" y="2290233"/>
                    <a:pt x="248648" y="2302933"/>
                  </a:cubicBezTo>
                  <a:cubicBezTo>
                    <a:pt x="203621" y="2315633"/>
                    <a:pt x="200157" y="2309861"/>
                    <a:pt x="172448" y="2309861"/>
                  </a:cubicBezTo>
                  <a:cubicBezTo>
                    <a:pt x="144739" y="2309861"/>
                    <a:pt x="110103" y="2294851"/>
                    <a:pt x="82394" y="2302933"/>
                  </a:cubicBezTo>
                  <a:cubicBezTo>
                    <a:pt x="54685" y="2311015"/>
                    <a:pt x="18894" y="2313325"/>
                    <a:pt x="6194" y="2358352"/>
                  </a:cubicBezTo>
                  <a:cubicBezTo>
                    <a:pt x="-6506" y="2403379"/>
                    <a:pt x="3885" y="2508443"/>
                    <a:pt x="6194" y="2573097"/>
                  </a:cubicBezTo>
                  <a:cubicBezTo>
                    <a:pt x="8503" y="2637751"/>
                    <a:pt x="13120" y="2700097"/>
                    <a:pt x="20047" y="2746279"/>
                  </a:cubicBezTo>
                  <a:cubicBezTo>
                    <a:pt x="26974" y="2792461"/>
                    <a:pt x="25821" y="2829406"/>
                    <a:pt x="47757" y="2850188"/>
                  </a:cubicBezTo>
                  <a:cubicBezTo>
                    <a:pt x="69694" y="2870970"/>
                    <a:pt x="151666" y="2870970"/>
                    <a:pt x="151666" y="2870970"/>
                  </a:cubicBezTo>
                  <a:lnTo>
                    <a:pt x="802830" y="2954097"/>
                  </a:lnTo>
                  <a:lnTo>
                    <a:pt x="1821139" y="3099570"/>
                  </a:lnTo>
                  <a:lnTo>
                    <a:pt x="2368394" y="3175770"/>
                  </a:lnTo>
                  <a:cubicBezTo>
                    <a:pt x="2511558" y="3195397"/>
                    <a:pt x="2618930" y="3227724"/>
                    <a:pt x="2680121" y="3217333"/>
                  </a:cubicBezTo>
                  <a:cubicBezTo>
                    <a:pt x="2745930" y="3179233"/>
                    <a:pt x="2714757" y="3112269"/>
                    <a:pt x="2770176" y="296102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p:cNvGrpSpPr/>
            <p:nvPr/>
          </p:nvGrpSpPr>
          <p:grpSpPr>
            <a:xfrm>
              <a:off x="5241576" y="2140897"/>
              <a:ext cx="277053" cy="700727"/>
              <a:chOff x="8676358" y="4152459"/>
              <a:chExt cx="820933" cy="2076317"/>
            </a:xfrm>
          </p:grpSpPr>
          <p:sp>
            <p:nvSpPr>
              <p:cNvPr id="143" name="Rectangle: Rounded Corners 142"/>
              <p:cNvSpPr/>
              <p:nvPr/>
            </p:nvSpPr>
            <p:spPr bwMode="auto">
              <a:xfrm rot="20416543">
                <a:off x="9290794" y="4152459"/>
                <a:ext cx="161827" cy="1795600"/>
              </a:xfrm>
              <a:prstGeom prst="roundRect">
                <a:avLst>
                  <a:gd name="adj" fmla="val 50000"/>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4" name="Straight Connector 143"/>
              <p:cNvCxnSpPr/>
              <p:nvPr/>
            </p:nvCxnSpPr>
            <p:spPr>
              <a:xfrm flipV="1">
                <a:off x="8676358" y="5475393"/>
                <a:ext cx="418036" cy="175499"/>
              </a:xfrm>
              <a:prstGeom prst="line">
                <a:avLst/>
              </a:prstGeom>
              <a:noFill/>
              <a:ln w="9525" cap="rnd" cmpd="sng" algn="ctr">
                <a:solidFill>
                  <a:schemeClr val="bg1">
                    <a:lumMod val="50000"/>
                  </a:schemeClr>
                </a:solidFill>
                <a:prstDash val="solid"/>
                <a:headEnd type="none"/>
                <a:tailEnd type="none"/>
              </a:ln>
              <a:effectLst/>
            </p:spPr>
          </p:cxnSp>
          <p:cxnSp>
            <p:nvCxnSpPr>
              <p:cNvPr id="145" name="Straight Connector 144"/>
              <p:cNvCxnSpPr/>
              <p:nvPr/>
            </p:nvCxnSpPr>
            <p:spPr>
              <a:xfrm flipV="1">
                <a:off x="8915400" y="4738861"/>
                <a:ext cx="235466" cy="148404"/>
              </a:xfrm>
              <a:prstGeom prst="line">
                <a:avLst/>
              </a:prstGeom>
              <a:noFill/>
              <a:ln w="9525" cap="rnd" cmpd="sng" algn="ctr">
                <a:solidFill>
                  <a:schemeClr val="bg1">
                    <a:lumMod val="50000"/>
                  </a:schemeClr>
                </a:solidFill>
                <a:prstDash val="solid"/>
                <a:headEnd type="none"/>
                <a:tailEnd type="none"/>
              </a:ln>
              <a:effectLst/>
            </p:spPr>
          </p:cxnSp>
          <p:sp>
            <p:nvSpPr>
              <p:cNvPr id="146" name="Freeform: Shape 145"/>
              <p:cNvSpPr/>
              <p:nvPr/>
            </p:nvSpPr>
            <p:spPr bwMode="auto">
              <a:xfrm>
                <a:off x="8676400" y="5639958"/>
                <a:ext cx="124857" cy="588818"/>
              </a:xfrm>
              <a:custGeom>
                <a:avLst/>
                <a:gdLst>
                  <a:gd name="connsiteX0" fmla="*/ 0 w 136814"/>
                  <a:gd name="connsiteY0" fmla="*/ 0 h 588819"/>
                  <a:gd name="connsiteX1" fmla="*/ 96982 w 136814"/>
                  <a:gd name="connsiteY1" fmla="*/ 284019 h 588819"/>
                  <a:gd name="connsiteX2" fmla="*/ 131619 w 136814"/>
                  <a:gd name="connsiteY2" fmla="*/ 450273 h 588819"/>
                  <a:gd name="connsiteX3" fmla="*/ 124691 w 136814"/>
                  <a:gd name="connsiteY3" fmla="*/ 526473 h 588819"/>
                  <a:gd name="connsiteX4" fmla="*/ 20782 w 136814"/>
                  <a:gd name="connsiteY4" fmla="*/ 588819 h 588819"/>
                  <a:gd name="connsiteX0" fmla="*/ 0 w 132167"/>
                  <a:gd name="connsiteY0" fmla="*/ 0 h 588819"/>
                  <a:gd name="connsiteX1" fmla="*/ 96982 w 132167"/>
                  <a:gd name="connsiteY1" fmla="*/ 284019 h 588819"/>
                  <a:gd name="connsiteX2" fmla="*/ 131619 w 132167"/>
                  <a:gd name="connsiteY2" fmla="*/ 450273 h 588819"/>
                  <a:gd name="connsiteX3" fmla="*/ 110837 w 132167"/>
                  <a:gd name="connsiteY3" fmla="*/ 519546 h 588819"/>
                  <a:gd name="connsiteX4" fmla="*/ 20782 w 132167"/>
                  <a:gd name="connsiteY4" fmla="*/ 588819 h 588819"/>
                  <a:gd name="connsiteX0" fmla="*/ 0 w 131706"/>
                  <a:gd name="connsiteY0" fmla="*/ 0 h 588819"/>
                  <a:gd name="connsiteX1" fmla="*/ 96982 w 131706"/>
                  <a:gd name="connsiteY1" fmla="*/ 284019 h 588819"/>
                  <a:gd name="connsiteX2" fmla="*/ 131619 w 131706"/>
                  <a:gd name="connsiteY2" fmla="*/ 450273 h 588819"/>
                  <a:gd name="connsiteX3" fmla="*/ 103910 w 131706"/>
                  <a:gd name="connsiteY3" fmla="*/ 512619 h 588819"/>
                  <a:gd name="connsiteX4" fmla="*/ 20782 w 131706"/>
                  <a:gd name="connsiteY4" fmla="*/ 588819 h 588819"/>
                  <a:gd name="connsiteX0" fmla="*/ 0 w 124858"/>
                  <a:gd name="connsiteY0" fmla="*/ 0 h 588819"/>
                  <a:gd name="connsiteX1" fmla="*/ 96982 w 124858"/>
                  <a:gd name="connsiteY1" fmla="*/ 284019 h 588819"/>
                  <a:gd name="connsiteX2" fmla="*/ 124692 w 124858"/>
                  <a:gd name="connsiteY2" fmla="*/ 436418 h 588819"/>
                  <a:gd name="connsiteX3" fmla="*/ 103910 w 124858"/>
                  <a:gd name="connsiteY3" fmla="*/ 512619 h 588819"/>
                  <a:gd name="connsiteX4" fmla="*/ 20782 w 124858"/>
                  <a:gd name="connsiteY4" fmla="*/ 588819 h 588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58" h="588819">
                    <a:moveTo>
                      <a:pt x="0" y="0"/>
                    </a:moveTo>
                    <a:cubicBezTo>
                      <a:pt x="37523" y="104487"/>
                      <a:pt x="76200" y="211283"/>
                      <a:pt x="96982" y="284019"/>
                    </a:cubicBezTo>
                    <a:cubicBezTo>
                      <a:pt x="117764" y="356755"/>
                      <a:pt x="123537" y="398318"/>
                      <a:pt x="124692" y="436418"/>
                    </a:cubicBezTo>
                    <a:cubicBezTo>
                      <a:pt x="125847" y="474518"/>
                      <a:pt x="121228" y="487219"/>
                      <a:pt x="103910" y="512619"/>
                    </a:cubicBezTo>
                    <a:cubicBezTo>
                      <a:pt x="86592" y="538019"/>
                      <a:pt x="63500" y="569191"/>
                      <a:pt x="20782" y="58881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p:cNvSpPr/>
              <p:nvPr/>
            </p:nvSpPr>
            <p:spPr bwMode="auto">
              <a:xfrm>
                <a:off x="8894618" y="4883727"/>
                <a:ext cx="602673" cy="782782"/>
              </a:xfrm>
              <a:custGeom>
                <a:avLst/>
                <a:gdLst>
                  <a:gd name="connsiteX0" fmla="*/ 0 w 602673"/>
                  <a:gd name="connsiteY0" fmla="*/ 0 h 782782"/>
                  <a:gd name="connsiteX1" fmla="*/ 145473 w 602673"/>
                  <a:gd name="connsiteY1" fmla="*/ 381000 h 782782"/>
                  <a:gd name="connsiteX2" fmla="*/ 221673 w 602673"/>
                  <a:gd name="connsiteY2" fmla="*/ 602673 h 782782"/>
                  <a:gd name="connsiteX3" fmla="*/ 290946 w 602673"/>
                  <a:gd name="connsiteY3" fmla="*/ 671945 h 782782"/>
                  <a:gd name="connsiteX4" fmla="*/ 408709 w 602673"/>
                  <a:gd name="connsiteY4" fmla="*/ 699655 h 782782"/>
                  <a:gd name="connsiteX5" fmla="*/ 519546 w 602673"/>
                  <a:gd name="connsiteY5" fmla="*/ 734291 h 782782"/>
                  <a:gd name="connsiteX6" fmla="*/ 602673 w 602673"/>
                  <a:gd name="connsiteY6" fmla="*/ 782782 h 78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673" h="782782">
                    <a:moveTo>
                      <a:pt x="0" y="0"/>
                    </a:moveTo>
                    <a:cubicBezTo>
                      <a:pt x="54264" y="140277"/>
                      <a:pt x="108528" y="280555"/>
                      <a:pt x="145473" y="381000"/>
                    </a:cubicBezTo>
                    <a:cubicBezTo>
                      <a:pt x="182418" y="481445"/>
                      <a:pt x="197428" y="554182"/>
                      <a:pt x="221673" y="602673"/>
                    </a:cubicBezTo>
                    <a:cubicBezTo>
                      <a:pt x="245918" y="651164"/>
                      <a:pt x="259773" y="655781"/>
                      <a:pt x="290946" y="671945"/>
                    </a:cubicBezTo>
                    <a:cubicBezTo>
                      <a:pt x="322119" y="688109"/>
                      <a:pt x="370609" y="689264"/>
                      <a:pt x="408709" y="699655"/>
                    </a:cubicBezTo>
                    <a:cubicBezTo>
                      <a:pt x="446809" y="710046"/>
                      <a:pt x="487219" y="720437"/>
                      <a:pt x="519546" y="734291"/>
                    </a:cubicBezTo>
                    <a:cubicBezTo>
                      <a:pt x="551873" y="748145"/>
                      <a:pt x="577273" y="765463"/>
                      <a:pt x="602673" y="782782"/>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29" name="Freeform: Shape 28"/>
            <p:cNvSpPr/>
            <p:nvPr/>
          </p:nvSpPr>
          <p:spPr bwMode="auto">
            <a:xfrm>
              <a:off x="8555505" y="3174074"/>
              <a:ext cx="628884" cy="195515"/>
            </a:xfrm>
            <a:custGeom>
              <a:avLst/>
              <a:gdLst>
                <a:gd name="connsiteX0" fmla="*/ 0 w 1863437"/>
                <a:gd name="connsiteY0" fmla="*/ 579328 h 579328"/>
                <a:gd name="connsiteX1" fmla="*/ 713509 w 1863437"/>
                <a:gd name="connsiteY1" fmla="*/ 364582 h 579328"/>
                <a:gd name="connsiteX2" fmla="*/ 1281546 w 1863437"/>
                <a:gd name="connsiteY2" fmla="*/ 149837 h 579328"/>
                <a:gd name="connsiteX3" fmla="*/ 1745673 w 1863437"/>
                <a:gd name="connsiteY3" fmla="*/ 18219 h 579328"/>
                <a:gd name="connsiteX4" fmla="*/ 1863437 w 1863437"/>
                <a:gd name="connsiteY4" fmla="*/ 4364 h 579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437" h="579328">
                  <a:moveTo>
                    <a:pt x="0" y="579328"/>
                  </a:moveTo>
                  <a:cubicBezTo>
                    <a:pt x="249959" y="507746"/>
                    <a:pt x="499918" y="436164"/>
                    <a:pt x="713509" y="364582"/>
                  </a:cubicBezTo>
                  <a:cubicBezTo>
                    <a:pt x="927100" y="293000"/>
                    <a:pt x="1109519" y="207564"/>
                    <a:pt x="1281546" y="149837"/>
                  </a:cubicBezTo>
                  <a:cubicBezTo>
                    <a:pt x="1453573" y="92110"/>
                    <a:pt x="1648691" y="42464"/>
                    <a:pt x="1745673" y="18219"/>
                  </a:cubicBezTo>
                  <a:cubicBezTo>
                    <a:pt x="1842655" y="-6026"/>
                    <a:pt x="1853046" y="-831"/>
                    <a:pt x="1863437" y="43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p:cNvSpPr/>
            <p:nvPr/>
          </p:nvSpPr>
          <p:spPr bwMode="auto">
            <a:xfrm>
              <a:off x="8590573" y="2207675"/>
              <a:ext cx="558747" cy="477301"/>
            </a:xfrm>
            <a:custGeom>
              <a:avLst/>
              <a:gdLst>
                <a:gd name="connsiteX0" fmla="*/ 332509 w 1641763"/>
                <a:gd name="connsiteY0" fmla="*/ 0 h 1435067"/>
                <a:gd name="connsiteX1" fmla="*/ 193963 w 1641763"/>
                <a:gd name="connsiteY1" fmla="*/ 221673 h 1435067"/>
                <a:gd name="connsiteX2" fmla="*/ 48491 w 1641763"/>
                <a:gd name="connsiteY2" fmla="*/ 429491 h 1435067"/>
                <a:gd name="connsiteX3" fmla="*/ 0 w 1641763"/>
                <a:gd name="connsiteY3" fmla="*/ 519546 h 1435067"/>
                <a:gd name="connsiteX4" fmla="*/ 48491 w 1641763"/>
                <a:gd name="connsiteY4" fmla="*/ 699655 h 1435067"/>
                <a:gd name="connsiteX5" fmla="*/ 235527 w 1641763"/>
                <a:gd name="connsiteY5" fmla="*/ 914400 h 1435067"/>
                <a:gd name="connsiteX6" fmla="*/ 540327 w 1641763"/>
                <a:gd name="connsiteY6" fmla="*/ 1149928 h 1435067"/>
                <a:gd name="connsiteX7" fmla="*/ 886691 w 1641763"/>
                <a:gd name="connsiteY7" fmla="*/ 1330037 h 1435067"/>
                <a:gd name="connsiteX8" fmla="*/ 1184563 w 1641763"/>
                <a:gd name="connsiteY8" fmla="*/ 1406237 h 1435067"/>
                <a:gd name="connsiteX9" fmla="*/ 1406236 w 1641763"/>
                <a:gd name="connsiteY9" fmla="*/ 1433946 h 1435067"/>
                <a:gd name="connsiteX10" fmla="*/ 1641763 w 1641763"/>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699655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720437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53290 w 1655617"/>
                <a:gd name="connsiteY0" fmla="*/ 0 h 1414285"/>
                <a:gd name="connsiteX1" fmla="*/ 207817 w 1655617"/>
                <a:gd name="connsiteY1" fmla="*/ 200891 h 1414285"/>
                <a:gd name="connsiteX2" fmla="*/ 62345 w 1655617"/>
                <a:gd name="connsiteY2" fmla="*/ 408709 h 1414285"/>
                <a:gd name="connsiteX3" fmla="*/ 0 w 1655617"/>
                <a:gd name="connsiteY3" fmla="*/ 526473 h 1414285"/>
                <a:gd name="connsiteX4" fmla="*/ 62345 w 1655617"/>
                <a:gd name="connsiteY4" fmla="*/ 699655 h 1414285"/>
                <a:gd name="connsiteX5" fmla="*/ 249381 w 1655617"/>
                <a:gd name="connsiteY5" fmla="*/ 893618 h 1414285"/>
                <a:gd name="connsiteX6" fmla="*/ 554181 w 1655617"/>
                <a:gd name="connsiteY6" fmla="*/ 1129146 h 1414285"/>
                <a:gd name="connsiteX7" fmla="*/ 900545 w 1655617"/>
                <a:gd name="connsiteY7" fmla="*/ 1309255 h 1414285"/>
                <a:gd name="connsiteX8" fmla="*/ 1198417 w 1655617"/>
                <a:gd name="connsiteY8" fmla="*/ 1385455 h 1414285"/>
                <a:gd name="connsiteX9" fmla="*/ 1420090 w 1655617"/>
                <a:gd name="connsiteY9" fmla="*/ 1413164 h 1414285"/>
                <a:gd name="connsiteX10" fmla="*/ 1655617 w 1655617"/>
                <a:gd name="connsiteY10" fmla="*/ 1406237 h 141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5617" h="1414285">
                  <a:moveTo>
                    <a:pt x="353290" y="0"/>
                  </a:moveTo>
                  <a:cubicBezTo>
                    <a:pt x="307685" y="75045"/>
                    <a:pt x="256308" y="132773"/>
                    <a:pt x="207817" y="200891"/>
                  </a:cubicBezTo>
                  <a:cubicBezTo>
                    <a:pt x="159326" y="269009"/>
                    <a:pt x="96981" y="354445"/>
                    <a:pt x="62345" y="408709"/>
                  </a:cubicBezTo>
                  <a:cubicBezTo>
                    <a:pt x="27709" y="462973"/>
                    <a:pt x="0" y="477982"/>
                    <a:pt x="0" y="526473"/>
                  </a:cubicBezTo>
                  <a:cubicBezTo>
                    <a:pt x="0" y="574964"/>
                    <a:pt x="20782" y="638464"/>
                    <a:pt x="62345" y="699655"/>
                  </a:cubicBezTo>
                  <a:cubicBezTo>
                    <a:pt x="103908" y="760846"/>
                    <a:pt x="167408" y="822036"/>
                    <a:pt x="249381" y="893618"/>
                  </a:cubicBezTo>
                  <a:cubicBezTo>
                    <a:pt x="331354" y="965200"/>
                    <a:pt x="445654" y="1059873"/>
                    <a:pt x="554181" y="1129146"/>
                  </a:cubicBezTo>
                  <a:cubicBezTo>
                    <a:pt x="662708" y="1198419"/>
                    <a:pt x="793172" y="1266537"/>
                    <a:pt x="900545" y="1309255"/>
                  </a:cubicBezTo>
                  <a:cubicBezTo>
                    <a:pt x="1007918" y="1351973"/>
                    <a:pt x="1111826" y="1368137"/>
                    <a:pt x="1198417" y="1385455"/>
                  </a:cubicBezTo>
                  <a:cubicBezTo>
                    <a:pt x="1285008" y="1402773"/>
                    <a:pt x="1343890" y="1409700"/>
                    <a:pt x="1420090" y="1413164"/>
                  </a:cubicBezTo>
                  <a:cubicBezTo>
                    <a:pt x="1496290" y="1416628"/>
                    <a:pt x="1575953" y="1411432"/>
                    <a:pt x="1655617" y="140623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p:cNvSpPr/>
            <p:nvPr/>
          </p:nvSpPr>
          <p:spPr bwMode="auto">
            <a:xfrm>
              <a:off x="8207165" y="2605110"/>
              <a:ext cx="596153" cy="257164"/>
            </a:xfrm>
            <a:custGeom>
              <a:avLst/>
              <a:gdLst>
                <a:gd name="connsiteX0" fmla="*/ 0 w 1766454"/>
                <a:gd name="connsiteY0" fmla="*/ 762000 h 762000"/>
                <a:gd name="connsiteX1" fmla="*/ 616527 w 1766454"/>
                <a:gd name="connsiteY1" fmla="*/ 665018 h 762000"/>
                <a:gd name="connsiteX2" fmla="*/ 1357745 w 1766454"/>
                <a:gd name="connsiteY2" fmla="*/ 554181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86345 w 1766454"/>
                <a:gd name="connsiteY4" fmla="*/ 346363 h 762000"/>
                <a:gd name="connsiteX5" fmla="*/ 1766454 w 1766454"/>
                <a:gd name="connsiteY5"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6454" h="762000">
                  <a:moveTo>
                    <a:pt x="0" y="762000"/>
                  </a:moveTo>
                  <a:lnTo>
                    <a:pt x="616527" y="665018"/>
                  </a:lnTo>
                  <a:cubicBezTo>
                    <a:pt x="849745" y="625763"/>
                    <a:pt x="1169554" y="578426"/>
                    <a:pt x="1316181" y="547253"/>
                  </a:cubicBezTo>
                  <a:cubicBezTo>
                    <a:pt x="1462808" y="516080"/>
                    <a:pt x="1451263" y="511464"/>
                    <a:pt x="1496290" y="477982"/>
                  </a:cubicBezTo>
                  <a:cubicBezTo>
                    <a:pt x="1541317" y="444500"/>
                    <a:pt x="1541318" y="426027"/>
                    <a:pt x="1586345" y="346363"/>
                  </a:cubicBezTo>
                  <a:cubicBezTo>
                    <a:pt x="1631372" y="266699"/>
                    <a:pt x="1704109" y="115454"/>
                    <a:pt x="1766454"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p:cNvSpPr/>
            <p:nvPr/>
          </p:nvSpPr>
          <p:spPr bwMode="auto">
            <a:xfrm>
              <a:off x="8852413" y="2630827"/>
              <a:ext cx="70136" cy="170664"/>
            </a:xfrm>
            <a:custGeom>
              <a:avLst/>
              <a:gdLst>
                <a:gd name="connsiteX0" fmla="*/ 0 w 207818"/>
                <a:gd name="connsiteY0" fmla="*/ 0 h 505691"/>
                <a:gd name="connsiteX1" fmla="*/ 69273 w 207818"/>
                <a:gd name="connsiteY1" fmla="*/ 256309 h 505691"/>
                <a:gd name="connsiteX2" fmla="*/ 207818 w 207818"/>
                <a:gd name="connsiteY2" fmla="*/ 505691 h 505691"/>
              </a:gdLst>
              <a:ahLst/>
              <a:cxnLst>
                <a:cxn ang="0">
                  <a:pos x="connsiteX0" y="connsiteY0"/>
                </a:cxn>
                <a:cxn ang="0">
                  <a:pos x="connsiteX1" y="connsiteY1"/>
                </a:cxn>
                <a:cxn ang="0">
                  <a:pos x="connsiteX2" y="connsiteY2"/>
                </a:cxn>
              </a:cxnLst>
              <a:rect l="l" t="t" r="r" b="b"/>
              <a:pathLst>
                <a:path w="207818" h="505691">
                  <a:moveTo>
                    <a:pt x="0" y="0"/>
                  </a:moveTo>
                  <a:cubicBezTo>
                    <a:pt x="17318" y="86013"/>
                    <a:pt x="34637" y="172027"/>
                    <a:pt x="69273" y="256309"/>
                  </a:cubicBezTo>
                  <a:cubicBezTo>
                    <a:pt x="103909" y="340591"/>
                    <a:pt x="155863" y="423141"/>
                    <a:pt x="207818" y="505691"/>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cxnSp>
          <p:nvCxnSpPr>
            <p:cNvPr id="33" name="Straight Connector 32"/>
            <p:cNvCxnSpPr/>
            <p:nvPr/>
          </p:nvCxnSpPr>
          <p:spPr>
            <a:xfrm>
              <a:off x="7831031" y="2380676"/>
              <a:ext cx="724474" cy="0"/>
            </a:xfrm>
            <a:prstGeom prst="line">
              <a:avLst/>
            </a:prstGeom>
            <a:noFill/>
            <a:ln w="9525" cap="rnd" cmpd="sng" algn="ctr">
              <a:solidFill>
                <a:schemeClr val="bg1">
                  <a:lumMod val="50000"/>
                </a:schemeClr>
              </a:solidFill>
              <a:prstDash val="solid"/>
              <a:headEnd type="none"/>
              <a:tailEnd type="none"/>
            </a:ln>
            <a:effectLst/>
            <a:scene3d>
              <a:camera prst="orthographicFront">
                <a:rot lat="0" lon="0" rev="18000"/>
              </a:camera>
              <a:lightRig rig="threePt" dir="t"/>
            </a:scene3d>
          </p:spPr>
        </p:cxnSp>
        <p:cxnSp>
          <p:nvCxnSpPr>
            <p:cNvPr id="34" name="Straight Connector 33"/>
            <p:cNvCxnSpPr/>
            <p:nvPr/>
          </p:nvCxnSpPr>
          <p:spPr>
            <a:xfrm>
              <a:off x="7969626" y="2238326"/>
              <a:ext cx="652092" cy="0"/>
            </a:xfrm>
            <a:prstGeom prst="line">
              <a:avLst/>
            </a:prstGeom>
            <a:noFill/>
            <a:ln w="9525" cap="rnd" cmpd="sng" algn="ctr">
              <a:solidFill>
                <a:schemeClr val="bg1">
                  <a:lumMod val="50000"/>
                </a:schemeClr>
              </a:solidFill>
              <a:prstDash val="solid"/>
              <a:headEnd type="none"/>
              <a:tailEnd type="none"/>
            </a:ln>
            <a:effectLst/>
            <a:scene3d>
              <a:camera prst="orthographicFront">
                <a:rot lat="0" lon="0" rev="36000"/>
              </a:camera>
              <a:lightRig rig="threePt" dir="t"/>
            </a:scene3d>
          </p:spPr>
        </p:cxnSp>
        <p:sp>
          <p:nvSpPr>
            <p:cNvPr id="35" name="Freeform: Shape 34"/>
            <p:cNvSpPr/>
            <p:nvPr/>
          </p:nvSpPr>
          <p:spPr bwMode="auto">
            <a:xfrm>
              <a:off x="8286077" y="1693346"/>
              <a:ext cx="774405" cy="575754"/>
            </a:xfrm>
            <a:custGeom>
              <a:avLst/>
              <a:gdLst>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72412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697348"/>
                <a:gd name="connsiteX1" fmla="*/ 8630 w 2294630"/>
                <a:gd name="connsiteY1" fmla="*/ 152400 h 1697348"/>
                <a:gd name="connsiteX2" fmla="*/ 119466 w 2294630"/>
                <a:gd name="connsiteY2" fmla="*/ 284018 h 1697348"/>
                <a:gd name="connsiteX3" fmla="*/ 576666 w 2294630"/>
                <a:gd name="connsiteY3" fmla="*/ 748146 h 1697348"/>
                <a:gd name="connsiteX4" fmla="*/ 1144703 w 2294630"/>
                <a:gd name="connsiteY4" fmla="*/ 1385455 h 1697348"/>
                <a:gd name="connsiteX5" fmla="*/ 1248612 w 2294630"/>
                <a:gd name="connsiteY5" fmla="*/ 1503218 h 1697348"/>
                <a:gd name="connsiteX6" fmla="*/ 1435648 w 2294630"/>
                <a:gd name="connsiteY6" fmla="*/ 1593273 h 1697348"/>
                <a:gd name="connsiteX7" fmla="*/ 1858212 w 2294630"/>
                <a:gd name="connsiteY7" fmla="*/ 1676401 h 1697348"/>
                <a:gd name="connsiteX8" fmla="*/ 2072957 w 2294630"/>
                <a:gd name="connsiteY8" fmla="*/ 1697182 h 1697348"/>
                <a:gd name="connsiteX9" fmla="*/ 2294630 w 2294630"/>
                <a:gd name="connsiteY9" fmla="*/ 1669473 h 1697348"/>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9884 w 2294630"/>
                <a:gd name="connsiteY8" fmla="*/ 1697182 h 1706011"/>
                <a:gd name="connsiteX9" fmla="*/ 2294630 w 2294630"/>
                <a:gd name="connsiteY9" fmla="*/ 1669473 h 170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4630" h="1706011">
                  <a:moveTo>
                    <a:pt x="15557" y="0"/>
                  </a:moveTo>
                  <a:cubicBezTo>
                    <a:pt x="3434" y="42141"/>
                    <a:pt x="-8688" y="105064"/>
                    <a:pt x="8630" y="152400"/>
                  </a:cubicBezTo>
                  <a:cubicBezTo>
                    <a:pt x="25948" y="199736"/>
                    <a:pt x="24793" y="184727"/>
                    <a:pt x="119466" y="284018"/>
                  </a:cubicBezTo>
                  <a:cubicBezTo>
                    <a:pt x="214139" y="383309"/>
                    <a:pt x="405793" y="564573"/>
                    <a:pt x="576666" y="748146"/>
                  </a:cubicBezTo>
                  <a:cubicBezTo>
                    <a:pt x="747539" y="931719"/>
                    <a:pt x="1032712" y="1259610"/>
                    <a:pt x="1144703" y="1385455"/>
                  </a:cubicBezTo>
                  <a:cubicBezTo>
                    <a:pt x="1256694" y="1511300"/>
                    <a:pt x="1200121" y="1468582"/>
                    <a:pt x="1248612" y="1503218"/>
                  </a:cubicBezTo>
                  <a:cubicBezTo>
                    <a:pt x="1297103" y="1537854"/>
                    <a:pt x="1334048" y="1560946"/>
                    <a:pt x="1435648" y="1593273"/>
                  </a:cubicBezTo>
                  <a:cubicBezTo>
                    <a:pt x="1537248" y="1625600"/>
                    <a:pt x="1750839" y="1679864"/>
                    <a:pt x="1858212" y="1697182"/>
                  </a:cubicBezTo>
                  <a:cubicBezTo>
                    <a:pt x="1965585" y="1714500"/>
                    <a:pt x="2007148" y="1701800"/>
                    <a:pt x="2079884" y="1697182"/>
                  </a:cubicBezTo>
                  <a:cubicBezTo>
                    <a:pt x="2152620" y="1692564"/>
                    <a:pt x="2220161" y="1681018"/>
                    <a:pt x="2294630" y="166947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p:cNvSpPr/>
            <p:nvPr/>
          </p:nvSpPr>
          <p:spPr bwMode="auto">
            <a:xfrm>
              <a:off x="8607563" y="1812576"/>
              <a:ext cx="403823" cy="397494"/>
            </a:xfrm>
            <a:custGeom>
              <a:avLst/>
              <a:gdLst>
                <a:gd name="connsiteX0" fmla="*/ 1185130 w 1185130"/>
                <a:gd name="connsiteY0" fmla="*/ 1136073 h 1157026"/>
                <a:gd name="connsiteX1" fmla="*/ 1032730 w 1185130"/>
                <a:gd name="connsiteY1" fmla="*/ 1156855 h 1157026"/>
                <a:gd name="connsiteX2" fmla="*/ 928821 w 1185130"/>
                <a:gd name="connsiteY2" fmla="*/ 1136073 h 1157026"/>
                <a:gd name="connsiteX3" fmla="*/ 734858 w 1185130"/>
                <a:gd name="connsiteY3" fmla="*/ 1011382 h 1157026"/>
                <a:gd name="connsiteX4" fmla="*/ 249949 w 1185130"/>
                <a:gd name="connsiteY4" fmla="*/ 526473 h 1157026"/>
                <a:gd name="connsiteX5" fmla="*/ 28276 w 1185130"/>
                <a:gd name="connsiteY5" fmla="*/ 242455 h 1157026"/>
                <a:gd name="connsiteX6" fmla="*/ 7494 w 1185130"/>
                <a:gd name="connsiteY6" fmla="*/ 131618 h 1157026"/>
                <a:gd name="connsiteX7" fmla="*/ 69839 w 1185130"/>
                <a:gd name="connsiteY7" fmla="*/ 34636 h 1157026"/>
                <a:gd name="connsiteX8" fmla="*/ 180676 w 1185130"/>
                <a:gd name="connsiteY8" fmla="*/ 0 h 1157026"/>
                <a:gd name="connsiteX0" fmla="*/ 1188932 w 1188932"/>
                <a:gd name="connsiteY0" fmla="*/ 1136073 h 1157026"/>
                <a:gd name="connsiteX1" fmla="*/ 1036532 w 1188932"/>
                <a:gd name="connsiteY1" fmla="*/ 1156855 h 1157026"/>
                <a:gd name="connsiteX2" fmla="*/ 932623 w 1188932"/>
                <a:gd name="connsiteY2" fmla="*/ 1136073 h 1157026"/>
                <a:gd name="connsiteX3" fmla="*/ 738660 w 1188932"/>
                <a:gd name="connsiteY3" fmla="*/ 1011382 h 1157026"/>
                <a:gd name="connsiteX4" fmla="*/ 253751 w 1188932"/>
                <a:gd name="connsiteY4" fmla="*/ 526473 h 1157026"/>
                <a:gd name="connsiteX5" fmla="*/ 25151 w 1188932"/>
                <a:gd name="connsiteY5" fmla="*/ 249382 h 1157026"/>
                <a:gd name="connsiteX6" fmla="*/ 11296 w 1188932"/>
                <a:gd name="connsiteY6" fmla="*/ 131618 h 1157026"/>
                <a:gd name="connsiteX7" fmla="*/ 73641 w 1188932"/>
                <a:gd name="connsiteY7" fmla="*/ 34636 h 1157026"/>
                <a:gd name="connsiteX8" fmla="*/ 184478 w 1188932"/>
                <a:gd name="connsiteY8" fmla="*/ 0 h 1157026"/>
                <a:gd name="connsiteX0" fmla="*/ 1189347 w 1189347"/>
                <a:gd name="connsiteY0" fmla="*/ 1136073 h 1157026"/>
                <a:gd name="connsiteX1" fmla="*/ 1036947 w 1189347"/>
                <a:gd name="connsiteY1" fmla="*/ 1156855 h 1157026"/>
                <a:gd name="connsiteX2" fmla="*/ 933038 w 1189347"/>
                <a:gd name="connsiteY2" fmla="*/ 1136073 h 1157026"/>
                <a:gd name="connsiteX3" fmla="*/ 739075 w 1189347"/>
                <a:gd name="connsiteY3" fmla="*/ 1011382 h 1157026"/>
                <a:gd name="connsiteX4" fmla="*/ 254166 w 1189347"/>
                <a:gd name="connsiteY4" fmla="*/ 526473 h 1157026"/>
                <a:gd name="connsiteX5" fmla="*/ 25566 w 1189347"/>
                <a:gd name="connsiteY5" fmla="*/ 249382 h 1157026"/>
                <a:gd name="connsiteX6" fmla="*/ 11711 w 1189347"/>
                <a:gd name="connsiteY6" fmla="*/ 131618 h 1157026"/>
                <a:gd name="connsiteX7" fmla="*/ 80983 w 1189347"/>
                <a:gd name="connsiteY7" fmla="*/ 48490 h 1157026"/>
                <a:gd name="connsiteX8" fmla="*/ 184893 w 1189347"/>
                <a:gd name="connsiteY8" fmla="*/ 0 h 1157026"/>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087583 h 1108536"/>
                <a:gd name="connsiteX1" fmla="*/ 1036947 w 1189347"/>
                <a:gd name="connsiteY1" fmla="*/ 1108365 h 1108536"/>
                <a:gd name="connsiteX2" fmla="*/ 933038 w 1189347"/>
                <a:gd name="connsiteY2" fmla="*/ 1087583 h 1108536"/>
                <a:gd name="connsiteX3" fmla="*/ 739075 w 1189347"/>
                <a:gd name="connsiteY3" fmla="*/ 962892 h 1108536"/>
                <a:gd name="connsiteX4" fmla="*/ 254166 w 1189347"/>
                <a:gd name="connsiteY4" fmla="*/ 477983 h 1108536"/>
                <a:gd name="connsiteX5" fmla="*/ 25566 w 1189347"/>
                <a:gd name="connsiteY5" fmla="*/ 200892 h 1108536"/>
                <a:gd name="connsiteX6" fmla="*/ 11711 w 1189347"/>
                <a:gd name="connsiteY6" fmla="*/ 83128 h 1108536"/>
                <a:gd name="connsiteX7" fmla="*/ 80983 w 1189347"/>
                <a:gd name="connsiteY7" fmla="*/ 0 h 1108536"/>
                <a:gd name="connsiteX0" fmla="*/ 1196564 w 1196564"/>
                <a:gd name="connsiteY0" fmla="*/ 1156856 h 1177809"/>
                <a:gd name="connsiteX1" fmla="*/ 1044164 w 1196564"/>
                <a:gd name="connsiteY1" fmla="*/ 1177638 h 1177809"/>
                <a:gd name="connsiteX2" fmla="*/ 940255 w 1196564"/>
                <a:gd name="connsiteY2" fmla="*/ 1156856 h 1177809"/>
                <a:gd name="connsiteX3" fmla="*/ 746292 w 1196564"/>
                <a:gd name="connsiteY3" fmla="*/ 1032165 h 1177809"/>
                <a:gd name="connsiteX4" fmla="*/ 261383 w 1196564"/>
                <a:gd name="connsiteY4" fmla="*/ 547256 h 1177809"/>
                <a:gd name="connsiteX5" fmla="*/ 32783 w 1196564"/>
                <a:gd name="connsiteY5" fmla="*/ 270165 h 1177809"/>
                <a:gd name="connsiteX6" fmla="*/ 18928 w 1196564"/>
                <a:gd name="connsiteY6" fmla="*/ 152401 h 1177809"/>
                <a:gd name="connsiteX7" fmla="*/ 199036 w 1196564"/>
                <a:gd name="connsiteY7" fmla="*/ 0 h 117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564" h="1177809">
                  <a:moveTo>
                    <a:pt x="1196564" y="1156856"/>
                  </a:moveTo>
                  <a:cubicBezTo>
                    <a:pt x="1141723" y="1167247"/>
                    <a:pt x="1086882" y="1177638"/>
                    <a:pt x="1044164" y="1177638"/>
                  </a:cubicBezTo>
                  <a:cubicBezTo>
                    <a:pt x="1001446" y="1177638"/>
                    <a:pt x="989900" y="1181102"/>
                    <a:pt x="940255" y="1156856"/>
                  </a:cubicBezTo>
                  <a:cubicBezTo>
                    <a:pt x="890610" y="1132610"/>
                    <a:pt x="859437" y="1133765"/>
                    <a:pt x="746292" y="1032165"/>
                  </a:cubicBezTo>
                  <a:cubicBezTo>
                    <a:pt x="633147" y="930565"/>
                    <a:pt x="380301" y="674256"/>
                    <a:pt x="261383" y="547256"/>
                  </a:cubicBezTo>
                  <a:cubicBezTo>
                    <a:pt x="142465" y="420256"/>
                    <a:pt x="73192" y="335974"/>
                    <a:pt x="32783" y="270165"/>
                  </a:cubicBezTo>
                  <a:cubicBezTo>
                    <a:pt x="-7626" y="204356"/>
                    <a:pt x="-8781" y="197428"/>
                    <a:pt x="18928" y="152401"/>
                  </a:cubicBezTo>
                  <a:cubicBezTo>
                    <a:pt x="46637" y="107374"/>
                    <a:pt x="172482" y="23091"/>
                    <a:pt x="199036"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p:cNvSpPr/>
            <p:nvPr/>
          </p:nvSpPr>
          <p:spPr bwMode="auto">
            <a:xfrm>
              <a:off x="6673636" y="2160565"/>
              <a:ext cx="1248310" cy="1031347"/>
            </a:xfrm>
            <a:custGeom>
              <a:avLst/>
              <a:gdLst>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03782 w 3703782"/>
                <a:gd name="connsiteY0" fmla="*/ 1044 h 3055971"/>
                <a:gd name="connsiteX1" fmla="*/ 3537528 w 3703782"/>
                <a:gd name="connsiteY1" fmla="*/ 14898 h 3055971"/>
                <a:gd name="connsiteX2" fmla="*/ 3405910 w 3703782"/>
                <a:gd name="connsiteY2" fmla="*/ 104953 h 3055971"/>
                <a:gd name="connsiteX3" fmla="*/ 3295073 w 3703782"/>
                <a:gd name="connsiteY3" fmla="*/ 298917 h 3055971"/>
                <a:gd name="connsiteX4" fmla="*/ 3184237 w 3703782"/>
                <a:gd name="connsiteY4" fmla="*/ 513662 h 3055971"/>
                <a:gd name="connsiteX5" fmla="*/ 2990273 w 3703782"/>
                <a:gd name="connsiteY5" fmla="*/ 776898 h 3055971"/>
                <a:gd name="connsiteX6" fmla="*/ 2678546 w 3703782"/>
                <a:gd name="connsiteY6" fmla="*/ 1116335 h 3055971"/>
                <a:gd name="connsiteX7" fmla="*/ 2387600 w 3703782"/>
                <a:gd name="connsiteY7" fmla="*/ 1511189 h 3055971"/>
                <a:gd name="connsiteX8" fmla="*/ 2165928 w 3703782"/>
                <a:gd name="connsiteY8" fmla="*/ 1836771 h 3055971"/>
                <a:gd name="connsiteX9" fmla="*/ 1985819 w 3703782"/>
                <a:gd name="connsiteY9" fmla="*/ 2176207 h 3055971"/>
                <a:gd name="connsiteX10" fmla="*/ 1833419 w 3703782"/>
                <a:gd name="connsiteY10" fmla="*/ 2411735 h 3055971"/>
                <a:gd name="connsiteX11" fmla="*/ 1798782 w 3703782"/>
                <a:gd name="connsiteY11" fmla="*/ 2487935 h 3055971"/>
                <a:gd name="connsiteX12" fmla="*/ 1708728 w 3703782"/>
                <a:gd name="connsiteY12" fmla="*/ 2487935 h 3055971"/>
                <a:gd name="connsiteX13" fmla="*/ 1099128 w 3703782"/>
                <a:gd name="connsiteY13" fmla="*/ 2460226 h 3055971"/>
                <a:gd name="connsiteX14" fmla="*/ 496455 w 3703782"/>
                <a:gd name="connsiteY14" fmla="*/ 2460226 h 3055971"/>
                <a:gd name="connsiteX15" fmla="*/ 260928 w 3703782"/>
                <a:gd name="connsiteY15" fmla="*/ 2474080 h 3055971"/>
                <a:gd name="connsiteX16" fmla="*/ 73891 w 3703782"/>
                <a:gd name="connsiteY16" fmla="*/ 2591844 h 3055971"/>
                <a:gd name="connsiteX17" fmla="*/ 4619 w 3703782"/>
                <a:gd name="connsiteY17" fmla="*/ 2744244 h 3055971"/>
                <a:gd name="connsiteX18" fmla="*/ 18473 w 3703782"/>
                <a:gd name="connsiteY18" fmla="*/ 2889717 h 3055971"/>
                <a:gd name="connsiteX19" fmla="*/ 115455 w 3703782"/>
                <a:gd name="connsiteY19" fmla="*/ 2910498 h 3055971"/>
                <a:gd name="connsiteX20" fmla="*/ 988291 w 3703782"/>
                <a:gd name="connsiteY20" fmla="*/ 2993626 h 3055971"/>
                <a:gd name="connsiteX21" fmla="*/ 1362364 w 3703782"/>
                <a:gd name="connsiteY21" fmla="*/ 3035189 h 3055971"/>
                <a:gd name="connsiteX22" fmla="*/ 1639455 w 3703782"/>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160996 w 3698850"/>
                <a:gd name="connsiteY7" fmla="*/ 1836771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49269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98850" h="3055971">
                  <a:moveTo>
                    <a:pt x="3698850" y="1044"/>
                  </a:moveTo>
                  <a:cubicBezTo>
                    <a:pt x="3640545" y="-688"/>
                    <a:pt x="3582241" y="-2420"/>
                    <a:pt x="3532596" y="14898"/>
                  </a:cubicBezTo>
                  <a:cubicBezTo>
                    <a:pt x="3482951" y="32216"/>
                    <a:pt x="3441387" y="57616"/>
                    <a:pt x="3400978" y="104953"/>
                  </a:cubicBezTo>
                  <a:cubicBezTo>
                    <a:pt x="3360569" y="152290"/>
                    <a:pt x="3327086" y="230799"/>
                    <a:pt x="3290141" y="298917"/>
                  </a:cubicBezTo>
                  <a:cubicBezTo>
                    <a:pt x="3253196" y="367035"/>
                    <a:pt x="3223178" y="427071"/>
                    <a:pt x="3179305" y="513662"/>
                  </a:cubicBezTo>
                  <a:cubicBezTo>
                    <a:pt x="3135432" y="600253"/>
                    <a:pt x="3069623" y="676453"/>
                    <a:pt x="2985341" y="776898"/>
                  </a:cubicBezTo>
                  <a:cubicBezTo>
                    <a:pt x="2901059" y="877343"/>
                    <a:pt x="2786759" y="976635"/>
                    <a:pt x="2673614" y="1116335"/>
                  </a:cubicBezTo>
                  <a:cubicBezTo>
                    <a:pt x="2560469" y="1256035"/>
                    <a:pt x="2421922" y="1438453"/>
                    <a:pt x="2306468" y="1615098"/>
                  </a:cubicBezTo>
                  <a:cubicBezTo>
                    <a:pt x="2191014" y="1791743"/>
                    <a:pt x="2057087" y="2043434"/>
                    <a:pt x="1980887" y="2176207"/>
                  </a:cubicBezTo>
                  <a:cubicBezTo>
                    <a:pt x="1904687" y="2308980"/>
                    <a:pt x="1880442" y="2359780"/>
                    <a:pt x="1849269" y="2411735"/>
                  </a:cubicBezTo>
                  <a:cubicBezTo>
                    <a:pt x="1818096" y="2463690"/>
                    <a:pt x="1818095" y="2475235"/>
                    <a:pt x="1793850" y="2487935"/>
                  </a:cubicBezTo>
                  <a:cubicBezTo>
                    <a:pt x="1769605" y="2500635"/>
                    <a:pt x="1703796" y="2487935"/>
                    <a:pt x="1703796" y="2487935"/>
                  </a:cubicBezTo>
                  <a:cubicBezTo>
                    <a:pt x="1587187" y="2483317"/>
                    <a:pt x="1296241" y="2464844"/>
                    <a:pt x="1094196" y="2460226"/>
                  </a:cubicBezTo>
                  <a:cubicBezTo>
                    <a:pt x="892151" y="2455608"/>
                    <a:pt x="631223" y="2457917"/>
                    <a:pt x="491523" y="2460226"/>
                  </a:cubicBezTo>
                  <a:cubicBezTo>
                    <a:pt x="351823" y="2462535"/>
                    <a:pt x="326423" y="2452144"/>
                    <a:pt x="255996" y="2474080"/>
                  </a:cubicBezTo>
                  <a:cubicBezTo>
                    <a:pt x="185569" y="2496016"/>
                    <a:pt x="110523" y="2546817"/>
                    <a:pt x="68959" y="2591844"/>
                  </a:cubicBezTo>
                  <a:cubicBezTo>
                    <a:pt x="27395" y="2636871"/>
                    <a:pt x="15850" y="2694599"/>
                    <a:pt x="6614" y="2744244"/>
                  </a:cubicBezTo>
                  <a:cubicBezTo>
                    <a:pt x="-2622" y="2793889"/>
                    <a:pt x="-3777" y="2862008"/>
                    <a:pt x="13541" y="2889717"/>
                  </a:cubicBezTo>
                  <a:cubicBezTo>
                    <a:pt x="30859" y="2917426"/>
                    <a:pt x="-51113" y="2893180"/>
                    <a:pt x="110523" y="2910498"/>
                  </a:cubicBezTo>
                  <a:cubicBezTo>
                    <a:pt x="272159" y="2927816"/>
                    <a:pt x="775541" y="2972844"/>
                    <a:pt x="983359" y="2993626"/>
                  </a:cubicBezTo>
                  <a:cubicBezTo>
                    <a:pt x="1191177" y="3014408"/>
                    <a:pt x="1248905" y="3024798"/>
                    <a:pt x="1357432" y="3035189"/>
                  </a:cubicBezTo>
                  <a:cubicBezTo>
                    <a:pt x="1465959" y="3045580"/>
                    <a:pt x="1550241" y="3050775"/>
                    <a:pt x="1634523" y="3055971"/>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p:cNvSpPr/>
            <p:nvPr/>
          </p:nvSpPr>
          <p:spPr bwMode="auto">
            <a:xfrm>
              <a:off x="6584045" y="1928341"/>
              <a:ext cx="186929" cy="298376"/>
            </a:xfrm>
            <a:custGeom>
              <a:avLst/>
              <a:gdLst>
                <a:gd name="connsiteX0" fmla="*/ 42145 w 552240"/>
                <a:gd name="connsiteY0" fmla="*/ 820135 h 884678"/>
                <a:gd name="connsiteX1" fmla="*/ 312309 w 552240"/>
                <a:gd name="connsiteY1" fmla="*/ 875553 h 884678"/>
                <a:gd name="connsiteX2" fmla="*/ 492418 w 552240"/>
                <a:gd name="connsiteY2" fmla="*/ 868626 h 884678"/>
                <a:gd name="connsiteX3" fmla="*/ 547836 w 552240"/>
                <a:gd name="connsiteY3" fmla="*/ 723153 h 884678"/>
                <a:gd name="connsiteX4" fmla="*/ 540909 w 552240"/>
                <a:gd name="connsiteY4" fmla="*/ 418353 h 884678"/>
                <a:gd name="connsiteX5" fmla="*/ 478563 w 552240"/>
                <a:gd name="connsiteY5" fmla="*/ 85844 h 884678"/>
                <a:gd name="connsiteX6" fmla="*/ 388509 w 552240"/>
                <a:gd name="connsiteY6" fmla="*/ 16571 h 884678"/>
                <a:gd name="connsiteX7" fmla="*/ 215327 w 552240"/>
                <a:gd name="connsiteY7" fmla="*/ 2717 h 884678"/>
                <a:gd name="connsiteX8" fmla="*/ 152981 w 552240"/>
                <a:gd name="connsiteY8" fmla="*/ 58135 h 884678"/>
                <a:gd name="connsiteX9" fmla="*/ 97563 w 552240"/>
                <a:gd name="connsiteY9" fmla="*/ 286735 h 884678"/>
                <a:gd name="connsiteX10" fmla="*/ 7509 w 552240"/>
                <a:gd name="connsiteY10" fmla="*/ 640026 h 884678"/>
                <a:gd name="connsiteX11" fmla="*/ 7509 w 552240"/>
                <a:gd name="connsiteY11" fmla="*/ 771644 h 884678"/>
                <a:gd name="connsiteX12" fmla="*/ 42145 w 552240"/>
                <a:gd name="connsiteY12" fmla="*/ 820135 h 884678"/>
                <a:gd name="connsiteX0" fmla="*/ 42145 w 552550"/>
                <a:gd name="connsiteY0" fmla="*/ 820762 h 885305"/>
                <a:gd name="connsiteX1" fmla="*/ 312309 w 552550"/>
                <a:gd name="connsiteY1" fmla="*/ 876180 h 885305"/>
                <a:gd name="connsiteX2" fmla="*/ 492418 w 552550"/>
                <a:gd name="connsiteY2" fmla="*/ 869253 h 885305"/>
                <a:gd name="connsiteX3" fmla="*/ 547836 w 552550"/>
                <a:gd name="connsiteY3" fmla="*/ 723780 h 885305"/>
                <a:gd name="connsiteX4" fmla="*/ 540909 w 552550"/>
                <a:gd name="connsiteY4" fmla="*/ 418980 h 885305"/>
                <a:gd name="connsiteX5" fmla="*/ 471635 w 552550"/>
                <a:gd name="connsiteY5" fmla="*/ 107252 h 885305"/>
                <a:gd name="connsiteX6" fmla="*/ 388509 w 552550"/>
                <a:gd name="connsiteY6" fmla="*/ 17198 h 885305"/>
                <a:gd name="connsiteX7" fmla="*/ 215327 w 552550"/>
                <a:gd name="connsiteY7" fmla="*/ 3344 h 885305"/>
                <a:gd name="connsiteX8" fmla="*/ 152981 w 552550"/>
                <a:gd name="connsiteY8" fmla="*/ 58762 h 885305"/>
                <a:gd name="connsiteX9" fmla="*/ 97563 w 552550"/>
                <a:gd name="connsiteY9" fmla="*/ 287362 h 885305"/>
                <a:gd name="connsiteX10" fmla="*/ 7509 w 552550"/>
                <a:gd name="connsiteY10" fmla="*/ 640653 h 885305"/>
                <a:gd name="connsiteX11" fmla="*/ 7509 w 552550"/>
                <a:gd name="connsiteY11" fmla="*/ 772271 h 885305"/>
                <a:gd name="connsiteX12" fmla="*/ 42145 w 552550"/>
                <a:gd name="connsiteY12" fmla="*/ 820762 h 885305"/>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98899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85044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886" h="884114">
                  <a:moveTo>
                    <a:pt x="57336" y="841544"/>
                  </a:moveTo>
                  <a:cubicBezTo>
                    <a:pt x="108136" y="858862"/>
                    <a:pt x="240909" y="871562"/>
                    <a:pt x="313645" y="876180"/>
                  </a:cubicBezTo>
                  <a:cubicBezTo>
                    <a:pt x="386381" y="880798"/>
                    <a:pt x="454500" y="894653"/>
                    <a:pt x="493754" y="869253"/>
                  </a:cubicBezTo>
                  <a:cubicBezTo>
                    <a:pt x="533009" y="843853"/>
                    <a:pt x="541090" y="798825"/>
                    <a:pt x="549172" y="723780"/>
                  </a:cubicBezTo>
                  <a:cubicBezTo>
                    <a:pt x="557254" y="648735"/>
                    <a:pt x="554945" y="521735"/>
                    <a:pt x="542245" y="418980"/>
                  </a:cubicBezTo>
                  <a:cubicBezTo>
                    <a:pt x="529545" y="316225"/>
                    <a:pt x="498371" y="174216"/>
                    <a:pt x="472971" y="107252"/>
                  </a:cubicBezTo>
                  <a:cubicBezTo>
                    <a:pt x="447571" y="40288"/>
                    <a:pt x="432563" y="34516"/>
                    <a:pt x="389845" y="17198"/>
                  </a:cubicBezTo>
                  <a:cubicBezTo>
                    <a:pt x="347127" y="-120"/>
                    <a:pt x="255918" y="-3583"/>
                    <a:pt x="216663" y="3344"/>
                  </a:cubicBezTo>
                  <a:cubicBezTo>
                    <a:pt x="177408" y="10271"/>
                    <a:pt x="176253" y="11426"/>
                    <a:pt x="154317" y="58762"/>
                  </a:cubicBezTo>
                  <a:cubicBezTo>
                    <a:pt x="132381" y="106098"/>
                    <a:pt x="109289" y="190380"/>
                    <a:pt x="85044" y="287362"/>
                  </a:cubicBezTo>
                  <a:cubicBezTo>
                    <a:pt x="60799" y="384344"/>
                    <a:pt x="23854" y="559835"/>
                    <a:pt x="8845" y="640653"/>
                  </a:cubicBezTo>
                  <a:cubicBezTo>
                    <a:pt x="-6164" y="721471"/>
                    <a:pt x="763" y="738789"/>
                    <a:pt x="8845" y="772271"/>
                  </a:cubicBezTo>
                  <a:cubicBezTo>
                    <a:pt x="16927" y="805753"/>
                    <a:pt x="6536" y="824226"/>
                    <a:pt x="57336" y="84154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Freeform: Shape 38"/>
            <p:cNvSpPr/>
            <p:nvPr/>
          </p:nvSpPr>
          <p:spPr bwMode="auto">
            <a:xfrm>
              <a:off x="7761944" y="1965528"/>
              <a:ext cx="206759" cy="193090"/>
            </a:xfrm>
            <a:custGeom>
              <a:avLst/>
              <a:gdLst>
                <a:gd name="connsiteX0" fmla="*/ 457897 w 589515"/>
                <a:gd name="connsiteY0" fmla="*/ 557554 h 571523"/>
                <a:gd name="connsiteX1" fmla="*/ 153097 w 589515"/>
                <a:gd name="connsiteY1" fmla="*/ 571409 h 571523"/>
                <a:gd name="connsiteX2" fmla="*/ 49187 w 589515"/>
                <a:gd name="connsiteY2" fmla="*/ 557554 h 571523"/>
                <a:gd name="connsiteX3" fmla="*/ 697 w 589515"/>
                <a:gd name="connsiteY3" fmla="*/ 474427 h 571523"/>
                <a:gd name="connsiteX4" fmla="*/ 21478 w 589515"/>
                <a:gd name="connsiteY4" fmla="*/ 183481 h 571523"/>
                <a:gd name="connsiteX5" fmla="*/ 35333 w 589515"/>
                <a:gd name="connsiteY5" fmla="*/ 24154 h 571523"/>
                <a:gd name="connsiteX6" fmla="*/ 180806 w 589515"/>
                <a:gd name="connsiteY6" fmla="*/ 3372 h 571523"/>
                <a:gd name="connsiteX7" fmla="*/ 402478 w 589515"/>
                <a:gd name="connsiteY7" fmla="*/ 51863 h 571523"/>
                <a:gd name="connsiteX8" fmla="*/ 513315 w 589515"/>
                <a:gd name="connsiteY8" fmla="*/ 218118 h 571523"/>
                <a:gd name="connsiteX9" fmla="*/ 589515 w 589515"/>
                <a:gd name="connsiteY9" fmla="*/ 377445 h 571523"/>
                <a:gd name="connsiteX0" fmla="*/ 466950 w 598568"/>
                <a:gd name="connsiteY0" fmla="*/ 558173 h 572142"/>
                <a:gd name="connsiteX1" fmla="*/ 162150 w 598568"/>
                <a:gd name="connsiteY1" fmla="*/ 572028 h 572142"/>
                <a:gd name="connsiteX2" fmla="*/ 58240 w 598568"/>
                <a:gd name="connsiteY2" fmla="*/ 558173 h 572142"/>
                <a:gd name="connsiteX3" fmla="*/ 9750 w 598568"/>
                <a:gd name="connsiteY3" fmla="*/ 475046 h 572142"/>
                <a:gd name="connsiteX4" fmla="*/ 2822 w 598568"/>
                <a:gd name="connsiteY4" fmla="*/ 197954 h 572142"/>
                <a:gd name="connsiteX5" fmla="*/ 44386 w 598568"/>
                <a:gd name="connsiteY5" fmla="*/ 24773 h 572142"/>
                <a:gd name="connsiteX6" fmla="*/ 189859 w 598568"/>
                <a:gd name="connsiteY6" fmla="*/ 3991 h 572142"/>
                <a:gd name="connsiteX7" fmla="*/ 411531 w 598568"/>
                <a:gd name="connsiteY7" fmla="*/ 52482 h 572142"/>
                <a:gd name="connsiteX8" fmla="*/ 522368 w 598568"/>
                <a:gd name="connsiteY8" fmla="*/ 218737 h 572142"/>
                <a:gd name="connsiteX9" fmla="*/ 598568 w 598568"/>
                <a:gd name="connsiteY9" fmla="*/ 378064 h 572142"/>
                <a:gd name="connsiteX0" fmla="*/ 481027 w 612645"/>
                <a:gd name="connsiteY0" fmla="*/ 558173 h 572142"/>
                <a:gd name="connsiteX1" fmla="*/ 176227 w 612645"/>
                <a:gd name="connsiteY1" fmla="*/ 572028 h 572142"/>
                <a:gd name="connsiteX2" fmla="*/ 72317 w 612645"/>
                <a:gd name="connsiteY2" fmla="*/ 558173 h 572142"/>
                <a:gd name="connsiteX3" fmla="*/ 3045 w 612645"/>
                <a:gd name="connsiteY3" fmla="*/ 475046 h 572142"/>
                <a:gd name="connsiteX4" fmla="*/ 16899 w 612645"/>
                <a:gd name="connsiteY4" fmla="*/ 197954 h 572142"/>
                <a:gd name="connsiteX5" fmla="*/ 58463 w 612645"/>
                <a:gd name="connsiteY5" fmla="*/ 24773 h 572142"/>
                <a:gd name="connsiteX6" fmla="*/ 203936 w 612645"/>
                <a:gd name="connsiteY6" fmla="*/ 3991 h 572142"/>
                <a:gd name="connsiteX7" fmla="*/ 425608 w 612645"/>
                <a:gd name="connsiteY7" fmla="*/ 52482 h 572142"/>
                <a:gd name="connsiteX8" fmla="*/ 536445 w 612645"/>
                <a:gd name="connsiteY8" fmla="*/ 218737 h 572142"/>
                <a:gd name="connsiteX9" fmla="*/ 612645 w 612645"/>
                <a:gd name="connsiteY9" fmla="*/ 378064 h 57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2645" h="572142">
                  <a:moveTo>
                    <a:pt x="481027" y="558173"/>
                  </a:moveTo>
                  <a:cubicBezTo>
                    <a:pt x="362686" y="565100"/>
                    <a:pt x="244345" y="572028"/>
                    <a:pt x="176227" y="572028"/>
                  </a:cubicBezTo>
                  <a:cubicBezTo>
                    <a:pt x="108109" y="572028"/>
                    <a:pt x="101181" y="574337"/>
                    <a:pt x="72317" y="558173"/>
                  </a:cubicBezTo>
                  <a:cubicBezTo>
                    <a:pt x="43453" y="542009"/>
                    <a:pt x="12281" y="535082"/>
                    <a:pt x="3045" y="475046"/>
                  </a:cubicBezTo>
                  <a:cubicBezTo>
                    <a:pt x="-6191" y="415010"/>
                    <a:pt x="7663" y="273000"/>
                    <a:pt x="16899" y="197954"/>
                  </a:cubicBezTo>
                  <a:cubicBezTo>
                    <a:pt x="26135" y="122909"/>
                    <a:pt x="27290" y="57100"/>
                    <a:pt x="58463" y="24773"/>
                  </a:cubicBezTo>
                  <a:cubicBezTo>
                    <a:pt x="89636" y="-7554"/>
                    <a:pt x="142745" y="-627"/>
                    <a:pt x="203936" y="3991"/>
                  </a:cubicBezTo>
                  <a:cubicBezTo>
                    <a:pt x="265127" y="8609"/>
                    <a:pt x="370190" y="16691"/>
                    <a:pt x="425608" y="52482"/>
                  </a:cubicBezTo>
                  <a:cubicBezTo>
                    <a:pt x="481026" y="88273"/>
                    <a:pt x="505272" y="164473"/>
                    <a:pt x="536445" y="218737"/>
                  </a:cubicBezTo>
                  <a:cubicBezTo>
                    <a:pt x="567618" y="273001"/>
                    <a:pt x="590131" y="325532"/>
                    <a:pt x="612645" y="3780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p:cNvSpPr/>
            <p:nvPr/>
          </p:nvSpPr>
          <p:spPr bwMode="auto">
            <a:xfrm>
              <a:off x="4385028" y="3499088"/>
              <a:ext cx="2848808" cy="43502"/>
            </a:xfrm>
            <a:custGeom>
              <a:avLst/>
              <a:gdLst>
                <a:gd name="connsiteX0" fmla="*/ 0 w 8458200"/>
                <a:gd name="connsiteY0" fmla="*/ 110095 h 110095"/>
                <a:gd name="connsiteX1" fmla="*/ 3953933 w 8458200"/>
                <a:gd name="connsiteY1" fmla="*/ 28 h 110095"/>
                <a:gd name="connsiteX2" fmla="*/ 8458200 w 8458200"/>
                <a:gd name="connsiteY2" fmla="*/ 101628 h 110095"/>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41266"/>
                <a:gd name="connsiteY0" fmla="*/ 147705 h 147705"/>
                <a:gd name="connsiteX1" fmla="*/ 3936999 w 8441266"/>
                <a:gd name="connsiteY1" fmla="*/ 3772 h 147705"/>
                <a:gd name="connsiteX2" fmla="*/ 8441266 w 8441266"/>
                <a:gd name="connsiteY2" fmla="*/ 105372 h 147705"/>
                <a:gd name="connsiteX0" fmla="*/ 0 w 8441266"/>
                <a:gd name="connsiteY0" fmla="*/ 128901 h 128901"/>
                <a:gd name="connsiteX1" fmla="*/ 3936999 w 8441266"/>
                <a:gd name="connsiteY1" fmla="*/ 10368 h 128901"/>
                <a:gd name="connsiteX2" fmla="*/ 8441266 w 8441266"/>
                <a:gd name="connsiteY2" fmla="*/ 86568 h 128901"/>
              </a:gdLst>
              <a:ahLst/>
              <a:cxnLst>
                <a:cxn ang="0">
                  <a:pos x="connsiteX0" y="connsiteY0"/>
                </a:cxn>
                <a:cxn ang="0">
                  <a:pos x="connsiteX1" y="connsiteY1"/>
                </a:cxn>
                <a:cxn ang="0">
                  <a:pos x="connsiteX2" y="connsiteY2"/>
                </a:cxn>
              </a:cxnLst>
              <a:rect l="l" t="t" r="r" b="b"/>
              <a:pathLst>
                <a:path w="8441266" h="128901">
                  <a:moveTo>
                    <a:pt x="0" y="128901"/>
                  </a:moveTo>
                  <a:cubicBezTo>
                    <a:pt x="1272116" y="74573"/>
                    <a:pt x="2530121" y="17424"/>
                    <a:pt x="3936999" y="10368"/>
                  </a:cubicBezTo>
                  <a:cubicBezTo>
                    <a:pt x="5343877" y="3312"/>
                    <a:pt x="6939844" y="-31966"/>
                    <a:pt x="8441266" y="8656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cxnSp>
          <p:nvCxnSpPr>
            <p:cNvPr id="41" name="Straight Connector 40"/>
            <p:cNvCxnSpPr/>
            <p:nvPr/>
          </p:nvCxnSpPr>
          <p:spPr>
            <a:xfrm flipV="1">
              <a:off x="4323776" y="3542590"/>
              <a:ext cx="2952922" cy="25717"/>
            </a:xfrm>
            <a:prstGeom prst="line">
              <a:avLst/>
            </a:prstGeom>
            <a:noFill/>
            <a:ln w="9525" cap="rnd" cmpd="sng" algn="ctr">
              <a:solidFill>
                <a:schemeClr val="bg1">
                  <a:lumMod val="50000"/>
                </a:schemeClr>
              </a:solidFill>
              <a:prstDash val="solid"/>
              <a:headEnd type="none"/>
              <a:tailEnd type="none"/>
            </a:ln>
            <a:effectLst/>
          </p:spPr>
        </p:cxnSp>
        <p:sp>
          <p:nvSpPr>
            <p:cNvPr id="42" name="Freeform: Shape 41"/>
            <p:cNvSpPr/>
            <p:nvPr/>
          </p:nvSpPr>
          <p:spPr bwMode="auto">
            <a:xfrm>
              <a:off x="4639335" y="2730282"/>
              <a:ext cx="4006055" cy="706585"/>
            </a:xfrm>
            <a:custGeom>
              <a:avLst/>
              <a:gdLst>
                <a:gd name="connsiteX0" fmla="*/ 0 w 11870537"/>
                <a:gd name="connsiteY0" fmla="*/ 1585830 h 2093830"/>
                <a:gd name="connsiteX1" fmla="*/ 1617133 w 11870537"/>
                <a:gd name="connsiteY1" fmla="*/ 1645097 h 2093830"/>
                <a:gd name="connsiteX2" fmla="*/ 3843866 w 11870537"/>
                <a:gd name="connsiteY2" fmla="*/ 1585830 h 2093830"/>
                <a:gd name="connsiteX3" fmla="*/ 5190066 w 11870537"/>
                <a:gd name="connsiteY3" fmla="*/ 1501164 h 2093830"/>
                <a:gd name="connsiteX4" fmla="*/ 6663266 w 11870537"/>
                <a:gd name="connsiteY4" fmla="*/ 1382630 h 2093830"/>
                <a:gd name="connsiteX5" fmla="*/ 7704666 w 11870537"/>
                <a:gd name="connsiteY5" fmla="*/ 1289497 h 2093830"/>
                <a:gd name="connsiteX6" fmla="*/ 7806266 w 11870537"/>
                <a:gd name="connsiteY6" fmla="*/ 1272564 h 2093830"/>
                <a:gd name="connsiteX7" fmla="*/ 7924800 w 11870537"/>
                <a:gd name="connsiteY7" fmla="*/ 1137097 h 2093830"/>
                <a:gd name="connsiteX8" fmla="*/ 8161866 w 11870537"/>
                <a:gd name="connsiteY8" fmla="*/ 798430 h 2093830"/>
                <a:gd name="connsiteX9" fmla="*/ 8525933 w 11870537"/>
                <a:gd name="connsiteY9" fmla="*/ 476697 h 2093830"/>
                <a:gd name="connsiteX10" fmla="*/ 9110133 w 11870537"/>
                <a:gd name="connsiteY10" fmla="*/ 112630 h 2093830"/>
                <a:gd name="connsiteX11" fmla="*/ 9787466 w 11870537"/>
                <a:gd name="connsiteY11" fmla="*/ 2564 h 2093830"/>
                <a:gd name="connsiteX12" fmla="*/ 10718800 w 11870537"/>
                <a:gd name="connsiteY12" fmla="*/ 197297 h 2093830"/>
                <a:gd name="connsiteX13" fmla="*/ 11125200 w 11870537"/>
                <a:gd name="connsiteY13" fmla="*/ 493630 h 2093830"/>
                <a:gd name="connsiteX14" fmla="*/ 11557000 w 11870537"/>
                <a:gd name="connsiteY14" fmla="*/ 967764 h 2093830"/>
                <a:gd name="connsiteX15" fmla="*/ 11760200 w 11870537"/>
                <a:gd name="connsiteY15" fmla="*/ 1416497 h 2093830"/>
                <a:gd name="connsiteX16" fmla="*/ 11853333 w 11870537"/>
                <a:gd name="connsiteY16" fmla="*/ 1763630 h 2093830"/>
                <a:gd name="connsiteX17" fmla="*/ 11870266 w 11870537"/>
                <a:gd name="connsiteY17" fmla="*/ 2093830 h 2093830"/>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718800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8534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70288" h="2093673">
                  <a:moveTo>
                    <a:pt x="0" y="1585673"/>
                  </a:moveTo>
                  <a:cubicBezTo>
                    <a:pt x="488244" y="1615306"/>
                    <a:pt x="976489" y="1644940"/>
                    <a:pt x="1617133" y="1644940"/>
                  </a:cubicBezTo>
                  <a:cubicBezTo>
                    <a:pt x="2257777" y="1644940"/>
                    <a:pt x="3248377" y="1609662"/>
                    <a:pt x="3843866" y="1585673"/>
                  </a:cubicBezTo>
                  <a:cubicBezTo>
                    <a:pt x="4439355" y="1561684"/>
                    <a:pt x="5190066" y="1501007"/>
                    <a:pt x="5190066" y="1501007"/>
                  </a:cubicBezTo>
                  <a:lnTo>
                    <a:pt x="6663266" y="1382473"/>
                  </a:lnTo>
                  <a:lnTo>
                    <a:pt x="7704666" y="1289340"/>
                  </a:lnTo>
                  <a:cubicBezTo>
                    <a:pt x="7895166" y="1270996"/>
                    <a:pt x="7769577" y="1297807"/>
                    <a:pt x="7806266" y="1272407"/>
                  </a:cubicBezTo>
                  <a:cubicBezTo>
                    <a:pt x="7842955" y="1247007"/>
                    <a:pt x="7865533" y="1215962"/>
                    <a:pt x="7924800" y="1136940"/>
                  </a:cubicBezTo>
                  <a:cubicBezTo>
                    <a:pt x="7984067" y="1057918"/>
                    <a:pt x="8063088" y="912573"/>
                    <a:pt x="8161866" y="798273"/>
                  </a:cubicBezTo>
                  <a:cubicBezTo>
                    <a:pt x="8260644" y="683973"/>
                    <a:pt x="8359422" y="565440"/>
                    <a:pt x="8517466" y="451140"/>
                  </a:cubicBezTo>
                  <a:cubicBezTo>
                    <a:pt x="8675510" y="336840"/>
                    <a:pt x="8898466" y="187262"/>
                    <a:pt x="9110133" y="112473"/>
                  </a:cubicBezTo>
                  <a:cubicBezTo>
                    <a:pt x="9321800" y="37684"/>
                    <a:pt x="9526410" y="-11704"/>
                    <a:pt x="9787466" y="2407"/>
                  </a:cubicBezTo>
                  <a:cubicBezTo>
                    <a:pt x="10048522" y="16518"/>
                    <a:pt x="10461978" y="98363"/>
                    <a:pt x="10676467" y="197140"/>
                  </a:cubicBezTo>
                  <a:cubicBezTo>
                    <a:pt x="10890956" y="295917"/>
                    <a:pt x="10981267" y="365062"/>
                    <a:pt x="11125200" y="493473"/>
                  </a:cubicBezTo>
                  <a:cubicBezTo>
                    <a:pt x="11269133" y="621884"/>
                    <a:pt x="11434234" y="813796"/>
                    <a:pt x="11540067" y="967607"/>
                  </a:cubicBezTo>
                  <a:cubicBezTo>
                    <a:pt x="11645900" y="1121418"/>
                    <a:pt x="11710811" y="1285107"/>
                    <a:pt x="11760200" y="1416340"/>
                  </a:cubicBezTo>
                  <a:cubicBezTo>
                    <a:pt x="11809589" y="1547573"/>
                    <a:pt x="11818056" y="1642117"/>
                    <a:pt x="11836400" y="1755006"/>
                  </a:cubicBezTo>
                  <a:cubicBezTo>
                    <a:pt x="11854744" y="1867895"/>
                    <a:pt x="11870971" y="1985017"/>
                    <a:pt x="11870266" y="209367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p:cNvSpPr/>
            <p:nvPr/>
          </p:nvSpPr>
          <p:spPr bwMode="auto">
            <a:xfrm>
              <a:off x="8879688" y="3308091"/>
              <a:ext cx="288595" cy="40197"/>
            </a:xfrm>
            <a:custGeom>
              <a:avLst/>
              <a:gdLst>
                <a:gd name="connsiteX0" fmla="*/ 0 w 855133"/>
                <a:gd name="connsiteY0" fmla="*/ 116336 h 116336"/>
                <a:gd name="connsiteX1" fmla="*/ 448733 w 855133"/>
                <a:gd name="connsiteY1" fmla="*/ 6269 h 116336"/>
                <a:gd name="connsiteX2" fmla="*/ 855133 w 855133"/>
                <a:gd name="connsiteY2" fmla="*/ 23202 h 116336"/>
                <a:gd name="connsiteX0" fmla="*/ 0 w 855133"/>
                <a:gd name="connsiteY0" fmla="*/ 119108 h 119108"/>
                <a:gd name="connsiteX1" fmla="*/ 448733 w 855133"/>
                <a:gd name="connsiteY1" fmla="*/ 9041 h 119108"/>
                <a:gd name="connsiteX2" fmla="*/ 855133 w 855133"/>
                <a:gd name="connsiteY2" fmla="*/ 17507 h 119108"/>
              </a:gdLst>
              <a:ahLst/>
              <a:cxnLst>
                <a:cxn ang="0">
                  <a:pos x="connsiteX0" y="connsiteY0"/>
                </a:cxn>
                <a:cxn ang="0">
                  <a:pos x="connsiteX1" y="connsiteY1"/>
                </a:cxn>
                <a:cxn ang="0">
                  <a:pos x="connsiteX2" y="connsiteY2"/>
                </a:cxn>
              </a:cxnLst>
              <a:rect l="l" t="t" r="r" b="b"/>
              <a:pathLst>
                <a:path w="855133" h="119108">
                  <a:moveTo>
                    <a:pt x="0" y="119108"/>
                  </a:moveTo>
                  <a:cubicBezTo>
                    <a:pt x="153105" y="71835"/>
                    <a:pt x="306211" y="25974"/>
                    <a:pt x="448733" y="9041"/>
                  </a:cubicBezTo>
                  <a:cubicBezTo>
                    <a:pt x="591255" y="-7892"/>
                    <a:pt x="723194" y="1279"/>
                    <a:pt x="855133" y="1750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4" name="Oval 43"/>
            <p:cNvSpPr/>
            <p:nvPr/>
          </p:nvSpPr>
          <p:spPr bwMode="auto">
            <a:xfrm>
              <a:off x="7547029" y="2975359"/>
              <a:ext cx="776357" cy="776356"/>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Shape 44"/>
            <p:cNvSpPr/>
            <p:nvPr/>
          </p:nvSpPr>
          <p:spPr bwMode="auto">
            <a:xfrm>
              <a:off x="7640607" y="3077565"/>
              <a:ext cx="589122" cy="579980"/>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Shape 45"/>
            <p:cNvSpPr/>
            <p:nvPr/>
          </p:nvSpPr>
          <p:spPr bwMode="auto">
            <a:xfrm>
              <a:off x="7566244" y="2986778"/>
              <a:ext cx="738326" cy="711139"/>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p:cNvSpPr/>
            <p:nvPr/>
          </p:nvSpPr>
          <p:spPr bwMode="auto">
            <a:xfrm>
              <a:off x="7851929"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p:cNvSpPr/>
            <p:nvPr/>
          </p:nvSpPr>
          <p:spPr bwMode="auto">
            <a:xfrm>
              <a:off x="8002797"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Oval 48"/>
            <p:cNvSpPr/>
            <p:nvPr/>
          </p:nvSpPr>
          <p:spPr bwMode="auto">
            <a:xfrm>
              <a:off x="7817239"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p:cNvSpPr/>
            <p:nvPr/>
          </p:nvSpPr>
          <p:spPr bwMode="auto">
            <a:xfrm>
              <a:off x="7968703"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p:cNvSpPr/>
            <p:nvPr/>
          </p:nvSpPr>
          <p:spPr bwMode="auto">
            <a:xfrm>
              <a:off x="7910949" y="3240503"/>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p:cNvSpPr/>
            <p:nvPr/>
          </p:nvSpPr>
          <p:spPr bwMode="auto">
            <a:xfrm>
              <a:off x="7604243" y="3012020"/>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p:cNvSpPr/>
            <p:nvPr/>
          </p:nvSpPr>
          <p:spPr bwMode="auto">
            <a:xfrm rot="4374466">
              <a:off x="7933937" y="2996944"/>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p:cNvSpPr/>
            <p:nvPr/>
          </p:nvSpPr>
          <p:spPr bwMode="auto">
            <a:xfrm rot="17319209">
              <a:off x="7518808" y="333295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p:cNvSpPr/>
            <p:nvPr/>
          </p:nvSpPr>
          <p:spPr bwMode="auto">
            <a:xfrm rot="8698688">
              <a:off x="8052533" y="3303658"/>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p:cNvSpPr/>
            <p:nvPr/>
          </p:nvSpPr>
          <p:spPr bwMode="auto">
            <a:xfrm rot="12956291">
              <a:off x="7796038" y="351074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nvGrpSpPr>
            <p:cNvPr id="57" name="Group 56"/>
            <p:cNvGrpSpPr/>
            <p:nvPr/>
          </p:nvGrpSpPr>
          <p:grpSpPr>
            <a:xfrm>
              <a:off x="7574467" y="3164176"/>
              <a:ext cx="119666" cy="202459"/>
              <a:chOff x="15588916" y="7188536"/>
              <a:chExt cx="354582" cy="599905"/>
            </a:xfrm>
          </p:grpSpPr>
          <p:sp>
            <p:nvSpPr>
              <p:cNvPr id="141" name="Freeform: Shape 140"/>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8" name="Group 57"/>
            <p:cNvGrpSpPr/>
            <p:nvPr/>
          </p:nvGrpSpPr>
          <p:grpSpPr>
            <a:xfrm rot="4323909">
              <a:off x="7876283" y="2944917"/>
              <a:ext cx="119666" cy="202459"/>
              <a:chOff x="15588916" y="7188536"/>
              <a:chExt cx="354582" cy="599905"/>
            </a:xfrm>
          </p:grpSpPr>
          <p:sp>
            <p:nvSpPr>
              <p:cNvPr id="139" name="Freeform: Shape 138"/>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9" name="Group 58"/>
            <p:cNvGrpSpPr/>
            <p:nvPr/>
          </p:nvGrpSpPr>
          <p:grpSpPr>
            <a:xfrm rot="8686591" flipH="1">
              <a:off x="7686147" y="3521466"/>
              <a:ext cx="127761" cy="198470"/>
              <a:chOff x="15588916" y="7188536"/>
              <a:chExt cx="354582" cy="599905"/>
            </a:xfrm>
          </p:grpSpPr>
          <p:sp>
            <p:nvSpPr>
              <p:cNvPr id="137" name="Freeform: Shape 136"/>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60" name="Freeform: Shape 59"/>
            <p:cNvSpPr/>
            <p:nvPr/>
          </p:nvSpPr>
          <p:spPr bwMode="auto">
            <a:xfrm rot="4398861" flipV="1">
              <a:off x="8025316" y="3647622"/>
              <a:ext cx="56576" cy="41687"/>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p:cNvSpPr/>
            <p:nvPr/>
          </p:nvSpPr>
          <p:spPr bwMode="auto">
            <a:xfrm rot="17414756" flipV="1">
              <a:off x="8156490" y="3540962"/>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2" name="Oval 61"/>
            <p:cNvSpPr/>
            <p:nvPr/>
          </p:nvSpPr>
          <p:spPr bwMode="auto">
            <a:xfrm>
              <a:off x="7896717" y="3323557"/>
              <a:ext cx="79608" cy="79608"/>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Shape 62"/>
            <p:cNvSpPr/>
            <p:nvPr/>
          </p:nvSpPr>
          <p:spPr bwMode="auto">
            <a:xfrm rot="12965245" flipV="1">
              <a:off x="8181489" y="315098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p:cNvSpPr/>
            <p:nvPr/>
          </p:nvSpPr>
          <p:spPr bwMode="auto">
            <a:xfrm rot="6683114">
              <a:off x="8231228" y="332125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5" name="Oval 64"/>
            <p:cNvSpPr/>
            <p:nvPr/>
          </p:nvSpPr>
          <p:spPr bwMode="auto">
            <a:xfrm>
              <a:off x="3225828" y="2975359"/>
              <a:ext cx="776357" cy="776356"/>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Shape 65"/>
            <p:cNvSpPr/>
            <p:nvPr/>
          </p:nvSpPr>
          <p:spPr bwMode="auto">
            <a:xfrm>
              <a:off x="3319406" y="3077565"/>
              <a:ext cx="589122" cy="579980"/>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Shape 66"/>
            <p:cNvSpPr/>
            <p:nvPr/>
          </p:nvSpPr>
          <p:spPr bwMode="auto">
            <a:xfrm>
              <a:off x="3245043" y="2986778"/>
              <a:ext cx="738326" cy="711139"/>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p:cNvSpPr/>
            <p:nvPr/>
          </p:nvSpPr>
          <p:spPr bwMode="auto">
            <a:xfrm>
              <a:off x="3530728"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p:cNvSpPr/>
            <p:nvPr/>
          </p:nvSpPr>
          <p:spPr bwMode="auto">
            <a:xfrm>
              <a:off x="3681596"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p:cNvSpPr/>
            <p:nvPr/>
          </p:nvSpPr>
          <p:spPr bwMode="auto">
            <a:xfrm>
              <a:off x="3496037"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p:cNvSpPr/>
            <p:nvPr/>
          </p:nvSpPr>
          <p:spPr bwMode="auto">
            <a:xfrm>
              <a:off x="3647501"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p:cNvSpPr/>
            <p:nvPr/>
          </p:nvSpPr>
          <p:spPr bwMode="auto">
            <a:xfrm>
              <a:off x="3589748" y="3240503"/>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Freeform: Shape 72"/>
            <p:cNvSpPr/>
            <p:nvPr/>
          </p:nvSpPr>
          <p:spPr bwMode="auto">
            <a:xfrm>
              <a:off x="3283042" y="3012020"/>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p:cNvSpPr/>
            <p:nvPr/>
          </p:nvSpPr>
          <p:spPr bwMode="auto">
            <a:xfrm rot="4374466">
              <a:off x="3612735" y="2996944"/>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p:cNvSpPr/>
            <p:nvPr/>
          </p:nvSpPr>
          <p:spPr bwMode="auto">
            <a:xfrm rot="17319209">
              <a:off x="3197607" y="333295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p:cNvSpPr/>
            <p:nvPr/>
          </p:nvSpPr>
          <p:spPr bwMode="auto">
            <a:xfrm rot="8698688">
              <a:off x="3731331" y="3303658"/>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p:cNvSpPr/>
            <p:nvPr/>
          </p:nvSpPr>
          <p:spPr bwMode="auto">
            <a:xfrm rot="12956291">
              <a:off x="3474837" y="351074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nvGrpSpPr>
            <p:cNvPr id="78" name="Group 77"/>
            <p:cNvGrpSpPr/>
            <p:nvPr/>
          </p:nvGrpSpPr>
          <p:grpSpPr>
            <a:xfrm>
              <a:off x="3253265" y="3164176"/>
              <a:ext cx="119666" cy="202459"/>
              <a:chOff x="15588916" y="7188536"/>
              <a:chExt cx="354582" cy="599905"/>
            </a:xfrm>
          </p:grpSpPr>
          <p:sp>
            <p:nvSpPr>
              <p:cNvPr id="135" name="Freeform: Shape 134"/>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9" name="Group 78"/>
            <p:cNvGrpSpPr/>
            <p:nvPr/>
          </p:nvGrpSpPr>
          <p:grpSpPr>
            <a:xfrm rot="4323909">
              <a:off x="3555082" y="2944917"/>
              <a:ext cx="119666" cy="202459"/>
              <a:chOff x="15588916" y="7188536"/>
              <a:chExt cx="354582" cy="599905"/>
            </a:xfrm>
          </p:grpSpPr>
          <p:sp>
            <p:nvSpPr>
              <p:cNvPr id="133" name="Freeform: Shape 132"/>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4" name="Freeform: Shape 133"/>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80" name="Group 79"/>
            <p:cNvGrpSpPr/>
            <p:nvPr/>
          </p:nvGrpSpPr>
          <p:grpSpPr>
            <a:xfrm rot="8686591" flipH="1">
              <a:off x="3364946" y="3521466"/>
              <a:ext cx="127761" cy="198470"/>
              <a:chOff x="15588916" y="7188536"/>
              <a:chExt cx="354582" cy="599905"/>
            </a:xfrm>
          </p:grpSpPr>
          <p:sp>
            <p:nvSpPr>
              <p:cNvPr id="131" name="Freeform: Shape 130"/>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2" name="Freeform: Shape 131"/>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81" name="Freeform: Shape 80"/>
            <p:cNvSpPr/>
            <p:nvPr/>
          </p:nvSpPr>
          <p:spPr bwMode="auto">
            <a:xfrm rot="4398861" flipV="1">
              <a:off x="3704115" y="3647622"/>
              <a:ext cx="56576" cy="41687"/>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p:cNvSpPr/>
            <p:nvPr/>
          </p:nvSpPr>
          <p:spPr bwMode="auto">
            <a:xfrm rot="17414756" flipV="1">
              <a:off x="3835288" y="3540962"/>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3" name="Oval 82"/>
            <p:cNvSpPr/>
            <p:nvPr/>
          </p:nvSpPr>
          <p:spPr bwMode="auto">
            <a:xfrm>
              <a:off x="3575516" y="3323557"/>
              <a:ext cx="79608" cy="79608"/>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Freeform: Shape 83"/>
            <p:cNvSpPr/>
            <p:nvPr/>
          </p:nvSpPr>
          <p:spPr bwMode="auto">
            <a:xfrm rot="12965245" flipV="1">
              <a:off x="3860287" y="315098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p:cNvSpPr/>
            <p:nvPr/>
          </p:nvSpPr>
          <p:spPr bwMode="auto">
            <a:xfrm rot="6683114">
              <a:off x="3910027" y="332125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p:cNvSpPr/>
            <p:nvPr/>
          </p:nvSpPr>
          <p:spPr bwMode="auto">
            <a:xfrm>
              <a:off x="2570591" y="2702513"/>
              <a:ext cx="1713649" cy="812098"/>
            </a:xfrm>
            <a:custGeom>
              <a:avLst/>
              <a:gdLst>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77691"/>
                <a:gd name="connsiteY0" fmla="*/ 2392240 h 2406318"/>
                <a:gd name="connsiteX1" fmla="*/ 526473 w 5077691"/>
                <a:gd name="connsiteY1" fmla="*/ 2406095 h 2406318"/>
                <a:gd name="connsiteX2" fmla="*/ 921327 w 5077691"/>
                <a:gd name="connsiteY2" fmla="*/ 2399167 h 2406318"/>
                <a:gd name="connsiteX3" fmla="*/ 1025236 w 5077691"/>
                <a:gd name="connsiteY3" fmla="*/ 2378386 h 2406318"/>
                <a:gd name="connsiteX4" fmla="*/ 1101436 w 5077691"/>
                <a:gd name="connsiteY4" fmla="*/ 2239840 h 2406318"/>
                <a:gd name="connsiteX5" fmla="*/ 1129145 w 5077691"/>
                <a:gd name="connsiteY5" fmla="*/ 1713367 h 2406318"/>
                <a:gd name="connsiteX6" fmla="*/ 1253836 w 5077691"/>
                <a:gd name="connsiteY6" fmla="*/ 1221531 h 2406318"/>
                <a:gd name="connsiteX7" fmla="*/ 1551709 w 5077691"/>
                <a:gd name="connsiteY7" fmla="*/ 701986 h 2406318"/>
                <a:gd name="connsiteX8" fmla="*/ 2105891 w 5077691"/>
                <a:gd name="connsiteY8" fmla="*/ 244786 h 2406318"/>
                <a:gd name="connsiteX9" fmla="*/ 2646218 w 5077691"/>
                <a:gd name="connsiteY9" fmla="*/ 57750 h 2406318"/>
                <a:gd name="connsiteX10" fmla="*/ 3241964 w 5077691"/>
                <a:gd name="connsiteY10" fmla="*/ 2331 h 2406318"/>
                <a:gd name="connsiteX11" fmla="*/ 3837709 w 5077691"/>
                <a:gd name="connsiteY11" fmla="*/ 120094 h 2406318"/>
                <a:gd name="connsiteX12" fmla="*/ 4281055 w 5077691"/>
                <a:gd name="connsiteY12" fmla="*/ 341767 h 2406318"/>
                <a:gd name="connsiteX13" fmla="*/ 4717473 w 5077691"/>
                <a:gd name="connsiteY13" fmla="*/ 764331 h 2406318"/>
                <a:gd name="connsiteX14" fmla="*/ 4925291 w 5077691"/>
                <a:gd name="connsiteY14" fmla="*/ 1103767 h 2406318"/>
                <a:gd name="connsiteX15" fmla="*/ 5036127 w 5077691"/>
                <a:gd name="connsiteY15" fmla="*/ 1387786 h 2406318"/>
                <a:gd name="connsiteX16" fmla="*/ 5077691 w 5077691"/>
                <a:gd name="connsiteY16" fmla="*/ 1554040 h 240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77691" h="2406318">
                  <a:moveTo>
                    <a:pt x="0" y="2392240"/>
                  </a:moveTo>
                  <a:lnTo>
                    <a:pt x="526473" y="2406095"/>
                  </a:lnTo>
                  <a:cubicBezTo>
                    <a:pt x="680027" y="2407249"/>
                    <a:pt x="838200" y="2403785"/>
                    <a:pt x="921327" y="2399167"/>
                  </a:cubicBezTo>
                  <a:cubicBezTo>
                    <a:pt x="1004454" y="2394549"/>
                    <a:pt x="995218" y="2404940"/>
                    <a:pt x="1025236" y="2378386"/>
                  </a:cubicBezTo>
                  <a:cubicBezTo>
                    <a:pt x="1055254" y="2351832"/>
                    <a:pt x="1104900" y="2364532"/>
                    <a:pt x="1101436" y="2239840"/>
                  </a:cubicBezTo>
                  <a:cubicBezTo>
                    <a:pt x="1097972" y="2115148"/>
                    <a:pt x="1103745" y="1883085"/>
                    <a:pt x="1129145" y="1713367"/>
                  </a:cubicBezTo>
                  <a:cubicBezTo>
                    <a:pt x="1154545" y="1543649"/>
                    <a:pt x="1183409" y="1390094"/>
                    <a:pt x="1253836" y="1221531"/>
                  </a:cubicBezTo>
                  <a:cubicBezTo>
                    <a:pt x="1324263" y="1052968"/>
                    <a:pt x="1409700" y="864777"/>
                    <a:pt x="1551709" y="701986"/>
                  </a:cubicBezTo>
                  <a:cubicBezTo>
                    <a:pt x="1693718" y="539195"/>
                    <a:pt x="1923473" y="352159"/>
                    <a:pt x="2105891" y="244786"/>
                  </a:cubicBezTo>
                  <a:cubicBezTo>
                    <a:pt x="2288309" y="137413"/>
                    <a:pt x="2456873" y="98159"/>
                    <a:pt x="2646218" y="57750"/>
                  </a:cubicBezTo>
                  <a:cubicBezTo>
                    <a:pt x="2835564" y="17341"/>
                    <a:pt x="3043382" y="-8060"/>
                    <a:pt x="3241964" y="2331"/>
                  </a:cubicBezTo>
                  <a:cubicBezTo>
                    <a:pt x="3440546" y="12722"/>
                    <a:pt x="3664527" y="63521"/>
                    <a:pt x="3837709" y="120094"/>
                  </a:cubicBezTo>
                  <a:cubicBezTo>
                    <a:pt x="4010891" y="176667"/>
                    <a:pt x="4120574" y="241321"/>
                    <a:pt x="4281055" y="341767"/>
                  </a:cubicBezTo>
                  <a:cubicBezTo>
                    <a:pt x="4441536" y="442213"/>
                    <a:pt x="4610100" y="637331"/>
                    <a:pt x="4717473" y="764331"/>
                  </a:cubicBezTo>
                  <a:cubicBezTo>
                    <a:pt x="4824846" y="891331"/>
                    <a:pt x="4872182" y="999858"/>
                    <a:pt x="4925291" y="1103767"/>
                  </a:cubicBezTo>
                  <a:cubicBezTo>
                    <a:pt x="4978400" y="1207676"/>
                    <a:pt x="5010727" y="1312741"/>
                    <a:pt x="5036127" y="1387786"/>
                  </a:cubicBezTo>
                  <a:cubicBezTo>
                    <a:pt x="5061527" y="1462831"/>
                    <a:pt x="5069609" y="1508435"/>
                    <a:pt x="5077691" y="155404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p:cNvSpPr/>
            <p:nvPr/>
          </p:nvSpPr>
          <p:spPr bwMode="auto">
            <a:xfrm>
              <a:off x="2699161" y="3234492"/>
              <a:ext cx="121941" cy="163758"/>
            </a:xfrm>
            <a:custGeom>
              <a:avLst/>
              <a:gdLst>
                <a:gd name="connsiteX0" fmla="*/ 104438 w 376383"/>
                <a:gd name="connsiteY0" fmla="*/ 7725 h 508285"/>
                <a:gd name="connsiteX1" fmla="*/ 528 w 376383"/>
                <a:gd name="connsiteY1" fmla="*/ 194762 h 508285"/>
                <a:gd name="connsiteX2" fmla="*/ 69801 w 376383"/>
                <a:gd name="connsiteY2" fmla="*/ 388725 h 508285"/>
                <a:gd name="connsiteX3" fmla="*/ 194492 w 376383"/>
                <a:gd name="connsiteY3" fmla="*/ 485707 h 508285"/>
                <a:gd name="connsiteX4" fmla="*/ 291474 w 376383"/>
                <a:gd name="connsiteY4" fmla="*/ 499562 h 508285"/>
                <a:gd name="connsiteX5" fmla="*/ 374601 w 376383"/>
                <a:gd name="connsiteY5" fmla="*/ 374871 h 508285"/>
                <a:gd name="connsiteX6" fmla="*/ 339965 w 376383"/>
                <a:gd name="connsiteY6" fmla="*/ 173980 h 508285"/>
                <a:gd name="connsiteX7" fmla="*/ 242983 w 376383"/>
                <a:gd name="connsiteY7" fmla="*/ 49289 h 508285"/>
                <a:gd name="connsiteX8" fmla="*/ 104438 w 376383"/>
                <a:gd name="connsiteY8" fmla="*/ 7725 h 508285"/>
                <a:gd name="connsiteX0" fmla="*/ 97336 w 376209"/>
                <a:gd name="connsiteY0" fmla="*/ 10808 h 490586"/>
                <a:gd name="connsiteX1" fmla="*/ 354 w 376209"/>
                <a:gd name="connsiteY1" fmla="*/ 177063 h 490586"/>
                <a:gd name="connsiteX2" fmla="*/ 69627 w 376209"/>
                <a:gd name="connsiteY2" fmla="*/ 371026 h 490586"/>
                <a:gd name="connsiteX3" fmla="*/ 194318 w 376209"/>
                <a:gd name="connsiteY3" fmla="*/ 468008 h 490586"/>
                <a:gd name="connsiteX4" fmla="*/ 291300 w 376209"/>
                <a:gd name="connsiteY4" fmla="*/ 481863 h 490586"/>
                <a:gd name="connsiteX5" fmla="*/ 374427 w 376209"/>
                <a:gd name="connsiteY5" fmla="*/ 357172 h 490586"/>
                <a:gd name="connsiteX6" fmla="*/ 339791 w 376209"/>
                <a:gd name="connsiteY6" fmla="*/ 156281 h 490586"/>
                <a:gd name="connsiteX7" fmla="*/ 242809 w 376209"/>
                <a:gd name="connsiteY7" fmla="*/ 31590 h 490586"/>
                <a:gd name="connsiteX8" fmla="*/ 97336 w 376209"/>
                <a:gd name="connsiteY8" fmla="*/ 10808 h 490586"/>
                <a:gd name="connsiteX0" fmla="*/ 83600 w 362473"/>
                <a:gd name="connsiteY0" fmla="*/ 10808 h 490586"/>
                <a:gd name="connsiteX1" fmla="*/ 473 w 362473"/>
                <a:gd name="connsiteY1" fmla="*/ 177063 h 490586"/>
                <a:gd name="connsiteX2" fmla="*/ 55891 w 362473"/>
                <a:gd name="connsiteY2" fmla="*/ 371026 h 490586"/>
                <a:gd name="connsiteX3" fmla="*/ 180582 w 362473"/>
                <a:gd name="connsiteY3" fmla="*/ 468008 h 490586"/>
                <a:gd name="connsiteX4" fmla="*/ 277564 w 362473"/>
                <a:gd name="connsiteY4" fmla="*/ 481863 h 490586"/>
                <a:gd name="connsiteX5" fmla="*/ 360691 w 362473"/>
                <a:gd name="connsiteY5" fmla="*/ 357172 h 490586"/>
                <a:gd name="connsiteX6" fmla="*/ 326055 w 362473"/>
                <a:gd name="connsiteY6" fmla="*/ 156281 h 490586"/>
                <a:gd name="connsiteX7" fmla="*/ 229073 w 362473"/>
                <a:gd name="connsiteY7" fmla="*/ 31590 h 490586"/>
                <a:gd name="connsiteX8" fmla="*/ 83600 w 362473"/>
                <a:gd name="connsiteY8" fmla="*/ 10808 h 490586"/>
                <a:gd name="connsiteX0" fmla="*/ 83600 w 361759"/>
                <a:gd name="connsiteY0" fmla="*/ 10808 h 490586"/>
                <a:gd name="connsiteX1" fmla="*/ 473 w 361759"/>
                <a:gd name="connsiteY1" fmla="*/ 177063 h 490586"/>
                <a:gd name="connsiteX2" fmla="*/ 55891 w 361759"/>
                <a:gd name="connsiteY2" fmla="*/ 371026 h 490586"/>
                <a:gd name="connsiteX3" fmla="*/ 180582 w 361759"/>
                <a:gd name="connsiteY3" fmla="*/ 468008 h 490586"/>
                <a:gd name="connsiteX4" fmla="*/ 291418 w 361759"/>
                <a:gd name="connsiteY4" fmla="*/ 481863 h 490586"/>
                <a:gd name="connsiteX5" fmla="*/ 360691 w 361759"/>
                <a:gd name="connsiteY5" fmla="*/ 357172 h 490586"/>
                <a:gd name="connsiteX6" fmla="*/ 326055 w 361759"/>
                <a:gd name="connsiteY6" fmla="*/ 156281 h 490586"/>
                <a:gd name="connsiteX7" fmla="*/ 229073 w 361759"/>
                <a:gd name="connsiteY7" fmla="*/ 31590 h 490586"/>
                <a:gd name="connsiteX8" fmla="*/ 83600 w 361759"/>
                <a:gd name="connsiteY8" fmla="*/ 10808 h 490586"/>
                <a:gd name="connsiteX0" fmla="*/ 85293 w 363452"/>
                <a:gd name="connsiteY0" fmla="*/ 10808 h 490586"/>
                <a:gd name="connsiteX1" fmla="*/ 2166 w 363452"/>
                <a:gd name="connsiteY1" fmla="*/ 177063 h 490586"/>
                <a:gd name="connsiteX2" fmla="*/ 57584 w 363452"/>
                <a:gd name="connsiteY2" fmla="*/ 371026 h 490586"/>
                <a:gd name="connsiteX3" fmla="*/ 182275 w 363452"/>
                <a:gd name="connsiteY3" fmla="*/ 468008 h 490586"/>
                <a:gd name="connsiteX4" fmla="*/ 293111 w 363452"/>
                <a:gd name="connsiteY4" fmla="*/ 481863 h 490586"/>
                <a:gd name="connsiteX5" fmla="*/ 362384 w 363452"/>
                <a:gd name="connsiteY5" fmla="*/ 357172 h 490586"/>
                <a:gd name="connsiteX6" fmla="*/ 327748 w 363452"/>
                <a:gd name="connsiteY6" fmla="*/ 156281 h 490586"/>
                <a:gd name="connsiteX7" fmla="*/ 230766 w 363452"/>
                <a:gd name="connsiteY7" fmla="*/ 31590 h 490586"/>
                <a:gd name="connsiteX8" fmla="*/ 85293 w 363452"/>
                <a:gd name="connsiteY8" fmla="*/ 10808 h 490586"/>
                <a:gd name="connsiteX0" fmla="*/ 62382 w 361323"/>
                <a:gd name="connsiteY0" fmla="*/ 12378 h 485229"/>
                <a:gd name="connsiteX1" fmla="*/ 37 w 361323"/>
                <a:gd name="connsiteY1" fmla="*/ 171706 h 485229"/>
                <a:gd name="connsiteX2" fmla="*/ 55455 w 361323"/>
                <a:gd name="connsiteY2" fmla="*/ 365669 h 485229"/>
                <a:gd name="connsiteX3" fmla="*/ 180146 w 361323"/>
                <a:gd name="connsiteY3" fmla="*/ 462651 h 485229"/>
                <a:gd name="connsiteX4" fmla="*/ 290982 w 361323"/>
                <a:gd name="connsiteY4" fmla="*/ 476506 h 485229"/>
                <a:gd name="connsiteX5" fmla="*/ 360255 w 361323"/>
                <a:gd name="connsiteY5" fmla="*/ 351815 h 485229"/>
                <a:gd name="connsiteX6" fmla="*/ 325619 w 361323"/>
                <a:gd name="connsiteY6" fmla="*/ 150924 h 485229"/>
                <a:gd name="connsiteX7" fmla="*/ 228637 w 361323"/>
                <a:gd name="connsiteY7" fmla="*/ 26233 h 485229"/>
                <a:gd name="connsiteX8" fmla="*/ 62382 w 361323"/>
                <a:gd name="connsiteY8" fmla="*/ 12378 h 48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3" h="485229">
                  <a:moveTo>
                    <a:pt x="62382" y="12378"/>
                  </a:moveTo>
                  <a:cubicBezTo>
                    <a:pt x="24282" y="36623"/>
                    <a:pt x="1191" y="112824"/>
                    <a:pt x="37" y="171706"/>
                  </a:cubicBezTo>
                  <a:cubicBezTo>
                    <a:pt x="-1117" y="230588"/>
                    <a:pt x="25437" y="317178"/>
                    <a:pt x="55455" y="365669"/>
                  </a:cubicBezTo>
                  <a:cubicBezTo>
                    <a:pt x="85473" y="414160"/>
                    <a:pt x="140892" y="444178"/>
                    <a:pt x="180146" y="462651"/>
                  </a:cubicBezTo>
                  <a:cubicBezTo>
                    <a:pt x="219401" y="481124"/>
                    <a:pt x="260964" y="494979"/>
                    <a:pt x="290982" y="476506"/>
                  </a:cubicBezTo>
                  <a:cubicBezTo>
                    <a:pt x="321000" y="458033"/>
                    <a:pt x="354482" y="406079"/>
                    <a:pt x="360255" y="351815"/>
                  </a:cubicBezTo>
                  <a:cubicBezTo>
                    <a:pt x="366028" y="297551"/>
                    <a:pt x="347555" y="205188"/>
                    <a:pt x="325619" y="150924"/>
                  </a:cubicBezTo>
                  <a:cubicBezTo>
                    <a:pt x="303683" y="96660"/>
                    <a:pt x="272510" y="49324"/>
                    <a:pt x="228637" y="26233"/>
                  </a:cubicBezTo>
                  <a:cubicBezTo>
                    <a:pt x="184764" y="3142"/>
                    <a:pt x="100482" y="-11867"/>
                    <a:pt x="62382" y="1237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Freeform: Shape 87"/>
            <p:cNvSpPr/>
            <p:nvPr/>
          </p:nvSpPr>
          <p:spPr bwMode="auto">
            <a:xfrm>
              <a:off x="2746898" y="3252696"/>
              <a:ext cx="59817" cy="128846"/>
            </a:xfrm>
            <a:custGeom>
              <a:avLst/>
              <a:gdLst>
                <a:gd name="connsiteX0" fmla="*/ 79417 w 155617"/>
                <a:gd name="connsiteY0" fmla="*/ 0 h 381782"/>
                <a:gd name="connsiteX1" fmla="*/ 10144 w 155617"/>
                <a:gd name="connsiteY1" fmla="*/ 90055 h 381782"/>
                <a:gd name="connsiteX2" fmla="*/ 3217 w 155617"/>
                <a:gd name="connsiteY2" fmla="*/ 207818 h 381782"/>
                <a:gd name="connsiteX3" fmla="*/ 37853 w 155617"/>
                <a:gd name="connsiteY3" fmla="*/ 346364 h 381782"/>
                <a:gd name="connsiteX4" fmla="*/ 100199 w 155617"/>
                <a:gd name="connsiteY4" fmla="*/ 381000 h 381782"/>
                <a:gd name="connsiteX5" fmla="*/ 155617 w 155617"/>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74913"/>
                <a:gd name="connsiteY0" fmla="*/ 0 h 381782"/>
                <a:gd name="connsiteX1" fmla="*/ 15586 w 174913"/>
                <a:gd name="connsiteY1" fmla="*/ 90055 h 381782"/>
                <a:gd name="connsiteX2" fmla="*/ 1731 w 174913"/>
                <a:gd name="connsiteY2" fmla="*/ 200891 h 381782"/>
                <a:gd name="connsiteX3" fmla="*/ 43295 w 174913"/>
                <a:gd name="connsiteY3" fmla="*/ 346364 h 381782"/>
                <a:gd name="connsiteX4" fmla="*/ 105641 w 174913"/>
                <a:gd name="connsiteY4" fmla="*/ 381000 h 381782"/>
                <a:gd name="connsiteX5" fmla="*/ 174913 w 174913"/>
                <a:gd name="connsiteY5" fmla="*/ 367146 h 381782"/>
                <a:gd name="connsiteX0" fmla="*/ 87188 w 177242"/>
                <a:gd name="connsiteY0" fmla="*/ 0 h 381782"/>
                <a:gd name="connsiteX1" fmla="*/ 10987 w 177242"/>
                <a:gd name="connsiteY1" fmla="*/ 90055 h 381782"/>
                <a:gd name="connsiteX2" fmla="*/ 4060 w 177242"/>
                <a:gd name="connsiteY2" fmla="*/ 200891 h 381782"/>
                <a:gd name="connsiteX3" fmla="*/ 45624 w 177242"/>
                <a:gd name="connsiteY3" fmla="*/ 346364 h 381782"/>
                <a:gd name="connsiteX4" fmla="*/ 107970 w 177242"/>
                <a:gd name="connsiteY4" fmla="*/ 381000 h 381782"/>
                <a:gd name="connsiteX5" fmla="*/ 177242 w 177242"/>
                <a:gd name="connsiteY5" fmla="*/ 367146 h 3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242" h="381782">
                  <a:moveTo>
                    <a:pt x="87188" y="0"/>
                  </a:moveTo>
                  <a:cubicBezTo>
                    <a:pt x="58901" y="27709"/>
                    <a:pt x="24842" y="56573"/>
                    <a:pt x="10987" y="90055"/>
                  </a:cubicBezTo>
                  <a:cubicBezTo>
                    <a:pt x="-2868" y="123537"/>
                    <a:pt x="-1713" y="158173"/>
                    <a:pt x="4060" y="200891"/>
                  </a:cubicBezTo>
                  <a:cubicBezTo>
                    <a:pt x="9833" y="243609"/>
                    <a:pt x="28306" y="316346"/>
                    <a:pt x="45624" y="346364"/>
                  </a:cubicBezTo>
                  <a:cubicBezTo>
                    <a:pt x="62942" y="376382"/>
                    <a:pt x="86034" y="377536"/>
                    <a:pt x="107970" y="381000"/>
                  </a:cubicBezTo>
                  <a:cubicBezTo>
                    <a:pt x="129906" y="384464"/>
                    <a:pt x="159346" y="375805"/>
                    <a:pt x="177242" y="367146"/>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p:cNvSpPr/>
            <p:nvPr/>
          </p:nvSpPr>
          <p:spPr bwMode="auto">
            <a:xfrm>
              <a:off x="4340667" y="2560687"/>
              <a:ext cx="190414" cy="46378"/>
            </a:xfrm>
            <a:custGeom>
              <a:avLst/>
              <a:gdLst>
                <a:gd name="connsiteX0" fmla="*/ 144530 w 564212"/>
                <a:gd name="connsiteY0" fmla="*/ 117774 h 137423"/>
                <a:gd name="connsiteX1" fmla="*/ 428548 w 564212"/>
                <a:gd name="connsiteY1" fmla="*/ 131629 h 137423"/>
                <a:gd name="connsiteX2" fmla="*/ 553239 w 564212"/>
                <a:gd name="connsiteY2" fmla="*/ 20792 h 137423"/>
                <a:gd name="connsiteX3" fmla="*/ 511676 w 564212"/>
                <a:gd name="connsiteY3" fmla="*/ 10 h 137423"/>
                <a:gd name="connsiteX4" fmla="*/ 144530 w 564212"/>
                <a:gd name="connsiteY4" fmla="*/ 20792 h 137423"/>
                <a:gd name="connsiteX5" fmla="*/ 26767 w 564212"/>
                <a:gd name="connsiteY5" fmla="*/ 34647 h 137423"/>
                <a:gd name="connsiteX6" fmla="*/ 5985 w 564212"/>
                <a:gd name="connsiteY6" fmla="*/ 83138 h 137423"/>
                <a:gd name="connsiteX7" fmla="*/ 144530 w 564212"/>
                <a:gd name="connsiteY7" fmla="*/ 117774 h 137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4212" h="137423">
                  <a:moveTo>
                    <a:pt x="144530" y="117774"/>
                  </a:moveTo>
                  <a:cubicBezTo>
                    <a:pt x="214957" y="125856"/>
                    <a:pt x="360430" y="147793"/>
                    <a:pt x="428548" y="131629"/>
                  </a:cubicBezTo>
                  <a:cubicBezTo>
                    <a:pt x="496666" y="115465"/>
                    <a:pt x="539384" y="42728"/>
                    <a:pt x="553239" y="20792"/>
                  </a:cubicBezTo>
                  <a:cubicBezTo>
                    <a:pt x="567094" y="-1144"/>
                    <a:pt x="579794" y="10"/>
                    <a:pt x="511676" y="10"/>
                  </a:cubicBezTo>
                  <a:cubicBezTo>
                    <a:pt x="443558" y="10"/>
                    <a:pt x="225348" y="15019"/>
                    <a:pt x="144530" y="20792"/>
                  </a:cubicBezTo>
                  <a:cubicBezTo>
                    <a:pt x="63712" y="26565"/>
                    <a:pt x="49858" y="24256"/>
                    <a:pt x="26767" y="34647"/>
                  </a:cubicBezTo>
                  <a:cubicBezTo>
                    <a:pt x="3676" y="45038"/>
                    <a:pt x="-7869" y="69284"/>
                    <a:pt x="5985" y="83138"/>
                  </a:cubicBezTo>
                  <a:cubicBezTo>
                    <a:pt x="19839" y="96992"/>
                    <a:pt x="74103" y="109692"/>
                    <a:pt x="144530" y="11777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Shape 89"/>
            <p:cNvSpPr/>
            <p:nvPr/>
          </p:nvSpPr>
          <p:spPr bwMode="auto">
            <a:xfrm>
              <a:off x="2610335" y="2331581"/>
              <a:ext cx="1804826" cy="353016"/>
            </a:xfrm>
            <a:custGeom>
              <a:avLst/>
              <a:gdLst>
                <a:gd name="connsiteX0" fmla="*/ 0 w 5320146"/>
                <a:gd name="connsiteY0" fmla="*/ 1046018 h 1046018"/>
                <a:gd name="connsiteX1" fmla="*/ 581891 w 5320146"/>
                <a:gd name="connsiteY1" fmla="*/ 762000 h 1046018"/>
                <a:gd name="connsiteX2" fmla="*/ 1371600 w 5320146"/>
                <a:gd name="connsiteY2" fmla="*/ 540327 h 1046018"/>
                <a:gd name="connsiteX3" fmla="*/ 2528455 w 5320146"/>
                <a:gd name="connsiteY3" fmla="*/ 325582 h 1046018"/>
                <a:gd name="connsiteX4" fmla="*/ 3913909 w 5320146"/>
                <a:gd name="connsiteY4" fmla="*/ 138545 h 1046018"/>
                <a:gd name="connsiteX5" fmla="*/ 4814455 w 5320146"/>
                <a:gd name="connsiteY5" fmla="*/ 34636 h 1046018"/>
                <a:gd name="connsiteX6" fmla="*/ 5320146 w 5320146"/>
                <a:gd name="connsiteY6" fmla="*/ 0 h 1046018"/>
                <a:gd name="connsiteX0" fmla="*/ 0 w 5347855"/>
                <a:gd name="connsiteY0" fmla="*/ 1046018 h 1046018"/>
                <a:gd name="connsiteX1" fmla="*/ 581891 w 5347855"/>
                <a:gd name="connsiteY1" fmla="*/ 762000 h 1046018"/>
                <a:gd name="connsiteX2" fmla="*/ 1371600 w 5347855"/>
                <a:gd name="connsiteY2" fmla="*/ 540327 h 1046018"/>
                <a:gd name="connsiteX3" fmla="*/ 2528455 w 5347855"/>
                <a:gd name="connsiteY3" fmla="*/ 325582 h 1046018"/>
                <a:gd name="connsiteX4" fmla="*/ 3913909 w 5347855"/>
                <a:gd name="connsiteY4" fmla="*/ 138545 h 1046018"/>
                <a:gd name="connsiteX5" fmla="*/ 4814455 w 5347855"/>
                <a:gd name="connsiteY5" fmla="*/ 34636 h 1046018"/>
                <a:gd name="connsiteX6" fmla="*/ 5347855 w 5347855"/>
                <a:gd name="connsiteY6" fmla="*/ 0 h 10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7855" h="1046018">
                  <a:moveTo>
                    <a:pt x="0" y="1046018"/>
                  </a:moveTo>
                  <a:cubicBezTo>
                    <a:pt x="176645" y="946150"/>
                    <a:pt x="353291" y="846282"/>
                    <a:pt x="581891" y="762000"/>
                  </a:cubicBezTo>
                  <a:cubicBezTo>
                    <a:pt x="810491" y="677718"/>
                    <a:pt x="1047173" y="613063"/>
                    <a:pt x="1371600" y="540327"/>
                  </a:cubicBezTo>
                  <a:cubicBezTo>
                    <a:pt x="1696027" y="467591"/>
                    <a:pt x="2104737" y="392546"/>
                    <a:pt x="2528455" y="325582"/>
                  </a:cubicBezTo>
                  <a:cubicBezTo>
                    <a:pt x="2952173" y="258618"/>
                    <a:pt x="3532909" y="187036"/>
                    <a:pt x="3913909" y="138545"/>
                  </a:cubicBezTo>
                  <a:cubicBezTo>
                    <a:pt x="4294909" y="90054"/>
                    <a:pt x="4575464" y="57727"/>
                    <a:pt x="4814455" y="34636"/>
                  </a:cubicBezTo>
                  <a:cubicBezTo>
                    <a:pt x="5053446" y="11545"/>
                    <a:pt x="5212196" y="5772"/>
                    <a:pt x="5347855"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p:cNvSpPr/>
            <p:nvPr/>
          </p:nvSpPr>
          <p:spPr bwMode="auto">
            <a:xfrm>
              <a:off x="2900229" y="2357297"/>
              <a:ext cx="1713649" cy="292232"/>
            </a:xfrm>
            <a:custGeom>
              <a:avLst/>
              <a:gdLst>
                <a:gd name="connsiteX0" fmla="*/ 5077691 w 5077691"/>
                <a:gd name="connsiteY0" fmla="*/ 0 h 865909"/>
                <a:gd name="connsiteX1" fmla="*/ 4918364 w 5077691"/>
                <a:gd name="connsiteY1" fmla="*/ 103909 h 865909"/>
                <a:gd name="connsiteX2" fmla="*/ 4475019 w 5077691"/>
                <a:gd name="connsiteY2" fmla="*/ 228600 h 865909"/>
                <a:gd name="connsiteX3" fmla="*/ 3851564 w 5077691"/>
                <a:gd name="connsiteY3" fmla="*/ 297872 h 865909"/>
                <a:gd name="connsiteX4" fmla="*/ 2930237 w 5077691"/>
                <a:gd name="connsiteY4" fmla="*/ 381000 h 865909"/>
                <a:gd name="connsiteX5" fmla="*/ 1953491 w 5077691"/>
                <a:gd name="connsiteY5" fmla="*/ 477982 h 865909"/>
                <a:gd name="connsiteX6" fmla="*/ 1094510 w 5077691"/>
                <a:gd name="connsiteY6" fmla="*/ 609600 h 865909"/>
                <a:gd name="connsiteX7" fmla="*/ 526473 w 5077691"/>
                <a:gd name="connsiteY7" fmla="*/ 699654 h 865909"/>
                <a:gd name="connsiteX8" fmla="*/ 96982 w 5077691"/>
                <a:gd name="connsiteY8" fmla="*/ 831272 h 865909"/>
                <a:gd name="connsiteX9" fmla="*/ 0 w 5077691"/>
                <a:gd name="connsiteY9" fmla="*/ 865909 h 8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7691" h="865909">
                  <a:moveTo>
                    <a:pt x="5077691" y="0"/>
                  </a:moveTo>
                  <a:cubicBezTo>
                    <a:pt x="5048250" y="32904"/>
                    <a:pt x="5018809" y="65809"/>
                    <a:pt x="4918364" y="103909"/>
                  </a:cubicBezTo>
                  <a:cubicBezTo>
                    <a:pt x="4817919" y="142009"/>
                    <a:pt x="4652819" y="196273"/>
                    <a:pt x="4475019" y="228600"/>
                  </a:cubicBezTo>
                  <a:cubicBezTo>
                    <a:pt x="4297219" y="260927"/>
                    <a:pt x="3851564" y="297872"/>
                    <a:pt x="3851564" y="297872"/>
                  </a:cubicBezTo>
                  <a:lnTo>
                    <a:pt x="2930237" y="381000"/>
                  </a:lnTo>
                  <a:cubicBezTo>
                    <a:pt x="2613892" y="411018"/>
                    <a:pt x="2259445" y="439882"/>
                    <a:pt x="1953491" y="477982"/>
                  </a:cubicBezTo>
                  <a:cubicBezTo>
                    <a:pt x="1647537" y="516082"/>
                    <a:pt x="1094510" y="609600"/>
                    <a:pt x="1094510" y="609600"/>
                  </a:cubicBezTo>
                  <a:cubicBezTo>
                    <a:pt x="856674" y="646545"/>
                    <a:pt x="692728" y="662709"/>
                    <a:pt x="526473" y="699654"/>
                  </a:cubicBezTo>
                  <a:cubicBezTo>
                    <a:pt x="360218" y="736599"/>
                    <a:pt x="184727" y="803563"/>
                    <a:pt x="96982" y="831272"/>
                  </a:cubicBezTo>
                  <a:cubicBezTo>
                    <a:pt x="9236" y="858981"/>
                    <a:pt x="4618" y="862445"/>
                    <a:pt x="0" y="86590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p:cNvSpPr/>
            <p:nvPr/>
          </p:nvSpPr>
          <p:spPr bwMode="auto">
            <a:xfrm>
              <a:off x="2914256" y="2485880"/>
              <a:ext cx="1713649" cy="161312"/>
            </a:xfrm>
            <a:custGeom>
              <a:avLst/>
              <a:gdLst>
                <a:gd name="connsiteX0" fmla="*/ 0 w 5077691"/>
                <a:gd name="connsiteY0" fmla="*/ 477982 h 477982"/>
                <a:gd name="connsiteX1" fmla="*/ 727364 w 5077691"/>
                <a:gd name="connsiteY1" fmla="*/ 339436 h 477982"/>
                <a:gd name="connsiteX2" fmla="*/ 1711036 w 5077691"/>
                <a:gd name="connsiteY2" fmla="*/ 214745 h 477982"/>
                <a:gd name="connsiteX3" fmla="*/ 2902527 w 5077691"/>
                <a:gd name="connsiteY3" fmla="*/ 117763 h 477982"/>
                <a:gd name="connsiteX4" fmla="*/ 4135582 w 5077691"/>
                <a:gd name="connsiteY4" fmla="*/ 34636 h 477982"/>
                <a:gd name="connsiteX5" fmla="*/ 4807527 w 5077691"/>
                <a:gd name="connsiteY5" fmla="*/ 13854 h 477982"/>
                <a:gd name="connsiteX6" fmla="*/ 5077691 w 5077691"/>
                <a:gd name="connsiteY6" fmla="*/ 0 h 47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7691" h="477982">
                  <a:moveTo>
                    <a:pt x="0" y="477982"/>
                  </a:moveTo>
                  <a:cubicBezTo>
                    <a:pt x="221095" y="430645"/>
                    <a:pt x="442191" y="383309"/>
                    <a:pt x="727364" y="339436"/>
                  </a:cubicBezTo>
                  <a:cubicBezTo>
                    <a:pt x="1012537" y="295563"/>
                    <a:pt x="1348509" y="251690"/>
                    <a:pt x="1711036" y="214745"/>
                  </a:cubicBezTo>
                  <a:cubicBezTo>
                    <a:pt x="2073563" y="177800"/>
                    <a:pt x="2902527" y="117763"/>
                    <a:pt x="2902527" y="117763"/>
                  </a:cubicBezTo>
                  <a:lnTo>
                    <a:pt x="4135582" y="34636"/>
                  </a:lnTo>
                  <a:cubicBezTo>
                    <a:pt x="4453082" y="17318"/>
                    <a:pt x="4650509" y="19627"/>
                    <a:pt x="4807527" y="13854"/>
                  </a:cubicBezTo>
                  <a:cubicBezTo>
                    <a:pt x="4964545" y="8081"/>
                    <a:pt x="5021118" y="4040"/>
                    <a:pt x="507769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p:cNvSpPr/>
            <p:nvPr/>
          </p:nvSpPr>
          <p:spPr bwMode="auto">
            <a:xfrm>
              <a:off x="2599280" y="2647492"/>
              <a:ext cx="745142" cy="300813"/>
            </a:xfrm>
            <a:custGeom>
              <a:avLst/>
              <a:gdLst>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32951 w 2219642"/>
                <a:gd name="connsiteY15" fmla="*/ 518656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1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23896 w 2219642"/>
                <a:gd name="connsiteY16" fmla="*/ 276202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51605 w 2219642"/>
                <a:gd name="connsiteY16" fmla="*/ 269274 h 891334"/>
                <a:gd name="connsiteX0" fmla="*/ 2214013 w 2214013"/>
                <a:gd name="connsiteY0" fmla="*/ 553292 h 891334"/>
                <a:gd name="connsiteX1" fmla="*/ 1860722 w 2214013"/>
                <a:gd name="connsiteY1" fmla="*/ 338547 h 891334"/>
                <a:gd name="connsiteX2" fmla="*/ 1278831 w 2214013"/>
                <a:gd name="connsiteY2" fmla="*/ 109947 h 891334"/>
                <a:gd name="connsiteX3" fmla="*/ 925541 w 2214013"/>
                <a:gd name="connsiteY3" fmla="*/ 6038 h 891334"/>
                <a:gd name="connsiteX4" fmla="*/ 579177 w 2214013"/>
                <a:gd name="connsiteY4" fmla="*/ 19892 h 891334"/>
                <a:gd name="connsiteX5" fmla="*/ 295159 w 2214013"/>
                <a:gd name="connsiteY5" fmla="*/ 82238 h 891334"/>
                <a:gd name="connsiteX6" fmla="*/ 87341 w 2214013"/>
                <a:gd name="connsiteY6" fmla="*/ 206929 h 891334"/>
                <a:gd name="connsiteX7" fmla="*/ 31922 w 2214013"/>
                <a:gd name="connsiteY7" fmla="*/ 435529 h 891334"/>
                <a:gd name="connsiteX8" fmla="*/ 4213 w 2214013"/>
                <a:gd name="connsiteY8" fmla="*/ 719547 h 891334"/>
                <a:gd name="connsiteX9" fmla="*/ 121977 w 2214013"/>
                <a:gd name="connsiteY9" fmla="*/ 802674 h 891334"/>
                <a:gd name="connsiteX10" fmla="*/ 267450 w 2214013"/>
                <a:gd name="connsiteY10" fmla="*/ 809601 h 891334"/>
                <a:gd name="connsiteX11" fmla="*/ 357504 w 2214013"/>
                <a:gd name="connsiteY11" fmla="*/ 871947 h 891334"/>
                <a:gd name="connsiteX12" fmla="*/ 461413 w 2214013"/>
                <a:gd name="connsiteY12" fmla="*/ 885801 h 891334"/>
                <a:gd name="connsiteX13" fmla="*/ 821631 w 2214013"/>
                <a:gd name="connsiteY13" fmla="*/ 788820 h 891334"/>
                <a:gd name="connsiteX14" fmla="*/ 1313467 w 2214013"/>
                <a:gd name="connsiteY14" fmla="*/ 511729 h 891334"/>
                <a:gd name="connsiteX15" fmla="*/ 1645976 w 2214013"/>
                <a:gd name="connsiteY15" fmla="*/ 269274 h 891334"/>
                <a:gd name="connsiteX0" fmla="*/ 2214123 w 2214123"/>
                <a:gd name="connsiteY0" fmla="*/ 553292 h 891334"/>
                <a:gd name="connsiteX1" fmla="*/ 1860832 w 2214123"/>
                <a:gd name="connsiteY1" fmla="*/ 338547 h 891334"/>
                <a:gd name="connsiteX2" fmla="*/ 1278941 w 2214123"/>
                <a:gd name="connsiteY2" fmla="*/ 109947 h 891334"/>
                <a:gd name="connsiteX3" fmla="*/ 925651 w 2214123"/>
                <a:gd name="connsiteY3" fmla="*/ 6038 h 891334"/>
                <a:gd name="connsiteX4" fmla="*/ 579287 w 2214123"/>
                <a:gd name="connsiteY4" fmla="*/ 19892 h 891334"/>
                <a:gd name="connsiteX5" fmla="*/ 295269 w 2214123"/>
                <a:gd name="connsiteY5" fmla="*/ 82238 h 891334"/>
                <a:gd name="connsiteX6" fmla="*/ 94378 w 2214123"/>
                <a:gd name="connsiteY6" fmla="*/ 206929 h 891334"/>
                <a:gd name="connsiteX7" fmla="*/ 32032 w 2214123"/>
                <a:gd name="connsiteY7" fmla="*/ 435529 h 891334"/>
                <a:gd name="connsiteX8" fmla="*/ 4323 w 2214123"/>
                <a:gd name="connsiteY8" fmla="*/ 719547 h 891334"/>
                <a:gd name="connsiteX9" fmla="*/ 122087 w 2214123"/>
                <a:gd name="connsiteY9" fmla="*/ 802674 h 891334"/>
                <a:gd name="connsiteX10" fmla="*/ 267560 w 2214123"/>
                <a:gd name="connsiteY10" fmla="*/ 809601 h 891334"/>
                <a:gd name="connsiteX11" fmla="*/ 357614 w 2214123"/>
                <a:gd name="connsiteY11" fmla="*/ 871947 h 891334"/>
                <a:gd name="connsiteX12" fmla="*/ 461523 w 2214123"/>
                <a:gd name="connsiteY12" fmla="*/ 885801 h 891334"/>
                <a:gd name="connsiteX13" fmla="*/ 821741 w 2214123"/>
                <a:gd name="connsiteY13" fmla="*/ 788820 h 891334"/>
                <a:gd name="connsiteX14" fmla="*/ 1313577 w 2214123"/>
                <a:gd name="connsiteY14" fmla="*/ 511729 h 891334"/>
                <a:gd name="connsiteX15" fmla="*/ 1646086 w 2214123"/>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07919" h="891334">
                  <a:moveTo>
                    <a:pt x="2207919" y="553292"/>
                  </a:moveTo>
                  <a:cubicBezTo>
                    <a:pt x="2109205" y="482865"/>
                    <a:pt x="2017419" y="398584"/>
                    <a:pt x="1854628" y="338547"/>
                  </a:cubicBezTo>
                  <a:cubicBezTo>
                    <a:pt x="1691837" y="278510"/>
                    <a:pt x="1428600" y="165365"/>
                    <a:pt x="1272737" y="109947"/>
                  </a:cubicBezTo>
                  <a:cubicBezTo>
                    <a:pt x="1116874" y="54529"/>
                    <a:pt x="1036056" y="21047"/>
                    <a:pt x="919447" y="6038"/>
                  </a:cubicBezTo>
                  <a:cubicBezTo>
                    <a:pt x="802838" y="-8971"/>
                    <a:pt x="678147" y="7192"/>
                    <a:pt x="573083" y="19892"/>
                  </a:cubicBezTo>
                  <a:cubicBezTo>
                    <a:pt x="468019" y="32592"/>
                    <a:pt x="369883" y="51065"/>
                    <a:pt x="289065" y="82238"/>
                  </a:cubicBezTo>
                  <a:cubicBezTo>
                    <a:pt x="208247" y="113411"/>
                    <a:pt x="132047" y="148047"/>
                    <a:pt x="88174" y="206929"/>
                  </a:cubicBezTo>
                  <a:cubicBezTo>
                    <a:pt x="44301" y="265811"/>
                    <a:pt x="39683" y="344320"/>
                    <a:pt x="25828" y="435529"/>
                  </a:cubicBezTo>
                  <a:cubicBezTo>
                    <a:pt x="11973" y="526738"/>
                    <a:pt x="-9963" y="692992"/>
                    <a:pt x="5046" y="754183"/>
                  </a:cubicBezTo>
                  <a:cubicBezTo>
                    <a:pt x="20055" y="815374"/>
                    <a:pt x="73165" y="793438"/>
                    <a:pt x="115883" y="802674"/>
                  </a:cubicBezTo>
                  <a:cubicBezTo>
                    <a:pt x="158601" y="811910"/>
                    <a:pt x="222102" y="798056"/>
                    <a:pt x="261356" y="809601"/>
                  </a:cubicBezTo>
                  <a:cubicBezTo>
                    <a:pt x="300610" y="821146"/>
                    <a:pt x="319083" y="859247"/>
                    <a:pt x="351410" y="871947"/>
                  </a:cubicBezTo>
                  <a:cubicBezTo>
                    <a:pt x="383737" y="884647"/>
                    <a:pt x="377965" y="899655"/>
                    <a:pt x="455319" y="885801"/>
                  </a:cubicBezTo>
                  <a:cubicBezTo>
                    <a:pt x="532673" y="871947"/>
                    <a:pt x="673528" y="851165"/>
                    <a:pt x="815537" y="788820"/>
                  </a:cubicBezTo>
                  <a:cubicBezTo>
                    <a:pt x="957546" y="726475"/>
                    <a:pt x="1169982" y="598320"/>
                    <a:pt x="1307373" y="511729"/>
                  </a:cubicBezTo>
                  <a:cubicBezTo>
                    <a:pt x="1444764" y="425138"/>
                    <a:pt x="1543477" y="353555"/>
                    <a:pt x="1639882" y="26927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p:cNvSpPr/>
            <p:nvPr/>
          </p:nvSpPr>
          <p:spPr bwMode="auto">
            <a:xfrm>
              <a:off x="2467395" y="3055147"/>
              <a:ext cx="462537" cy="85624"/>
            </a:xfrm>
            <a:custGeom>
              <a:avLst/>
              <a:gdLst>
                <a:gd name="connsiteX0" fmla="*/ 432524 w 1358737"/>
                <a:gd name="connsiteY0" fmla="*/ 255575 h 269762"/>
                <a:gd name="connsiteX1" fmla="*/ 1007488 w 1358737"/>
                <a:gd name="connsiteY1" fmla="*/ 262502 h 269762"/>
                <a:gd name="connsiteX2" fmla="*/ 1222234 w 1358737"/>
                <a:gd name="connsiteY2" fmla="*/ 214011 h 269762"/>
                <a:gd name="connsiteX3" fmla="*/ 1353852 w 1358737"/>
                <a:gd name="connsiteY3" fmla="*/ 54684 h 269762"/>
                <a:gd name="connsiteX4" fmla="*/ 1236088 w 1358737"/>
                <a:gd name="connsiteY4" fmla="*/ 33902 h 269762"/>
                <a:gd name="connsiteX5" fmla="*/ 425597 w 1358737"/>
                <a:gd name="connsiteY5" fmla="*/ 20047 h 269762"/>
                <a:gd name="connsiteX6" fmla="*/ 120797 w 1358737"/>
                <a:gd name="connsiteY6" fmla="*/ 6193 h 269762"/>
                <a:gd name="connsiteX7" fmla="*/ 23815 w 1358737"/>
                <a:gd name="connsiteY7" fmla="*/ 6193 h 269762"/>
                <a:gd name="connsiteX8" fmla="*/ 3034 w 1358737"/>
                <a:gd name="connsiteY8" fmla="*/ 82393 h 269762"/>
                <a:gd name="connsiteX9" fmla="*/ 3034 w 1358737"/>
                <a:gd name="connsiteY9" fmla="*/ 227865 h 269762"/>
                <a:gd name="connsiteX10" fmla="*/ 23815 w 1358737"/>
                <a:gd name="connsiteY10" fmla="*/ 262502 h 269762"/>
                <a:gd name="connsiteX11" fmla="*/ 238561 w 1358737"/>
                <a:gd name="connsiteY11" fmla="*/ 269429 h 269762"/>
                <a:gd name="connsiteX12" fmla="*/ 550288 w 1358737"/>
                <a:gd name="connsiteY12" fmla="*/ 269429 h 269762"/>
                <a:gd name="connsiteX13" fmla="*/ 432524 w 1358737"/>
                <a:gd name="connsiteY13" fmla="*/ 255575 h 269762"/>
                <a:gd name="connsiteX0" fmla="*/ 550288 w 1358737"/>
                <a:gd name="connsiteY0" fmla="*/ 269429 h 270294"/>
                <a:gd name="connsiteX1" fmla="*/ 1007488 w 1358737"/>
                <a:gd name="connsiteY1" fmla="*/ 262502 h 270294"/>
                <a:gd name="connsiteX2" fmla="*/ 1222234 w 1358737"/>
                <a:gd name="connsiteY2" fmla="*/ 214011 h 270294"/>
                <a:gd name="connsiteX3" fmla="*/ 1353852 w 1358737"/>
                <a:gd name="connsiteY3" fmla="*/ 54684 h 270294"/>
                <a:gd name="connsiteX4" fmla="*/ 1236088 w 1358737"/>
                <a:gd name="connsiteY4" fmla="*/ 33902 h 270294"/>
                <a:gd name="connsiteX5" fmla="*/ 425597 w 1358737"/>
                <a:gd name="connsiteY5" fmla="*/ 20047 h 270294"/>
                <a:gd name="connsiteX6" fmla="*/ 120797 w 1358737"/>
                <a:gd name="connsiteY6" fmla="*/ 6193 h 270294"/>
                <a:gd name="connsiteX7" fmla="*/ 23815 w 1358737"/>
                <a:gd name="connsiteY7" fmla="*/ 6193 h 270294"/>
                <a:gd name="connsiteX8" fmla="*/ 3034 w 1358737"/>
                <a:gd name="connsiteY8" fmla="*/ 82393 h 270294"/>
                <a:gd name="connsiteX9" fmla="*/ 3034 w 1358737"/>
                <a:gd name="connsiteY9" fmla="*/ 227865 h 270294"/>
                <a:gd name="connsiteX10" fmla="*/ 23815 w 1358737"/>
                <a:gd name="connsiteY10" fmla="*/ 262502 h 270294"/>
                <a:gd name="connsiteX11" fmla="*/ 238561 w 1358737"/>
                <a:gd name="connsiteY11" fmla="*/ 269429 h 270294"/>
                <a:gd name="connsiteX12" fmla="*/ 550288 w 1358737"/>
                <a:gd name="connsiteY12" fmla="*/ 269429 h 270294"/>
                <a:gd name="connsiteX0" fmla="*/ 550288 w 1358737"/>
                <a:gd name="connsiteY0" fmla="*/ 266015 h 266880"/>
                <a:gd name="connsiteX1" fmla="*/ 1007488 w 1358737"/>
                <a:gd name="connsiteY1" fmla="*/ 259088 h 266880"/>
                <a:gd name="connsiteX2" fmla="*/ 1222234 w 1358737"/>
                <a:gd name="connsiteY2" fmla="*/ 210597 h 266880"/>
                <a:gd name="connsiteX3" fmla="*/ 1353852 w 1358737"/>
                <a:gd name="connsiteY3" fmla="*/ 51270 h 266880"/>
                <a:gd name="connsiteX4" fmla="*/ 1236088 w 1358737"/>
                <a:gd name="connsiteY4" fmla="*/ 30488 h 266880"/>
                <a:gd name="connsiteX5" fmla="*/ 425597 w 1358737"/>
                <a:gd name="connsiteY5" fmla="*/ 16633 h 266880"/>
                <a:gd name="connsiteX6" fmla="*/ 134651 w 1358737"/>
                <a:gd name="connsiteY6" fmla="*/ 16634 h 266880"/>
                <a:gd name="connsiteX7" fmla="*/ 23815 w 1358737"/>
                <a:gd name="connsiteY7" fmla="*/ 2779 h 266880"/>
                <a:gd name="connsiteX8" fmla="*/ 3034 w 1358737"/>
                <a:gd name="connsiteY8" fmla="*/ 78979 h 266880"/>
                <a:gd name="connsiteX9" fmla="*/ 3034 w 1358737"/>
                <a:gd name="connsiteY9" fmla="*/ 224451 h 266880"/>
                <a:gd name="connsiteX10" fmla="*/ 23815 w 1358737"/>
                <a:gd name="connsiteY10" fmla="*/ 259088 h 266880"/>
                <a:gd name="connsiteX11" fmla="*/ 238561 w 1358737"/>
                <a:gd name="connsiteY11" fmla="*/ 266015 h 266880"/>
                <a:gd name="connsiteX12" fmla="*/ 550288 w 1358737"/>
                <a:gd name="connsiteY12" fmla="*/ 266015 h 266880"/>
                <a:gd name="connsiteX0" fmla="*/ 563217 w 1371666"/>
                <a:gd name="connsiteY0" fmla="*/ 266229 h 267094"/>
                <a:gd name="connsiteX1" fmla="*/ 1020417 w 1371666"/>
                <a:gd name="connsiteY1" fmla="*/ 259302 h 267094"/>
                <a:gd name="connsiteX2" fmla="*/ 1235163 w 1371666"/>
                <a:gd name="connsiteY2" fmla="*/ 210811 h 267094"/>
                <a:gd name="connsiteX3" fmla="*/ 1366781 w 1371666"/>
                <a:gd name="connsiteY3" fmla="*/ 51484 h 267094"/>
                <a:gd name="connsiteX4" fmla="*/ 1249017 w 1371666"/>
                <a:gd name="connsiteY4" fmla="*/ 30702 h 267094"/>
                <a:gd name="connsiteX5" fmla="*/ 438526 w 1371666"/>
                <a:gd name="connsiteY5" fmla="*/ 16847 h 267094"/>
                <a:gd name="connsiteX6" fmla="*/ 36744 w 1371666"/>
                <a:gd name="connsiteY6" fmla="*/ 2993 h 267094"/>
                <a:gd name="connsiteX7" fmla="*/ 15963 w 1371666"/>
                <a:gd name="connsiteY7" fmla="*/ 79193 h 267094"/>
                <a:gd name="connsiteX8" fmla="*/ 15963 w 1371666"/>
                <a:gd name="connsiteY8" fmla="*/ 224665 h 267094"/>
                <a:gd name="connsiteX9" fmla="*/ 36744 w 1371666"/>
                <a:gd name="connsiteY9" fmla="*/ 259302 h 267094"/>
                <a:gd name="connsiteX10" fmla="*/ 251490 w 1371666"/>
                <a:gd name="connsiteY10" fmla="*/ 266229 h 267094"/>
                <a:gd name="connsiteX11" fmla="*/ 563217 w 1371666"/>
                <a:gd name="connsiteY11" fmla="*/ 266229 h 267094"/>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79338 w 1387787"/>
                <a:gd name="connsiteY0" fmla="*/ 251602 h 252467"/>
                <a:gd name="connsiteX1" fmla="*/ 1036538 w 1387787"/>
                <a:gd name="connsiteY1" fmla="*/ 244675 h 252467"/>
                <a:gd name="connsiteX2" fmla="*/ 1251284 w 1387787"/>
                <a:gd name="connsiteY2" fmla="*/ 196184 h 252467"/>
                <a:gd name="connsiteX3" fmla="*/ 1382902 w 1387787"/>
                <a:gd name="connsiteY3" fmla="*/ 36857 h 252467"/>
                <a:gd name="connsiteX4" fmla="*/ 1265138 w 1387787"/>
                <a:gd name="connsiteY4" fmla="*/ 16075 h 252467"/>
                <a:gd name="connsiteX5" fmla="*/ 454647 w 1387787"/>
                <a:gd name="connsiteY5" fmla="*/ 2220 h 252467"/>
                <a:gd name="connsiteX6" fmla="*/ 32084 w 1387787"/>
                <a:gd name="connsiteY6" fmla="*/ 64566 h 252467"/>
                <a:gd name="connsiteX7" fmla="*/ 32084 w 1387787"/>
                <a:gd name="connsiteY7" fmla="*/ 210038 h 252467"/>
                <a:gd name="connsiteX8" fmla="*/ 52865 w 1387787"/>
                <a:gd name="connsiteY8" fmla="*/ 244675 h 252467"/>
                <a:gd name="connsiteX9" fmla="*/ 267611 w 1387787"/>
                <a:gd name="connsiteY9" fmla="*/ 251602 h 252467"/>
                <a:gd name="connsiteX10" fmla="*/ 579338 w 1387787"/>
                <a:gd name="connsiteY10" fmla="*/ 251602 h 252467"/>
                <a:gd name="connsiteX0" fmla="*/ 569062 w 1377511"/>
                <a:gd name="connsiteY0" fmla="*/ 265301 h 266166"/>
                <a:gd name="connsiteX1" fmla="*/ 1026262 w 1377511"/>
                <a:gd name="connsiteY1" fmla="*/ 258374 h 266166"/>
                <a:gd name="connsiteX2" fmla="*/ 1241008 w 1377511"/>
                <a:gd name="connsiteY2" fmla="*/ 209883 h 266166"/>
                <a:gd name="connsiteX3" fmla="*/ 1372626 w 1377511"/>
                <a:gd name="connsiteY3" fmla="*/ 50556 h 266166"/>
                <a:gd name="connsiteX4" fmla="*/ 1254862 w 1377511"/>
                <a:gd name="connsiteY4" fmla="*/ 29774 h 266166"/>
                <a:gd name="connsiteX5" fmla="*/ 444371 w 1377511"/>
                <a:gd name="connsiteY5" fmla="*/ 15919 h 266166"/>
                <a:gd name="connsiteX6" fmla="*/ 35662 w 1377511"/>
                <a:gd name="connsiteY6" fmla="*/ 15919 h 266166"/>
                <a:gd name="connsiteX7" fmla="*/ 21808 w 1377511"/>
                <a:gd name="connsiteY7" fmla="*/ 223737 h 266166"/>
                <a:gd name="connsiteX8" fmla="*/ 42589 w 1377511"/>
                <a:gd name="connsiteY8" fmla="*/ 258374 h 266166"/>
                <a:gd name="connsiteX9" fmla="*/ 257335 w 1377511"/>
                <a:gd name="connsiteY9" fmla="*/ 265301 h 266166"/>
                <a:gd name="connsiteX10" fmla="*/ 569062 w 1377511"/>
                <a:gd name="connsiteY10" fmla="*/ 265301 h 266166"/>
                <a:gd name="connsiteX0" fmla="*/ 551155 w 1359604"/>
                <a:gd name="connsiteY0" fmla="*/ 262227 h 263092"/>
                <a:gd name="connsiteX1" fmla="*/ 1008355 w 1359604"/>
                <a:gd name="connsiteY1" fmla="*/ 255300 h 263092"/>
                <a:gd name="connsiteX2" fmla="*/ 1223101 w 1359604"/>
                <a:gd name="connsiteY2" fmla="*/ 206809 h 263092"/>
                <a:gd name="connsiteX3" fmla="*/ 1354719 w 1359604"/>
                <a:gd name="connsiteY3" fmla="*/ 47482 h 263092"/>
                <a:gd name="connsiteX4" fmla="*/ 1236955 w 1359604"/>
                <a:gd name="connsiteY4" fmla="*/ 26700 h 263092"/>
                <a:gd name="connsiteX5" fmla="*/ 426464 w 1359604"/>
                <a:gd name="connsiteY5" fmla="*/ 12845 h 263092"/>
                <a:gd name="connsiteX6" fmla="*/ 17755 w 1359604"/>
                <a:gd name="connsiteY6" fmla="*/ 12845 h 263092"/>
                <a:gd name="connsiteX7" fmla="*/ 3901 w 1359604"/>
                <a:gd name="connsiteY7" fmla="*/ 220663 h 263092"/>
                <a:gd name="connsiteX8" fmla="*/ 24682 w 1359604"/>
                <a:gd name="connsiteY8" fmla="*/ 255300 h 263092"/>
                <a:gd name="connsiteX9" fmla="*/ 239428 w 1359604"/>
                <a:gd name="connsiteY9" fmla="*/ 262227 h 263092"/>
                <a:gd name="connsiteX10" fmla="*/ 551155 w 1359604"/>
                <a:gd name="connsiteY10" fmla="*/ 262227 h 263092"/>
                <a:gd name="connsiteX0" fmla="*/ 551155 w 1359604"/>
                <a:gd name="connsiteY0" fmla="*/ 252846 h 253711"/>
                <a:gd name="connsiteX1" fmla="*/ 1008355 w 1359604"/>
                <a:gd name="connsiteY1" fmla="*/ 245919 h 253711"/>
                <a:gd name="connsiteX2" fmla="*/ 1223101 w 1359604"/>
                <a:gd name="connsiteY2" fmla="*/ 197428 h 253711"/>
                <a:gd name="connsiteX3" fmla="*/ 1354719 w 1359604"/>
                <a:gd name="connsiteY3" fmla="*/ 38101 h 253711"/>
                <a:gd name="connsiteX4" fmla="*/ 1236955 w 1359604"/>
                <a:gd name="connsiteY4" fmla="*/ 17319 h 253711"/>
                <a:gd name="connsiteX5" fmla="*/ 426464 w 1359604"/>
                <a:gd name="connsiteY5" fmla="*/ 3464 h 253711"/>
                <a:gd name="connsiteX6" fmla="*/ 17755 w 1359604"/>
                <a:gd name="connsiteY6" fmla="*/ 17318 h 253711"/>
                <a:gd name="connsiteX7" fmla="*/ 3901 w 1359604"/>
                <a:gd name="connsiteY7" fmla="*/ 211282 h 253711"/>
                <a:gd name="connsiteX8" fmla="*/ 24682 w 1359604"/>
                <a:gd name="connsiteY8" fmla="*/ 245919 h 253711"/>
                <a:gd name="connsiteX9" fmla="*/ 239428 w 1359604"/>
                <a:gd name="connsiteY9" fmla="*/ 252846 h 253711"/>
                <a:gd name="connsiteX10" fmla="*/ 551155 w 1359604"/>
                <a:gd name="connsiteY10" fmla="*/ 252846 h 253711"/>
                <a:gd name="connsiteX0" fmla="*/ 562087 w 1370536"/>
                <a:gd name="connsiteY0" fmla="*/ 252846 h 253711"/>
                <a:gd name="connsiteX1" fmla="*/ 1019287 w 1370536"/>
                <a:gd name="connsiteY1" fmla="*/ 245919 h 253711"/>
                <a:gd name="connsiteX2" fmla="*/ 1234033 w 1370536"/>
                <a:gd name="connsiteY2" fmla="*/ 197428 h 253711"/>
                <a:gd name="connsiteX3" fmla="*/ 1365651 w 1370536"/>
                <a:gd name="connsiteY3" fmla="*/ 38101 h 253711"/>
                <a:gd name="connsiteX4" fmla="*/ 1247887 w 1370536"/>
                <a:gd name="connsiteY4" fmla="*/ 17319 h 253711"/>
                <a:gd name="connsiteX5" fmla="*/ 437396 w 1370536"/>
                <a:gd name="connsiteY5" fmla="*/ 3464 h 253711"/>
                <a:gd name="connsiteX6" fmla="*/ 28687 w 1370536"/>
                <a:gd name="connsiteY6" fmla="*/ 17318 h 253711"/>
                <a:gd name="connsiteX7" fmla="*/ 14833 w 1370536"/>
                <a:gd name="connsiteY7" fmla="*/ 211282 h 253711"/>
                <a:gd name="connsiteX8" fmla="*/ 250360 w 1370536"/>
                <a:gd name="connsiteY8" fmla="*/ 252846 h 253711"/>
                <a:gd name="connsiteX9" fmla="*/ 562087 w 1370536"/>
                <a:gd name="connsiteY9" fmla="*/ 252846 h 25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0536" h="253711">
                  <a:moveTo>
                    <a:pt x="562087" y="252846"/>
                  </a:moveTo>
                  <a:lnTo>
                    <a:pt x="1019287" y="245919"/>
                  </a:lnTo>
                  <a:cubicBezTo>
                    <a:pt x="1131278" y="236683"/>
                    <a:pt x="1176306" y="232064"/>
                    <a:pt x="1234033" y="197428"/>
                  </a:cubicBezTo>
                  <a:cubicBezTo>
                    <a:pt x="1291760" y="162792"/>
                    <a:pt x="1363342" y="68119"/>
                    <a:pt x="1365651" y="38101"/>
                  </a:cubicBezTo>
                  <a:cubicBezTo>
                    <a:pt x="1367960" y="8083"/>
                    <a:pt x="1402596" y="23092"/>
                    <a:pt x="1247887" y="17319"/>
                  </a:cubicBezTo>
                  <a:cubicBezTo>
                    <a:pt x="1093178" y="11546"/>
                    <a:pt x="640596" y="3464"/>
                    <a:pt x="437396" y="3464"/>
                  </a:cubicBezTo>
                  <a:cubicBezTo>
                    <a:pt x="234196" y="3464"/>
                    <a:pt x="36768" y="-10391"/>
                    <a:pt x="28687" y="17318"/>
                  </a:cubicBezTo>
                  <a:cubicBezTo>
                    <a:pt x="20606" y="45027"/>
                    <a:pt x="-22113" y="172027"/>
                    <a:pt x="14833" y="211282"/>
                  </a:cubicBezTo>
                  <a:cubicBezTo>
                    <a:pt x="51779" y="250537"/>
                    <a:pt x="159151" y="245919"/>
                    <a:pt x="250360" y="252846"/>
                  </a:cubicBezTo>
                  <a:cubicBezTo>
                    <a:pt x="338105" y="254000"/>
                    <a:pt x="433933" y="254000"/>
                    <a:pt x="562087" y="252846"/>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Freeform: Shape 94"/>
            <p:cNvSpPr/>
            <p:nvPr/>
          </p:nvSpPr>
          <p:spPr bwMode="auto">
            <a:xfrm>
              <a:off x="2484091" y="3233973"/>
              <a:ext cx="140448" cy="203413"/>
            </a:xfrm>
            <a:custGeom>
              <a:avLst/>
              <a:gdLst>
                <a:gd name="connsiteX0" fmla="*/ 180109 w 423088"/>
                <a:gd name="connsiteY0" fmla="*/ 595745 h 595745"/>
                <a:gd name="connsiteX1" fmla="*/ 381000 w 423088"/>
                <a:gd name="connsiteY1" fmla="*/ 533400 h 595745"/>
                <a:gd name="connsiteX2" fmla="*/ 422563 w 423088"/>
                <a:gd name="connsiteY2" fmla="*/ 311727 h 595745"/>
                <a:gd name="connsiteX3" fmla="*/ 394854 w 423088"/>
                <a:gd name="connsiteY3" fmla="*/ 110836 h 595745"/>
                <a:gd name="connsiteX4" fmla="*/ 270163 w 423088"/>
                <a:gd name="connsiteY4" fmla="*/ 27709 h 595745"/>
                <a:gd name="connsiteX5" fmla="*/ 96981 w 423088"/>
                <a:gd name="connsiteY5" fmla="*/ 6927 h 595745"/>
                <a:gd name="connsiteX6" fmla="*/ 0 w 423088"/>
                <a:gd name="connsiteY6" fmla="*/ 0 h 595745"/>
                <a:gd name="connsiteX0" fmla="*/ 173182 w 416161"/>
                <a:gd name="connsiteY0" fmla="*/ 588878 h 588878"/>
                <a:gd name="connsiteX1" fmla="*/ 374073 w 416161"/>
                <a:gd name="connsiteY1" fmla="*/ 526533 h 588878"/>
                <a:gd name="connsiteX2" fmla="*/ 415636 w 416161"/>
                <a:gd name="connsiteY2" fmla="*/ 304860 h 588878"/>
                <a:gd name="connsiteX3" fmla="*/ 387927 w 416161"/>
                <a:gd name="connsiteY3" fmla="*/ 103969 h 588878"/>
                <a:gd name="connsiteX4" fmla="*/ 263236 w 416161"/>
                <a:gd name="connsiteY4" fmla="*/ 20842 h 588878"/>
                <a:gd name="connsiteX5" fmla="*/ 90054 w 416161"/>
                <a:gd name="connsiteY5" fmla="*/ 60 h 588878"/>
                <a:gd name="connsiteX6" fmla="*/ 0 w 416161"/>
                <a:gd name="connsiteY6" fmla="*/ 13915 h 588878"/>
                <a:gd name="connsiteX0" fmla="*/ 173182 w 416161"/>
                <a:gd name="connsiteY0" fmla="*/ 602732 h 602732"/>
                <a:gd name="connsiteX1" fmla="*/ 374073 w 416161"/>
                <a:gd name="connsiteY1" fmla="*/ 526533 h 602732"/>
                <a:gd name="connsiteX2" fmla="*/ 415636 w 416161"/>
                <a:gd name="connsiteY2" fmla="*/ 304860 h 602732"/>
                <a:gd name="connsiteX3" fmla="*/ 387927 w 416161"/>
                <a:gd name="connsiteY3" fmla="*/ 103969 h 602732"/>
                <a:gd name="connsiteX4" fmla="*/ 263236 w 416161"/>
                <a:gd name="connsiteY4" fmla="*/ 20842 h 602732"/>
                <a:gd name="connsiteX5" fmla="*/ 90054 w 416161"/>
                <a:gd name="connsiteY5" fmla="*/ 60 h 602732"/>
                <a:gd name="connsiteX6" fmla="*/ 0 w 416161"/>
                <a:gd name="connsiteY6" fmla="*/ 13915 h 60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161" h="602732">
                  <a:moveTo>
                    <a:pt x="173182" y="602732"/>
                  </a:moveTo>
                  <a:cubicBezTo>
                    <a:pt x="253423" y="595227"/>
                    <a:pt x="333664" y="576178"/>
                    <a:pt x="374073" y="526533"/>
                  </a:cubicBezTo>
                  <a:cubicBezTo>
                    <a:pt x="414482" y="476888"/>
                    <a:pt x="413327" y="375287"/>
                    <a:pt x="415636" y="304860"/>
                  </a:cubicBezTo>
                  <a:cubicBezTo>
                    <a:pt x="417945" y="234433"/>
                    <a:pt x="413327" y="151305"/>
                    <a:pt x="387927" y="103969"/>
                  </a:cubicBezTo>
                  <a:cubicBezTo>
                    <a:pt x="362527" y="56633"/>
                    <a:pt x="312881" y="38160"/>
                    <a:pt x="263236" y="20842"/>
                  </a:cubicBezTo>
                  <a:cubicBezTo>
                    <a:pt x="213591" y="3524"/>
                    <a:pt x="133927" y="1214"/>
                    <a:pt x="90054" y="60"/>
                  </a:cubicBezTo>
                  <a:cubicBezTo>
                    <a:pt x="46181" y="-1094"/>
                    <a:pt x="25977" y="15069"/>
                    <a:pt x="0" y="13915"/>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p:cNvSpPr/>
            <p:nvPr/>
          </p:nvSpPr>
          <p:spPr bwMode="auto">
            <a:xfrm>
              <a:off x="2612673" y="3414008"/>
              <a:ext cx="395098" cy="16365"/>
            </a:xfrm>
            <a:custGeom>
              <a:avLst/>
              <a:gdLst>
                <a:gd name="connsiteX0" fmla="*/ 0 w 1170709"/>
                <a:gd name="connsiteY0" fmla="*/ 0 h 48491"/>
                <a:gd name="connsiteX1" fmla="*/ 124691 w 1170709"/>
                <a:gd name="connsiteY1" fmla="*/ 34636 h 48491"/>
                <a:gd name="connsiteX2" fmla="*/ 720436 w 1170709"/>
                <a:gd name="connsiteY2" fmla="*/ 48491 h 48491"/>
                <a:gd name="connsiteX3" fmla="*/ 1170709 w 1170709"/>
                <a:gd name="connsiteY3" fmla="*/ 41564 h 48491"/>
              </a:gdLst>
              <a:ahLst/>
              <a:cxnLst>
                <a:cxn ang="0">
                  <a:pos x="connsiteX0" y="connsiteY0"/>
                </a:cxn>
                <a:cxn ang="0">
                  <a:pos x="connsiteX1" y="connsiteY1"/>
                </a:cxn>
                <a:cxn ang="0">
                  <a:pos x="connsiteX2" y="connsiteY2"/>
                </a:cxn>
                <a:cxn ang="0">
                  <a:pos x="connsiteX3" y="connsiteY3"/>
                </a:cxn>
              </a:cxnLst>
              <a:rect l="l" t="t" r="r" b="b"/>
              <a:pathLst>
                <a:path w="1170709" h="48491">
                  <a:moveTo>
                    <a:pt x="0" y="0"/>
                  </a:moveTo>
                  <a:cubicBezTo>
                    <a:pt x="2309" y="13277"/>
                    <a:pt x="4618" y="26554"/>
                    <a:pt x="124691" y="34636"/>
                  </a:cubicBezTo>
                  <a:cubicBezTo>
                    <a:pt x="244764" y="42718"/>
                    <a:pt x="720436" y="48491"/>
                    <a:pt x="720436" y="48491"/>
                  </a:cubicBezTo>
                  <a:lnTo>
                    <a:pt x="1170709" y="41564"/>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p:cNvSpPr/>
            <p:nvPr/>
          </p:nvSpPr>
          <p:spPr bwMode="auto">
            <a:xfrm>
              <a:off x="2839444" y="2682193"/>
              <a:ext cx="175396" cy="214346"/>
            </a:xfrm>
            <a:custGeom>
              <a:avLst/>
              <a:gdLst>
                <a:gd name="connsiteX0" fmla="*/ 0 w 575417"/>
                <a:gd name="connsiteY0" fmla="*/ 590177 h 642563"/>
                <a:gd name="connsiteX1" fmla="*/ 76200 w 575417"/>
                <a:gd name="connsiteY1" fmla="*/ 638667 h 642563"/>
                <a:gd name="connsiteX2" fmla="*/ 214746 w 575417"/>
                <a:gd name="connsiteY2" fmla="*/ 631740 h 642563"/>
                <a:gd name="connsiteX3" fmla="*/ 387928 w 575417"/>
                <a:gd name="connsiteY3" fmla="*/ 569395 h 642563"/>
                <a:gd name="connsiteX4" fmla="*/ 540328 w 575417"/>
                <a:gd name="connsiteY4" fmla="*/ 403140 h 642563"/>
                <a:gd name="connsiteX5" fmla="*/ 574964 w 575417"/>
                <a:gd name="connsiteY5" fmla="*/ 202249 h 642563"/>
                <a:gd name="connsiteX6" fmla="*/ 526473 w 575417"/>
                <a:gd name="connsiteY6" fmla="*/ 42922 h 642563"/>
                <a:gd name="connsiteX7" fmla="*/ 367146 w 575417"/>
                <a:gd name="connsiteY7" fmla="*/ 8286 h 642563"/>
                <a:gd name="connsiteX8" fmla="*/ 242455 w 575417"/>
                <a:gd name="connsiteY8" fmla="*/ 1358 h 642563"/>
                <a:gd name="connsiteX9" fmla="*/ 152400 w 575417"/>
                <a:gd name="connsiteY9" fmla="*/ 29067 h 642563"/>
                <a:gd name="connsiteX0" fmla="*/ 0 w 595904"/>
                <a:gd name="connsiteY0" fmla="*/ 590177 h 642563"/>
                <a:gd name="connsiteX1" fmla="*/ 76200 w 595904"/>
                <a:gd name="connsiteY1" fmla="*/ 638667 h 642563"/>
                <a:gd name="connsiteX2" fmla="*/ 214746 w 595904"/>
                <a:gd name="connsiteY2" fmla="*/ 631740 h 642563"/>
                <a:gd name="connsiteX3" fmla="*/ 387928 w 595904"/>
                <a:gd name="connsiteY3" fmla="*/ 569395 h 642563"/>
                <a:gd name="connsiteX4" fmla="*/ 540328 w 595904"/>
                <a:gd name="connsiteY4" fmla="*/ 403140 h 642563"/>
                <a:gd name="connsiteX5" fmla="*/ 595746 w 595904"/>
                <a:gd name="connsiteY5" fmla="*/ 202249 h 642563"/>
                <a:gd name="connsiteX6" fmla="*/ 526473 w 595904"/>
                <a:gd name="connsiteY6" fmla="*/ 42922 h 642563"/>
                <a:gd name="connsiteX7" fmla="*/ 367146 w 595904"/>
                <a:gd name="connsiteY7" fmla="*/ 8286 h 642563"/>
                <a:gd name="connsiteX8" fmla="*/ 242455 w 595904"/>
                <a:gd name="connsiteY8" fmla="*/ 1358 h 642563"/>
                <a:gd name="connsiteX9" fmla="*/ 152400 w 595904"/>
                <a:gd name="connsiteY9" fmla="*/ 29067 h 642563"/>
                <a:gd name="connsiteX0" fmla="*/ 0 w 595912"/>
                <a:gd name="connsiteY0" fmla="*/ 590177 h 643217"/>
                <a:gd name="connsiteX1" fmla="*/ 76200 w 595912"/>
                <a:gd name="connsiteY1" fmla="*/ 638667 h 643217"/>
                <a:gd name="connsiteX2" fmla="*/ 214746 w 595912"/>
                <a:gd name="connsiteY2" fmla="*/ 631740 h 643217"/>
                <a:gd name="connsiteX3" fmla="*/ 381001 w 595912"/>
                <a:gd name="connsiteY3" fmla="*/ 555541 h 643217"/>
                <a:gd name="connsiteX4" fmla="*/ 540328 w 595912"/>
                <a:gd name="connsiteY4" fmla="*/ 403140 h 643217"/>
                <a:gd name="connsiteX5" fmla="*/ 595746 w 595912"/>
                <a:gd name="connsiteY5" fmla="*/ 202249 h 643217"/>
                <a:gd name="connsiteX6" fmla="*/ 526473 w 595912"/>
                <a:gd name="connsiteY6" fmla="*/ 42922 h 643217"/>
                <a:gd name="connsiteX7" fmla="*/ 367146 w 595912"/>
                <a:gd name="connsiteY7" fmla="*/ 8286 h 643217"/>
                <a:gd name="connsiteX8" fmla="*/ 242455 w 595912"/>
                <a:gd name="connsiteY8" fmla="*/ 1358 h 643217"/>
                <a:gd name="connsiteX9" fmla="*/ 152400 w 595912"/>
                <a:gd name="connsiteY9" fmla="*/ 29067 h 643217"/>
                <a:gd name="connsiteX0" fmla="*/ 0 w 595912"/>
                <a:gd name="connsiteY0" fmla="*/ 582088 h 635128"/>
                <a:gd name="connsiteX1" fmla="*/ 76200 w 595912"/>
                <a:gd name="connsiteY1" fmla="*/ 630578 h 635128"/>
                <a:gd name="connsiteX2" fmla="*/ 214746 w 595912"/>
                <a:gd name="connsiteY2" fmla="*/ 623651 h 635128"/>
                <a:gd name="connsiteX3" fmla="*/ 381001 w 595912"/>
                <a:gd name="connsiteY3" fmla="*/ 547452 h 635128"/>
                <a:gd name="connsiteX4" fmla="*/ 540328 w 595912"/>
                <a:gd name="connsiteY4" fmla="*/ 395051 h 635128"/>
                <a:gd name="connsiteX5" fmla="*/ 595746 w 595912"/>
                <a:gd name="connsiteY5" fmla="*/ 194160 h 635128"/>
                <a:gd name="connsiteX6" fmla="*/ 526473 w 595912"/>
                <a:gd name="connsiteY6" fmla="*/ 34833 h 635128"/>
                <a:gd name="connsiteX7" fmla="*/ 367146 w 595912"/>
                <a:gd name="connsiteY7" fmla="*/ 197 h 635128"/>
                <a:gd name="connsiteX8" fmla="*/ 152400 w 595912"/>
                <a:gd name="connsiteY8" fmla="*/ 20978 h 635128"/>
                <a:gd name="connsiteX0" fmla="*/ 2 w 519714"/>
                <a:gd name="connsiteY0" fmla="*/ 630578 h 635128"/>
                <a:gd name="connsiteX1" fmla="*/ 138548 w 519714"/>
                <a:gd name="connsiteY1" fmla="*/ 623651 h 635128"/>
                <a:gd name="connsiteX2" fmla="*/ 304803 w 519714"/>
                <a:gd name="connsiteY2" fmla="*/ 547452 h 635128"/>
                <a:gd name="connsiteX3" fmla="*/ 464130 w 519714"/>
                <a:gd name="connsiteY3" fmla="*/ 395051 h 635128"/>
                <a:gd name="connsiteX4" fmla="*/ 519548 w 519714"/>
                <a:gd name="connsiteY4" fmla="*/ 194160 h 635128"/>
                <a:gd name="connsiteX5" fmla="*/ 450275 w 519714"/>
                <a:gd name="connsiteY5" fmla="*/ 34833 h 635128"/>
                <a:gd name="connsiteX6" fmla="*/ 290948 w 519714"/>
                <a:gd name="connsiteY6" fmla="*/ 197 h 635128"/>
                <a:gd name="connsiteX7" fmla="*/ 76202 w 519714"/>
                <a:gd name="connsiteY7" fmla="*/ 20978 h 635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714" h="635128">
                  <a:moveTo>
                    <a:pt x="2" y="630578"/>
                  </a:moveTo>
                  <a:cubicBezTo>
                    <a:pt x="35793" y="637505"/>
                    <a:pt x="87748" y="637505"/>
                    <a:pt x="138548" y="623651"/>
                  </a:cubicBezTo>
                  <a:cubicBezTo>
                    <a:pt x="189348" y="609797"/>
                    <a:pt x="250539" y="585552"/>
                    <a:pt x="304803" y="547452"/>
                  </a:cubicBezTo>
                  <a:cubicBezTo>
                    <a:pt x="359067" y="509352"/>
                    <a:pt x="428339" y="453933"/>
                    <a:pt x="464130" y="395051"/>
                  </a:cubicBezTo>
                  <a:cubicBezTo>
                    <a:pt x="499921" y="336169"/>
                    <a:pt x="521857" y="254196"/>
                    <a:pt x="519548" y="194160"/>
                  </a:cubicBezTo>
                  <a:cubicBezTo>
                    <a:pt x="517239" y="134124"/>
                    <a:pt x="488375" y="67160"/>
                    <a:pt x="450275" y="34833"/>
                  </a:cubicBezTo>
                  <a:cubicBezTo>
                    <a:pt x="412175" y="2506"/>
                    <a:pt x="353293" y="2506"/>
                    <a:pt x="290948" y="197"/>
                  </a:cubicBezTo>
                  <a:cubicBezTo>
                    <a:pt x="228603" y="-2112"/>
                    <a:pt x="120941" y="16649"/>
                    <a:pt x="76202" y="2097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p:cNvSpPr/>
            <p:nvPr/>
          </p:nvSpPr>
          <p:spPr bwMode="auto">
            <a:xfrm>
              <a:off x="2622973" y="2674633"/>
              <a:ext cx="249201" cy="250776"/>
            </a:xfrm>
            <a:custGeom>
              <a:avLst/>
              <a:gdLst>
                <a:gd name="connsiteX0" fmla="*/ 186170 w 727232"/>
                <a:gd name="connsiteY0" fmla="*/ 638603 h 742549"/>
                <a:gd name="connsiteX1" fmla="*/ 303934 w 727232"/>
                <a:gd name="connsiteY1" fmla="*/ 700948 h 742549"/>
                <a:gd name="connsiteX2" fmla="*/ 373206 w 727232"/>
                <a:gd name="connsiteY2" fmla="*/ 742512 h 742549"/>
                <a:gd name="connsiteX3" fmla="*/ 518679 w 727232"/>
                <a:gd name="connsiteY3" fmla="*/ 694021 h 742549"/>
                <a:gd name="connsiteX4" fmla="*/ 622588 w 727232"/>
                <a:gd name="connsiteY4" fmla="*/ 410003 h 742549"/>
                <a:gd name="connsiteX5" fmla="*/ 726497 w 727232"/>
                <a:gd name="connsiteY5" fmla="*/ 105203 h 742549"/>
                <a:gd name="connsiteX6" fmla="*/ 650297 w 727232"/>
                <a:gd name="connsiteY6" fmla="*/ 1294 h 742549"/>
                <a:gd name="connsiteX7" fmla="*/ 338570 w 727232"/>
                <a:gd name="connsiteY7" fmla="*/ 49785 h 742549"/>
                <a:gd name="connsiteX8" fmla="*/ 165388 w 727232"/>
                <a:gd name="connsiteY8" fmla="*/ 91348 h 742549"/>
                <a:gd name="connsiteX9" fmla="*/ 54552 w 727232"/>
                <a:gd name="connsiteY9" fmla="*/ 250676 h 742549"/>
                <a:gd name="connsiteX10" fmla="*/ 6061 w 727232"/>
                <a:gd name="connsiteY10" fmla="*/ 534694 h 742549"/>
                <a:gd name="connsiteX11" fmla="*/ 6061 w 727232"/>
                <a:gd name="connsiteY11" fmla="*/ 645530 h 742549"/>
                <a:gd name="connsiteX12" fmla="*/ 54552 w 727232"/>
                <a:gd name="connsiteY12" fmla="*/ 666312 h 742549"/>
                <a:gd name="connsiteX13" fmla="*/ 186170 w 727232"/>
                <a:gd name="connsiteY13" fmla="*/ 638603 h 742549"/>
                <a:gd name="connsiteX0" fmla="*/ 186170 w 726497"/>
                <a:gd name="connsiteY0" fmla="*/ 638603 h 742549"/>
                <a:gd name="connsiteX1" fmla="*/ 303934 w 726497"/>
                <a:gd name="connsiteY1" fmla="*/ 700948 h 742549"/>
                <a:gd name="connsiteX2" fmla="*/ 373206 w 726497"/>
                <a:gd name="connsiteY2" fmla="*/ 742512 h 742549"/>
                <a:gd name="connsiteX3" fmla="*/ 518679 w 726497"/>
                <a:gd name="connsiteY3" fmla="*/ 694021 h 742549"/>
                <a:gd name="connsiteX4" fmla="*/ 650297 w 726497"/>
                <a:gd name="connsiteY4" fmla="*/ 410003 h 742549"/>
                <a:gd name="connsiteX5" fmla="*/ 726497 w 726497"/>
                <a:gd name="connsiteY5" fmla="*/ 105203 h 742549"/>
                <a:gd name="connsiteX6" fmla="*/ 650297 w 726497"/>
                <a:gd name="connsiteY6" fmla="*/ 1294 h 742549"/>
                <a:gd name="connsiteX7" fmla="*/ 338570 w 726497"/>
                <a:gd name="connsiteY7" fmla="*/ 49785 h 742549"/>
                <a:gd name="connsiteX8" fmla="*/ 165388 w 726497"/>
                <a:gd name="connsiteY8" fmla="*/ 91348 h 742549"/>
                <a:gd name="connsiteX9" fmla="*/ 54552 w 726497"/>
                <a:gd name="connsiteY9" fmla="*/ 250676 h 742549"/>
                <a:gd name="connsiteX10" fmla="*/ 6061 w 726497"/>
                <a:gd name="connsiteY10" fmla="*/ 534694 h 742549"/>
                <a:gd name="connsiteX11" fmla="*/ 6061 w 726497"/>
                <a:gd name="connsiteY11" fmla="*/ 645530 h 742549"/>
                <a:gd name="connsiteX12" fmla="*/ 54552 w 726497"/>
                <a:gd name="connsiteY12" fmla="*/ 666312 h 742549"/>
                <a:gd name="connsiteX13" fmla="*/ 186170 w 726497"/>
                <a:gd name="connsiteY13" fmla="*/ 638603 h 742549"/>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64791 w 736736"/>
                <a:gd name="connsiteY12" fmla="*/ 666833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92500 w 736736"/>
                <a:gd name="connsiteY12" fmla="*/ 659906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196409 w 736736"/>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405" h="743070">
                  <a:moveTo>
                    <a:pt x="198078" y="639124"/>
                  </a:moveTo>
                  <a:cubicBezTo>
                    <a:pt x="248878" y="649515"/>
                    <a:pt x="284669" y="684151"/>
                    <a:pt x="315842" y="701469"/>
                  </a:cubicBezTo>
                  <a:cubicBezTo>
                    <a:pt x="347015" y="718787"/>
                    <a:pt x="349323" y="744187"/>
                    <a:pt x="385114" y="743033"/>
                  </a:cubicBezTo>
                  <a:cubicBezTo>
                    <a:pt x="420905" y="741879"/>
                    <a:pt x="484405" y="749960"/>
                    <a:pt x="530587" y="694542"/>
                  </a:cubicBezTo>
                  <a:cubicBezTo>
                    <a:pt x="576769" y="639124"/>
                    <a:pt x="627569" y="508660"/>
                    <a:pt x="662205" y="410524"/>
                  </a:cubicBezTo>
                  <a:cubicBezTo>
                    <a:pt x="696841" y="312388"/>
                    <a:pt x="738405" y="173842"/>
                    <a:pt x="738405" y="105724"/>
                  </a:cubicBezTo>
                  <a:cubicBezTo>
                    <a:pt x="738405" y="37606"/>
                    <a:pt x="726860" y="12206"/>
                    <a:pt x="662205" y="1815"/>
                  </a:cubicBezTo>
                  <a:cubicBezTo>
                    <a:pt x="597550" y="-8576"/>
                    <a:pt x="431296" y="28370"/>
                    <a:pt x="350478" y="43379"/>
                  </a:cubicBezTo>
                  <a:cubicBezTo>
                    <a:pt x="269660" y="58388"/>
                    <a:pt x="224632" y="57233"/>
                    <a:pt x="177296" y="91869"/>
                  </a:cubicBezTo>
                  <a:cubicBezTo>
                    <a:pt x="129960" y="126505"/>
                    <a:pt x="95323" y="180770"/>
                    <a:pt x="66460" y="251197"/>
                  </a:cubicBezTo>
                  <a:cubicBezTo>
                    <a:pt x="37597" y="321624"/>
                    <a:pt x="13352" y="449779"/>
                    <a:pt x="4115" y="514433"/>
                  </a:cubicBezTo>
                  <a:cubicBezTo>
                    <a:pt x="-5122" y="579087"/>
                    <a:pt x="2959" y="617187"/>
                    <a:pt x="11041" y="639123"/>
                  </a:cubicBezTo>
                  <a:cubicBezTo>
                    <a:pt x="43368" y="659905"/>
                    <a:pt x="147278" y="628733"/>
                    <a:pt x="198078" y="63912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Freeform: Shape 98"/>
            <p:cNvSpPr/>
            <p:nvPr/>
          </p:nvSpPr>
          <p:spPr bwMode="auto">
            <a:xfrm>
              <a:off x="2689151" y="2705638"/>
              <a:ext cx="183024" cy="194042"/>
            </a:xfrm>
            <a:custGeom>
              <a:avLst/>
              <a:gdLst>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34637 h 574964"/>
                <a:gd name="connsiteX6" fmla="*/ 542316 w 542316"/>
                <a:gd name="connsiteY6" fmla="*/ 0 h 574964"/>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 name="connsiteX0" fmla="*/ 292935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316" h="574964">
                  <a:moveTo>
                    <a:pt x="292935" y="574964"/>
                  </a:moveTo>
                  <a:cubicBezTo>
                    <a:pt x="212117" y="559378"/>
                    <a:pt x="119753" y="543792"/>
                    <a:pt x="71262" y="540328"/>
                  </a:cubicBezTo>
                  <a:cubicBezTo>
                    <a:pt x="22771" y="536864"/>
                    <a:pt x="10071" y="596900"/>
                    <a:pt x="1989" y="554182"/>
                  </a:cubicBezTo>
                  <a:cubicBezTo>
                    <a:pt x="-6093" y="511464"/>
                    <a:pt x="12380" y="360219"/>
                    <a:pt x="22771" y="284019"/>
                  </a:cubicBezTo>
                  <a:cubicBezTo>
                    <a:pt x="33162" y="207819"/>
                    <a:pt x="15843" y="140854"/>
                    <a:pt x="64334" y="96982"/>
                  </a:cubicBezTo>
                  <a:cubicBezTo>
                    <a:pt x="112825" y="53110"/>
                    <a:pt x="234052" y="36947"/>
                    <a:pt x="313716" y="20783"/>
                  </a:cubicBezTo>
                  <a:cubicBezTo>
                    <a:pt x="393380" y="4619"/>
                    <a:pt x="467848" y="9236"/>
                    <a:pt x="542316"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p:cNvSpPr/>
            <p:nvPr/>
          </p:nvSpPr>
          <p:spPr bwMode="auto">
            <a:xfrm>
              <a:off x="2418630" y="3023586"/>
              <a:ext cx="579789" cy="18703"/>
            </a:xfrm>
            <a:custGeom>
              <a:avLst/>
              <a:gdLst>
                <a:gd name="connsiteX0" fmla="*/ 0 w 1717964"/>
                <a:gd name="connsiteY0" fmla="*/ 0 h 55419"/>
                <a:gd name="connsiteX1" fmla="*/ 1717964 w 1717964"/>
                <a:gd name="connsiteY1" fmla="*/ 55419 h 55419"/>
              </a:gdLst>
              <a:ahLst/>
              <a:cxnLst>
                <a:cxn ang="0">
                  <a:pos x="connsiteX0" y="connsiteY0"/>
                </a:cxn>
                <a:cxn ang="0">
                  <a:pos x="connsiteX1" y="connsiteY1"/>
                </a:cxn>
              </a:cxnLst>
              <a:rect l="l" t="t" r="r" b="b"/>
              <a:pathLst>
                <a:path w="1717964" h="55419">
                  <a:moveTo>
                    <a:pt x="0" y="0"/>
                  </a:moveTo>
                  <a:lnTo>
                    <a:pt x="1717964" y="55419"/>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p:cNvSpPr/>
            <p:nvPr/>
          </p:nvSpPr>
          <p:spPr bwMode="auto">
            <a:xfrm>
              <a:off x="2486428" y="2668232"/>
              <a:ext cx="96525" cy="294591"/>
            </a:xfrm>
            <a:custGeom>
              <a:avLst/>
              <a:gdLst>
                <a:gd name="connsiteX0" fmla="*/ 0 w 286013"/>
                <a:gd name="connsiteY0" fmla="*/ 755073 h 872900"/>
                <a:gd name="connsiteX1" fmla="*/ 131618 w 286013"/>
                <a:gd name="connsiteY1" fmla="*/ 872836 h 872900"/>
                <a:gd name="connsiteX2" fmla="*/ 235527 w 286013"/>
                <a:gd name="connsiteY2" fmla="*/ 741218 h 872900"/>
                <a:gd name="connsiteX3" fmla="*/ 270164 w 286013"/>
                <a:gd name="connsiteY3" fmla="*/ 277091 h 872900"/>
                <a:gd name="connsiteX4" fmla="*/ 284018 w 286013"/>
                <a:gd name="connsiteY4" fmla="*/ 117764 h 872900"/>
                <a:gd name="connsiteX5" fmla="*/ 228600 w 286013"/>
                <a:gd name="connsiteY5" fmla="*/ 41564 h 872900"/>
                <a:gd name="connsiteX6" fmla="*/ 166255 w 286013"/>
                <a:gd name="connsiteY6" fmla="*/ 0 h 87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013" h="872900">
                  <a:moveTo>
                    <a:pt x="0" y="755073"/>
                  </a:moveTo>
                  <a:cubicBezTo>
                    <a:pt x="46181" y="815109"/>
                    <a:pt x="92363" y="875145"/>
                    <a:pt x="131618" y="872836"/>
                  </a:cubicBezTo>
                  <a:cubicBezTo>
                    <a:pt x="170873" y="870527"/>
                    <a:pt x="212436" y="840509"/>
                    <a:pt x="235527" y="741218"/>
                  </a:cubicBezTo>
                  <a:cubicBezTo>
                    <a:pt x="258618" y="641927"/>
                    <a:pt x="262082" y="381000"/>
                    <a:pt x="270164" y="277091"/>
                  </a:cubicBezTo>
                  <a:cubicBezTo>
                    <a:pt x="278246" y="173182"/>
                    <a:pt x="290945" y="157018"/>
                    <a:pt x="284018" y="117764"/>
                  </a:cubicBezTo>
                  <a:cubicBezTo>
                    <a:pt x="277091" y="78510"/>
                    <a:pt x="248227" y="61191"/>
                    <a:pt x="228600" y="41564"/>
                  </a:cubicBezTo>
                  <a:cubicBezTo>
                    <a:pt x="208973" y="21937"/>
                    <a:pt x="187614" y="10968"/>
                    <a:pt x="166255" y="0"/>
                  </a:cubicBezTo>
                </a:path>
              </a:pathLst>
            </a:custGeom>
            <a:noFill/>
            <a:ln w="19050"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p:cNvSpPr/>
            <p:nvPr/>
          </p:nvSpPr>
          <p:spPr bwMode="auto">
            <a:xfrm>
              <a:off x="2542537" y="3241007"/>
              <a:ext cx="39743" cy="184690"/>
            </a:xfrm>
            <a:custGeom>
              <a:avLst/>
              <a:gdLst>
                <a:gd name="connsiteX0" fmla="*/ 0 w 117763"/>
                <a:gd name="connsiteY0" fmla="*/ 0 h 547254"/>
                <a:gd name="connsiteX1" fmla="*/ 117763 w 117763"/>
                <a:gd name="connsiteY1" fmla="*/ 547254 h 547254"/>
              </a:gdLst>
              <a:ahLst/>
              <a:cxnLst>
                <a:cxn ang="0">
                  <a:pos x="connsiteX0" y="connsiteY0"/>
                </a:cxn>
                <a:cxn ang="0">
                  <a:pos x="connsiteX1" y="connsiteY1"/>
                </a:cxn>
              </a:cxnLst>
              <a:rect l="l" t="t" r="r" b="b"/>
              <a:pathLst>
                <a:path w="117763" h="547254">
                  <a:moveTo>
                    <a:pt x="0" y="0"/>
                  </a:moveTo>
                  <a:lnTo>
                    <a:pt x="117763" y="547254"/>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p:cNvSpPr/>
            <p:nvPr/>
          </p:nvSpPr>
          <p:spPr bwMode="auto">
            <a:xfrm>
              <a:off x="4412823" y="2324567"/>
              <a:ext cx="944494" cy="34502"/>
            </a:xfrm>
            <a:custGeom>
              <a:avLst/>
              <a:gdLst>
                <a:gd name="connsiteX0" fmla="*/ 0 w 2798618"/>
                <a:gd name="connsiteY0" fmla="*/ 0 h 102233"/>
                <a:gd name="connsiteX1" fmla="*/ 491836 w 2798618"/>
                <a:gd name="connsiteY1" fmla="*/ 96982 h 102233"/>
                <a:gd name="connsiteX2" fmla="*/ 1260764 w 2798618"/>
                <a:gd name="connsiteY2" fmla="*/ 90054 h 102233"/>
                <a:gd name="connsiteX3" fmla="*/ 2410691 w 2798618"/>
                <a:gd name="connsiteY3" fmla="*/ 62345 h 102233"/>
                <a:gd name="connsiteX4" fmla="*/ 2798618 w 2798618"/>
                <a:gd name="connsiteY4" fmla="*/ 41564 h 102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618" h="102233">
                  <a:moveTo>
                    <a:pt x="0" y="0"/>
                  </a:moveTo>
                  <a:cubicBezTo>
                    <a:pt x="140854" y="40986"/>
                    <a:pt x="281709" y="81973"/>
                    <a:pt x="491836" y="96982"/>
                  </a:cubicBezTo>
                  <a:cubicBezTo>
                    <a:pt x="701963" y="111991"/>
                    <a:pt x="1260764" y="90054"/>
                    <a:pt x="1260764" y="90054"/>
                  </a:cubicBezTo>
                  <a:lnTo>
                    <a:pt x="2410691" y="62345"/>
                  </a:lnTo>
                  <a:cubicBezTo>
                    <a:pt x="2667000" y="54263"/>
                    <a:pt x="2732809" y="47913"/>
                    <a:pt x="2798618" y="415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p:cNvSpPr/>
            <p:nvPr/>
          </p:nvSpPr>
          <p:spPr bwMode="auto">
            <a:xfrm>
              <a:off x="5287181" y="2287162"/>
              <a:ext cx="757466" cy="28054"/>
            </a:xfrm>
            <a:custGeom>
              <a:avLst/>
              <a:gdLst>
                <a:gd name="connsiteX0" fmla="*/ 0 w 2244436"/>
                <a:gd name="connsiteY0" fmla="*/ 83127 h 83127"/>
                <a:gd name="connsiteX1" fmla="*/ 2244436 w 2244436"/>
                <a:gd name="connsiteY1" fmla="*/ 0 h 83127"/>
              </a:gdLst>
              <a:ahLst/>
              <a:cxnLst>
                <a:cxn ang="0">
                  <a:pos x="connsiteX0" y="connsiteY0"/>
                </a:cxn>
                <a:cxn ang="0">
                  <a:pos x="connsiteX1" y="connsiteY1"/>
                </a:cxn>
              </a:cxnLst>
              <a:rect l="l" t="t" r="r" b="b"/>
              <a:pathLst>
                <a:path w="2244436" h="83127">
                  <a:moveTo>
                    <a:pt x="0" y="83127"/>
                  </a:moveTo>
                  <a:lnTo>
                    <a:pt x="2244436"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p:cNvSpPr/>
            <p:nvPr/>
          </p:nvSpPr>
          <p:spPr bwMode="auto">
            <a:xfrm>
              <a:off x="5263802" y="1733199"/>
              <a:ext cx="1980165" cy="549152"/>
            </a:xfrm>
            <a:custGeom>
              <a:avLst/>
              <a:gdLst>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52054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3124 h 1630811"/>
                <a:gd name="connsiteX1" fmla="*/ 3131127 w 5867400"/>
                <a:gd name="connsiteY1" fmla="*/ 1613179 h 1630811"/>
                <a:gd name="connsiteX2" fmla="*/ 2957946 w 5867400"/>
                <a:gd name="connsiteY2" fmla="*/ 1620106 h 1630811"/>
                <a:gd name="connsiteX3" fmla="*/ 2999509 w 5867400"/>
                <a:gd name="connsiteY3" fmla="*/ 1495415 h 1630811"/>
                <a:gd name="connsiteX4" fmla="*/ 3096491 w 5867400"/>
                <a:gd name="connsiteY4" fmla="*/ 1252961 h 1630811"/>
                <a:gd name="connsiteX5" fmla="*/ 3435927 w 5867400"/>
                <a:gd name="connsiteY5" fmla="*/ 151524 h 1630811"/>
                <a:gd name="connsiteX6" fmla="*/ 3477491 w 5867400"/>
                <a:gd name="connsiteY6" fmla="*/ 12979 h 1630811"/>
                <a:gd name="connsiteX7" fmla="*/ 3290455 w 5867400"/>
                <a:gd name="connsiteY7" fmla="*/ 12978 h 1630811"/>
                <a:gd name="connsiteX8" fmla="*/ 2244437 w 5867400"/>
                <a:gd name="connsiteY8" fmla="*/ 75324 h 1630811"/>
                <a:gd name="connsiteX9" fmla="*/ 1461655 w 5867400"/>
                <a:gd name="connsiteY9" fmla="*/ 227724 h 1630811"/>
                <a:gd name="connsiteX10" fmla="*/ 852054 w 5867400"/>
                <a:gd name="connsiteY10" fmla="*/ 463251 h 1630811"/>
                <a:gd name="connsiteX11" fmla="*/ 228600 w 5867400"/>
                <a:gd name="connsiteY11" fmla="*/ 830397 h 1630811"/>
                <a:gd name="connsiteX12" fmla="*/ 0 w 5867400"/>
                <a:gd name="connsiteY12" fmla="*/ 968942 h 1630811"/>
                <a:gd name="connsiteX0" fmla="*/ 5867400 w 5867400"/>
                <a:gd name="connsiteY0" fmla="*/ 1536065 h 1643752"/>
                <a:gd name="connsiteX1" fmla="*/ 3131127 w 5867400"/>
                <a:gd name="connsiteY1" fmla="*/ 1626120 h 1643752"/>
                <a:gd name="connsiteX2" fmla="*/ 2957946 w 5867400"/>
                <a:gd name="connsiteY2" fmla="*/ 1633047 h 1643752"/>
                <a:gd name="connsiteX3" fmla="*/ 2999509 w 5867400"/>
                <a:gd name="connsiteY3" fmla="*/ 1508356 h 1643752"/>
                <a:gd name="connsiteX4" fmla="*/ 3096491 w 5867400"/>
                <a:gd name="connsiteY4" fmla="*/ 1265902 h 1643752"/>
                <a:gd name="connsiteX5" fmla="*/ 3435927 w 5867400"/>
                <a:gd name="connsiteY5" fmla="*/ 164465 h 1643752"/>
                <a:gd name="connsiteX6" fmla="*/ 3477491 w 5867400"/>
                <a:gd name="connsiteY6" fmla="*/ 25920 h 1643752"/>
                <a:gd name="connsiteX7" fmla="*/ 3290455 w 5867400"/>
                <a:gd name="connsiteY7" fmla="*/ 5137 h 1643752"/>
                <a:gd name="connsiteX8" fmla="*/ 2244437 w 5867400"/>
                <a:gd name="connsiteY8" fmla="*/ 88265 h 1643752"/>
                <a:gd name="connsiteX9" fmla="*/ 1461655 w 5867400"/>
                <a:gd name="connsiteY9" fmla="*/ 240665 h 1643752"/>
                <a:gd name="connsiteX10" fmla="*/ 852054 w 5867400"/>
                <a:gd name="connsiteY10" fmla="*/ 476192 h 1643752"/>
                <a:gd name="connsiteX11" fmla="*/ 228600 w 5867400"/>
                <a:gd name="connsiteY11" fmla="*/ 843338 h 1643752"/>
                <a:gd name="connsiteX12" fmla="*/ 0 w 5867400"/>
                <a:gd name="connsiteY12" fmla="*/ 981883 h 1643752"/>
                <a:gd name="connsiteX0" fmla="*/ 5867400 w 5867400"/>
                <a:gd name="connsiteY0" fmla="*/ 1523125 h 1630812"/>
                <a:gd name="connsiteX1" fmla="*/ 3131127 w 5867400"/>
                <a:gd name="connsiteY1" fmla="*/ 1613180 h 1630812"/>
                <a:gd name="connsiteX2" fmla="*/ 2957946 w 5867400"/>
                <a:gd name="connsiteY2" fmla="*/ 1620107 h 1630812"/>
                <a:gd name="connsiteX3" fmla="*/ 2999509 w 5867400"/>
                <a:gd name="connsiteY3" fmla="*/ 1495416 h 1630812"/>
                <a:gd name="connsiteX4" fmla="*/ 3096491 w 5867400"/>
                <a:gd name="connsiteY4" fmla="*/ 1252962 h 1630812"/>
                <a:gd name="connsiteX5" fmla="*/ 3435927 w 5867400"/>
                <a:gd name="connsiteY5" fmla="*/ 151525 h 1630812"/>
                <a:gd name="connsiteX6" fmla="*/ 3477491 w 5867400"/>
                <a:gd name="connsiteY6" fmla="*/ 12980 h 1630812"/>
                <a:gd name="connsiteX7" fmla="*/ 3290455 w 5867400"/>
                <a:gd name="connsiteY7" fmla="*/ 12979 h 1630812"/>
                <a:gd name="connsiteX8" fmla="*/ 2244437 w 5867400"/>
                <a:gd name="connsiteY8" fmla="*/ 75325 h 1630812"/>
                <a:gd name="connsiteX9" fmla="*/ 1461655 w 5867400"/>
                <a:gd name="connsiteY9" fmla="*/ 227725 h 1630812"/>
                <a:gd name="connsiteX10" fmla="*/ 852054 w 5867400"/>
                <a:gd name="connsiteY10" fmla="*/ 463252 h 1630812"/>
                <a:gd name="connsiteX11" fmla="*/ 228600 w 5867400"/>
                <a:gd name="connsiteY11" fmla="*/ 830398 h 1630812"/>
                <a:gd name="connsiteX12" fmla="*/ 0 w 5867400"/>
                <a:gd name="connsiteY12" fmla="*/ 968943 h 1630812"/>
                <a:gd name="connsiteX0" fmla="*/ 5867400 w 5867400"/>
                <a:gd name="connsiteY0" fmla="*/ 1518398 h 1626085"/>
                <a:gd name="connsiteX1" fmla="*/ 3131127 w 5867400"/>
                <a:gd name="connsiteY1" fmla="*/ 1608453 h 1626085"/>
                <a:gd name="connsiteX2" fmla="*/ 2957946 w 5867400"/>
                <a:gd name="connsiteY2" fmla="*/ 1615380 h 1626085"/>
                <a:gd name="connsiteX3" fmla="*/ 2999509 w 5867400"/>
                <a:gd name="connsiteY3" fmla="*/ 1490689 h 1626085"/>
                <a:gd name="connsiteX4" fmla="*/ 3096491 w 5867400"/>
                <a:gd name="connsiteY4" fmla="*/ 1248235 h 1626085"/>
                <a:gd name="connsiteX5" fmla="*/ 3435927 w 5867400"/>
                <a:gd name="connsiteY5" fmla="*/ 146798 h 1626085"/>
                <a:gd name="connsiteX6" fmla="*/ 3477491 w 5867400"/>
                <a:gd name="connsiteY6" fmla="*/ 8253 h 1626085"/>
                <a:gd name="connsiteX7" fmla="*/ 3290455 w 5867400"/>
                <a:gd name="connsiteY7" fmla="*/ 8252 h 1626085"/>
                <a:gd name="connsiteX8" fmla="*/ 2244437 w 5867400"/>
                <a:gd name="connsiteY8" fmla="*/ 70598 h 1626085"/>
                <a:gd name="connsiteX9" fmla="*/ 1461655 w 5867400"/>
                <a:gd name="connsiteY9" fmla="*/ 222998 h 1626085"/>
                <a:gd name="connsiteX10" fmla="*/ 852054 w 5867400"/>
                <a:gd name="connsiteY10" fmla="*/ 458525 h 1626085"/>
                <a:gd name="connsiteX11" fmla="*/ 228600 w 5867400"/>
                <a:gd name="connsiteY11" fmla="*/ 825671 h 1626085"/>
                <a:gd name="connsiteX12" fmla="*/ 0 w 5867400"/>
                <a:gd name="connsiteY12" fmla="*/ 964216 h 1626085"/>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96491 w 5867400"/>
                <a:gd name="connsiteY4" fmla="*/ 1250173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89564 w 5867400"/>
                <a:gd name="connsiteY4" fmla="*/ 1208609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30893 h 1638580"/>
                <a:gd name="connsiteX1" fmla="*/ 3131127 w 5867400"/>
                <a:gd name="connsiteY1" fmla="*/ 1620948 h 1638580"/>
                <a:gd name="connsiteX2" fmla="*/ 2957946 w 5867400"/>
                <a:gd name="connsiteY2" fmla="*/ 1627875 h 1638580"/>
                <a:gd name="connsiteX3" fmla="*/ 2999509 w 5867400"/>
                <a:gd name="connsiteY3" fmla="*/ 1503184 h 1638580"/>
                <a:gd name="connsiteX4" fmla="*/ 3089564 w 5867400"/>
                <a:gd name="connsiteY4" fmla="*/ 1219166 h 1638580"/>
                <a:gd name="connsiteX5" fmla="*/ 3435927 w 5867400"/>
                <a:gd name="connsiteY5" fmla="*/ 159293 h 1638580"/>
                <a:gd name="connsiteX6" fmla="*/ 3463636 w 5867400"/>
                <a:gd name="connsiteY6" fmla="*/ 13821 h 1638580"/>
                <a:gd name="connsiteX7" fmla="*/ 3290455 w 5867400"/>
                <a:gd name="connsiteY7" fmla="*/ 13819 h 1638580"/>
                <a:gd name="connsiteX8" fmla="*/ 2244437 w 5867400"/>
                <a:gd name="connsiteY8" fmla="*/ 83093 h 1638580"/>
                <a:gd name="connsiteX9" fmla="*/ 1461655 w 5867400"/>
                <a:gd name="connsiteY9" fmla="*/ 235493 h 1638580"/>
                <a:gd name="connsiteX10" fmla="*/ 852054 w 5867400"/>
                <a:gd name="connsiteY10" fmla="*/ 471020 h 1638580"/>
                <a:gd name="connsiteX11" fmla="*/ 228600 w 5867400"/>
                <a:gd name="connsiteY11" fmla="*/ 838166 h 1638580"/>
                <a:gd name="connsiteX12" fmla="*/ 0 w 5867400"/>
                <a:gd name="connsiteY12" fmla="*/ 976711 h 1638580"/>
                <a:gd name="connsiteX0" fmla="*/ 5867400 w 5867400"/>
                <a:gd name="connsiteY0" fmla="*/ 1539905 h 1647592"/>
                <a:gd name="connsiteX1" fmla="*/ 3131127 w 5867400"/>
                <a:gd name="connsiteY1" fmla="*/ 1629960 h 1647592"/>
                <a:gd name="connsiteX2" fmla="*/ 2957946 w 5867400"/>
                <a:gd name="connsiteY2" fmla="*/ 1636887 h 1647592"/>
                <a:gd name="connsiteX3" fmla="*/ 2999509 w 5867400"/>
                <a:gd name="connsiteY3" fmla="*/ 1512196 h 1647592"/>
                <a:gd name="connsiteX4" fmla="*/ 3089564 w 5867400"/>
                <a:gd name="connsiteY4" fmla="*/ 1228178 h 1647592"/>
                <a:gd name="connsiteX5" fmla="*/ 3435927 w 5867400"/>
                <a:gd name="connsiteY5" fmla="*/ 168305 h 1647592"/>
                <a:gd name="connsiteX6" fmla="*/ 3463636 w 5867400"/>
                <a:gd name="connsiteY6" fmla="*/ 22833 h 1647592"/>
                <a:gd name="connsiteX7" fmla="*/ 3290455 w 5867400"/>
                <a:gd name="connsiteY7" fmla="*/ 22831 h 1647592"/>
                <a:gd name="connsiteX8" fmla="*/ 2244437 w 5867400"/>
                <a:gd name="connsiteY8" fmla="*/ 92105 h 1647592"/>
                <a:gd name="connsiteX9" fmla="*/ 1461655 w 5867400"/>
                <a:gd name="connsiteY9" fmla="*/ 244505 h 1647592"/>
                <a:gd name="connsiteX10" fmla="*/ 852054 w 5867400"/>
                <a:gd name="connsiteY10" fmla="*/ 480032 h 1647592"/>
                <a:gd name="connsiteX11" fmla="*/ 228600 w 5867400"/>
                <a:gd name="connsiteY11" fmla="*/ 847178 h 1647592"/>
                <a:gd name="connsiteX12" fmla="*/ 0 w 5867400"/>
                <a:gd name="connsiteY12" fmla="*/ 985723 h 1647592"/>
                <a:gd name="connsiteX0" fmla="*/ 5867400 w 5867400"/>
                <a:gd name="connsiteY0" fmla="*/ 1530604 h 1638291"/>
                <a:gd name="connsiteX1" fmla="*/ 3131127 w 5867400"/>
                <a:gd name="connsiteY1" fmla="*/ 1620659 h 1638291"/>
                <a:gd name="connsiteX2" fmla="*/ 2957946 w 5867400"/>
                <a:gd name="connsiteY2" fmla="*/ 1627586 h 1638291"/>
                <a:gd name="connsiteX3" fmla="*/ 2999509 w 5867400"/>
                <a:gd name="connsiteY3" fmla="*/ 1502895 h 1638291"/>
                <a:gd name="connsiteX4" fmla="*/ 3089564 w 5867400"/>
                <a:gd name="connsiteY4" fmla="*/ 1218877 h 1638291"/>
                <a:gd name="connsiteX5" fmla="*/ 3435927 w 5867400"/>
                <a:gd name="connsiteY5" fmla="*/ 159004 h 1638291"/>
                <a:gd name="connsiteX6" fmla="*/ 3470563 w 5867400"/>
                <a:gd name="connsiteY6" fmla="*/ 27387 h 1638291"/>
                <a:gd name="connsiteX7" fmla="*/ 3290455 w 5867400"/>
                <a:gd name="connsiteY7" fmla="*/ 13530 h 1638291"/>
                <a:gd name="connsiteX8" fmla="*/ 2244437 w 5867400"/>
                <a:gd name="connsiteY8" fmla="*/ 82804 h 1638291"/>
                <a:gd name="connsiteX9" fmla="*/ 1461655 w 5867400"/>
                <a:gd name="connsiteY9" fmla="*/ 235204 h 1638291"/>
                <a:gd name="connsiteX10" fmla="*/ 852054 w 5867400"/>
                <a:gd name="connsiteY10" fmla="*/ 470731 h 1638291"/>
                <a:gd name="connsiteX11" fmla="*/ 228600 w 5867400"/>
                <a:gd name="connsiteY11" fmla="*/ 837877 h 1638291"/>
                <a:gd name="connsiteX12" fmla="*/ 0 w 5867400"/>
                <a:gd name="connsiteY12" fmla="*/ 976422 h 1638291"/>
                <a:gd name="connsiteX0" fmla="*/ 5867400 w 5867400"/>
                <a:gd name="connsiteY0" fmla="*/ 1530604 h 1659202"/>
                <a:gd name="connsiteX1" fmla="*/ 3131127 w 5867400"/>
                <a:gd name="connsiteY1" fmla="*/ 1620659 h 1659202"/>
                <a:gd name="connsiteX2" fmla="*/ 2957946 w 5867400"/>
                <a:gd name="connsiteY2" fmla="*/ 1627586 h 1659202"/>
                <a:gd name="connsiteX3" fmla="*/ 3089564 w 5867400"/>
                <a:gd name="connsiteY3" fmla="*/ 1218877 h 1659202"/>
                <a:gd name="connsiteX4" fmla="*/ 3435927 w 5867400"/>
                <a:gd name="connsiteY4" fmla="*/ 159004 h 1659202"/>
                <a:gd name="connsiteX5" fmla="*/ 3470563 w 5867400"/>
                <a:gd name="connsiteY5" fmla="*/ 27387 h 1659202"/>
                <a:gd name="connsiteX6" fmla="*/ 3290455 w 5867400"/>
                <a:gd name="connsiteY6" fmla="*/ 13530 h 1659202"/>
                <a:gd name="connsiteX7" fmla="*/ 2244437 w 5867400"/>
                <a:gd name="connsiteY7" fmla="*/ 82804 h 1659202"/>
                <a:gd name="connsiteX8" fmla="*/ 1461655 w 5867400"/>
                <a:gd name="connsiteY8" fmla="*/ 235204 h 1659202"/>
                <a:gd name="connsiteX9" fmla="*/ 852054 w 5867400"/>
                <a:gd name="connsiteY9" fmla="*/ 470731 h 1659202"/>
                <a:gd name="connsiteX10" fmla="*/ 228600 w 5867400"/>
                <a:gd name="connsiteY10" fmla="*/ 837877 h 1659202"/>
                <a:gd name="connsiteX11" fmla="*/ 0 w 5867400"/>
                <a:gd name="connsiteY11" fmla="*/ 976422 h 1659202"/>
                <a:gd name="connsiteX0" fmla="*/ 5867400 w 5867400"/>
                <a:gd name="connsiteY0" fmla="*/ 1530604 h 1665349"/>
                <a:gd name="connsiteX1" fmla="*/ 3131127 w 5867400"/>
                <a:gd name="connsiteY1" fmla="*/ 1620659 h 1665349"/>
                <a:gd name="connsiteX2" fmla="*/ 2957946 w 5867400"/>
                <a:gd name="connsiteY2" fmla="*/ 1627586 h 1665349"/>
                <a:gd name="connsiteX3" fmla="*/ 3089564 w 5867400"/>
                <a:gd name="connsiteY3" fmla="*/ 1218877 h 1665349"/>
                <a:gd name="connsiteX4" fmla="*/ 3435927 w 5867400"/>
                <a:gd name="connsiteY4" fmla="*/ 159004 h 1665349"/>
                <a:gd name="connsiteX5" fmla="*/ 3470563 w 5867400"/>
                <a:gd name="connsiteY5" fmla="*/ 27387 h 1665349"/>
                <a:gd name="connsiteX6" fmla="*/ 3290455 w 5867400"/>
                <a:gd name="connsiteY6" fmla="*/ 13530 h 1665349"/>
                <a:gd name="connsiteX7" fmla="*/ 2244437 w 5867400"/>
                <a:gd name="connsiteY7" fmla="*/ 82804 h 1665349"/>
                <a:gd name="connsiteX8" fmla="*/ 1461655 w 5867400"/>
                <a:gd name="connsiteY8" fmla="*/ 235204 h 1665349"/>
                <a:gd name="connsiteX9" fmla="*/ 852054 w 5867400"/>
                <a:gd name="connsiteY9" fmla="*/ 470731 h 1665349"/>
                <a:gd name="connsiteX10" fmla="*/ 228600 w 5867400"/>
                <a:gd name="connsiteY10" fmla="*/ 837877 h 1665349"/>
                <a:gd name="connsiteX11" fmla="*/ 0 w 5867400"/>
                <a:gd name="connsiteY11" fmla="*/ 976422 h 1665349"/>
                <a:gd name="connsiteX0" fmla="*/ 5867400 w 5867400"/>
                <a:gd name="connsiteY0" fmla="*/ 1530604 h 1650866"/>
                <a:gd name="connsiteX1" fmla="*/ 3789218 w 5867400"/>
                <a:gd name="connsiteY1" fmla="*/ 1592950 h 1650866"/>
                <a:gd name="connsiteX2" fmla="*/ 2957946 w 5867400"/>
                <a:gd name="connsiteY2" fmla="*/ 1627586 h 1650866"/>
                <a:gd name="connsiteX3" fmla="*/ 3089564 w 5867400"/>
                <a:gd name="connsiteY3" fmla="*/ 1218877 h 1650866"/>
                <a:gd name="connsiteX4" fmla="*/ 3435927 w 5867400"/>
                <a:gd name="connsiteY4" fmla="*/ 159004 h 1650866"/>
                <a:gd name="connsiteX5" fmla="*/ 3470563 w 5867400"/>
                <a:gd name="connsiteY5" fmla="*/ 27387 h 1650866"/>
                <a:gd name="connsiteX6" fmla="*/ 3290455 w 5867400"/>
                <a:gd name="connsiteY6" fmla="*/ 13530 h 1650866"/>
                <a:gd name="connsiteX7" fmla="*/ 2244437 w 5867400"/>
                <a:gd name="connsiteY7" fmla="*/ 82804 h 1650866"/>
                <a:gd name="connsiteX8" fmla="*/ 1461655 w 5867400"/>
                <a:gd name="connsiteY8" fmla="*/ 235204 h 1650866"/>
                <a:gd name="connsiteX9" fmla="*/ 852054 w 5867400"/>
                <a:gd name="connsiteY9" fmla="*/ 470731 h 1650866"/>
                <a:gd name="connsiteX10" fmla="*/ 228600 w 5867400"/>
                <a:gd name="connsiteY10" fmla="*/ 837877 h 1650866"/>
                <a:gd name="connsiteX11" fmla="*/ 0 w 5867400"/>
                <a:gd name="connsiteY11" fmla="*/ 976422 h 1650866"/>
                <a:gd name="connsiteX0" fmla="*/ 5867400 w 5867400"/>
                <a:gd name="connsiteY0" fmla="*/ 1530604 h 1639086"/>
                <a:gd name="connsiteX1" fmla="*/ 3789218 w 5867400"/>
                <a:gd name="connsiteY1" fmla="*/ 1592950 h 1639086"/>
                <a:gd name="connsiteX2" fmla="*/ 2957946 w 5867400"/>
                <a:gd name="connsiteY2" fmla="*/ 1627586 h 1639086"/>
                <a:gd name="connsiteX3" fmla="*/ 3089564 w 5867400"/>
                <a:gd name="connsiteY3" fmla="*/ 1218877 h 1639086"/>
                <a:gd name="connsiteX4" fmla="*/ 3435927 w 5867400"/>
                <a:gd name="connsiteY4" fmla="*/ 159004 h 1639086"/>
                <a:gd name="connsiteX5" fmla="*/ 3470563 w 5867400"/>
                <a:gd name="connsiteY5" fmla="*/ 27387 h 1639086"/>
                <a:gd name="connsiteX6" fmla="*/ 3290455 w 5867400"/>
                <a:gd name="connsiteY6" fmla="*/ 13530 h 1639086"/>
                <a:gd name="connsiteX7" fmla="*/ 2244437 w 5867400"/>
                <a:gd name="connsiteY7" fmla="*/ 82804 h 1639086"/>
                <a:gd name="connsiteX8" fmla="*/ 1461655 w 5867400"/>
                <a:gd name="connsiteY8" fmla="*/ 235204 h 1639086"/>
                <a:gd name="connsiteX9" fmla="*/ 852054 w 5867400"/>
                <a:gd name="connsiteY9" fmla="*/ 470731 h 1639086"/>
                <a:gd name="connsiteX10" fmla="*/ 228600 w 5867400"/>
                <a:gd name="connsiteY10" fmla="*/ 837877 h 1639086"/>
                <a:gd name="connsiteX11" fmla="*/ 0 w 5867400"/>
                <a:gd name="connsiteY11" fmla="*/ 976422 h 1639086"/>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28600 w 5867400"/>
                <a:gd name="connsiteY10" fmla="*/ 837877 h 1627185"/>
                <a:gd name="connsiteX11" fmla="*/ 0 w 5867400"/>
                <a:gd name="connsiteY11" fmla="*/ 976422 h 1627185"/>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37066 w 5867400"/>
                <a:gd name="connsiteY10" fmla="*/ 812477 h 1627185"/>
                <a:gd name="connsiteX11" fmla="*/ 0 w 5867400"/>
                <a:gd name="connsiteY11" fmla="*/ 976422 h 1627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7400" h="1627185">
                  <a:moveTo>
                    <a:pt x="5867400" y="1530604"/>
                  </a:moveTo>
                  <a:lnTo>
                    <a:pt x="3789218" y="1592950"/>
                  </a:lnTo>
                  <a:cubicBezTo>
                    <a:pt x="3304309" y="1606805"/>
                    <a:pt x="2936010" y="1648368"/>
                    <a:pt x="2957946" y="1613732"/>
                  </a:cubicBezTo>
                  <a:cubicBezTo>
                    <a:pt x="2979882" y="1579096"/>
                    <a:pt x="3009901" y="1461332"/>
                    <a:pt x="3089564" y="1218877"/>
                  </a:cubicBezTo>
                  <a:cubicBezTo>
                    <a:pt x="3169227" y="976422"/>
                    <a:pt x="3372427" y="357586"/>
                    <a:pt x="3435927" y="159004"/>
                  </a:cubicBezTo>
                  <a:cubicBezTo>
                    <a:pt x="3499427" y="-39578"/>
                    <a:pt x="3453244" y="72415"/>
                    <a:pt x="3470563" y="27387"/>
                  </a:cubicBezTo>
                  <a:cubicBezTo>
                    <a:pt x="3487882" y="-17641"/>
                    <a:pt x="3494809" y="4294"/>
                    <a:pt x="3290455" y="13530"/>
                  </a:cubicBezTo>
                  <a:cubicBezTo>
                    <a:pt x="3086101" y="22766"/>
                    <a:pt x="2549237" y="45858"/>
                    <a:pt x="2244437" y="82804"/>
                  </a:cubicBezTo>
                  <a:cubicBezTo>
                    <a:pt x="1939637" y="119750"/>
                    <a:pt x="1693719" y="170550"/>
                    <a:pt x="1461655" y="235204"/>
                  </a:cubicBezTo>
                  <a:cubicBezTo>
                    <a:pt x="1229591" y="299858"/>
                    <a:pt x="1056152" y="374519"/>
                    <a:pt x="852054" y="470731"/>
                  </a:cubicBezTo>
                  <a:cubicBezTo>
                    <a:pt x="647956" y="566943"/>
                    <a:pt x="379075" y="728195"/>
                    <a:pt x="237066" y="812477"/>
                  </a:cubicBezTo>
                  <a:cubicBezTo>
                    <a:pt x="95057" y="896759"/>
                    <a:pt x="40409" y="949290"/>
                    <a:pt x="0" y="976422"/>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p:cNvSpPr/>
            <p:nvPr/>
          </p:nvSpPr>
          <p:spPr bwMode="auto">
            <a:xfrm>
              <a:off x="4859353" y="2041687"/>
              <a:ext cx="411463" cy="306259"/>
            </a:xfrm>
            <a:custGeom>
              <a:avLst/>
              <a:gdLst>
                <a:gd name="connsiteX0" fmla="*/ 0 w 1219200"/>
                <a:gd name="connsiteY0" fmla="*/ 907473 h 907473"/>
                <a:gd name="connsiteX1" fmla="*/ 1219200 w 1219200"/>
                <a:gd name="connsiteY1" fmla="*/ 0 h 907473"/>
                <a:gd name="connsiteX2" fmla="*/ 1184564 w 1219200"/>
                <a:gd name="connsiteY2" fmla="*/ 221673 h 907473"/>
              </a:gdLst>
              <a:ahLst/>
              <a:cxnLst>
                <a:cxn ang="0">
                  <a:pos x="connsiteX0" y="connsiteY0"/>
                </a:cxn>
                <a:cxn ang="0">
                  <a:pos x="connsiteX1" y="connsiteY1"/>
                </a:cxn>
                <a:cxn ang="0">
                  <a:pos x="connsiteX2" y="connsiteY2"/>
                </a:cxn>
              </a:cxnLst>
              <a:rect l="l" t="t" r="r" b="b"/>
              <a:pathLst>
                <a:path w="1219200" h="907473">
                  <a:moveTo>
                    <a:pt x="0" y="907473"/>
                  </a:moveTo>
                  <a:lnTo>
                    <a:pt x="1219200" y="0"/>
                  </a:lnTo>
                  <a:lnTo>
                    <a:pt x="1184564" y="221673"/>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p:cNvSpPr/>
            <p:nvPr/>
          </p:nvSpPr>
          <p:spPr bwMode="auto">
            <a:xfrm>
              <a:off x="4681676" y="1629530"/>
              <a:ext cx="3836423" cy="725430"/>
            </a:xfrm>
            <a:custGeom>
              <a:avLst/>
              <a:gdLst>
                <a:gd name="connsiteX0" fmla="*/ 0 w 11367655"/>
                <a:gd name="connsiteY0" fmla="*/ 2149512 h 2149512"/>
                <a:gd name="connsiteX1" fmla="*/ 623455 w 11367655"/>
                <a:gd name="connsiteY1" fmla="*/ 1699240 h 2149512"/>
                <a:gd name="connsiteX2" fmla="*/ 1537855 w 11367655"/>
                <a:gd name="connsiteY2" fmla="*/ 1082712 h 2149512"/>
                <a:gd name="connsiteX3" fmla="*/ 2348346 w 11367655"/>
                <a:gd name="connsiteY3" fmla="*/ 563167 h 2149512"/>
                <a:gd name="connsiteX4" fmla="*/ 2479964 w 11367655"/>
                <a:gd name="connsiteY4" fmla="*/ 486967 h 2149512"/>
                <a:gd name="connsiteX5" fmla="*/ 2528455 w 11367655"/>
                <a:gd name="connsiteY5" fmla="*/ 431549 h 2149512"/>
                <a:gd name="connsiteX6" fmla="*/ 2750128 w 11367655"/>
                <a:gd name="connsiteY6" fmla="*/ 355349 h 2149512"/>
                <a:gd name="connsiteX7" fmla="*/ 3449782 w 11367655"/>
                <a:gd name="connsiteY7" fmla="*/ 189094 h 2149512"/>
                <a:gd name="connsiteX8" fmla="*/ 4301837 w 11367655"/>
                <a:gd name="connsiteY8" fmla="*/ 78258 h 2149512"/>
                <a:gd name="connsiteX9" fmla="*/ 5368637 w 11367655"/>
                <a:gd name="connsiteY9" fmla="*/ 15912 h 2149512"/>
                <a:gd name="connsiteX10" fmla="*/ 6497782 w 11367655"/>
                <a:gd name="connsiteY10" fmla="*/ 2058 h 2149512"/>
                <a:gd name="connsiteX11" fmla="*/ 7904018 w 11367655"/>
                <a:gd name="connsiteY11" fmla="*/ 50549 h 2149512"/>
                <a:gd name="connsiteX12" fmla="*/ 9033164 w 11367655"/>
                <a:gd name="connsiteY12" fmla="*/ 119822 h 2149512"/>
                <a:gd name="connsiteX13" fmla="*/ 10280073 w 11367655"/>
                <a:gd name="connsiteY13" fmla="*/ 279149 h 2149512"/>
                <a:gd name="connsiteX14" fmla="*/ 11069782 w 11367655"/>
                <a:gd name="connsiteY14" fmla="*/ 438476 h 2149512"/>
                <a:gd name="connsiteX15" fmla="*/ 11367655 w 11367655"/>
                <a:gd name="connsiteY15" fmla="*/ 514676 h 214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67655" h="2149512">
                  <a:moveTo>
                    <a:pt x="0" y="2149512"/>
                  </a:moveTo>
                  <a:cubicBezTo>
                    <a:pt x="183573" y="2013276"/>
                    <a:pt x="367146" y="1877040"/>
                    <a:pt x="623455" y="1699240"/>
                  </a:cubicBezTo>
                  <a:cubicBezTo>
                    <a:pt x="879764" y="1521440"/>
                    <a:pt x="1250373" y="1272057"/>
                    <a:pt x="1537855" y="1082712"/>
                  </a:cubicBezTo>
                  <a:cubicBezTo>
                    <a:pt x="1825337" y="893366"/>
                    <a:pt x="2191328" y="662458"/>
                    <a:pt x="2348346" y="563167"/>
                  </a:cubicBezTo>
                  <a:cubicBezTo>
                    <a:pt x="2505364" y="463876"/>
                    <a:pt x="2449946" y="508903"/>
                    <a:pt x="2479964" y="486967"/>
                  </a:cubicBezTo>
                  <a:cubicBezTo>
                    <a:pt x="2509982" y="465031"/>
                    <a:pt x="2483428" y="453485"/>
                    <a:pt x="2528455" y="431549"/>
                  </a:cubicBezTo>
                  <a:cubicBezTo>
                    <a:pt x="2573482" y="409613"/>
                    <a:pt x="2596573" y="395758"/>
                    <a:pt x="2750128" y="355349"/>
                  </a:cubicBezTo>
                  <a:cubicBezTo>
                    <a:pt x="2903683" y="314940"/>
                    <a:pt x="3191164" y="235276"/>
                    <a:pt x="3449782" y="189094"/>
                  </a:cubicBezTo>
                  <a:cubicBezTo>
                    <a:pt x="3708400" y="142912"/>
                    <a:pt x="3982028" y="107122"/>
                    <a:pt x="4301837" y="78258"/>
                  </a:cubicBezTo>
                  <a:cubicBezTo>
                    <a:pt x="4621646" y="49394"/>
                    <a:pt x="5002646" y="28612"/>
                    <a:pt x="5368637" y="15912"/>
                  </a:cubicBezTo>
                  <a:cubicBezTo>
                    <a:pt x="5734628" y="3212"/>
                    <a:pt x="6075219" y="-3715"/>
                    <a:pt x="6497782" y="2058"/>
                  </a:cubicBezTo>
                  <a:cubicBezTo>
                    <a:pt x="6920345" y="7831"/>
                    <a:pt x="7481454" y="30922"/>
                    <a:pt x="7904018" y="50549"/>
                  </a:cubicBezTo>
                  <a:cubicBezTo>
                    <a:pt x="8326582" y="70176"/>
                    <a:pt x="8637155" y="81722"/>
                    <a:pt x="9033164" y="119822"/>
                  </a:cubicBezTo>
                  <a:cubicBezTo>
                    <a:pt x="9429173" y="157922"/>
                    <a:pt x="9940637" y="226040"/>
                    <a:pt x="10280073" y="279149"/>
                  </a:cubicBezTo>
                  <a:cubicBezTo>
                    <a:pt x="10619509" y="332258"/>
                    <a:pt x="10888519" y="399222"/>
                    <a:pt x="11069782" y="438476"/>
                  </a:cubicBezTo>
                  <a:cubicBezTo>
                    <a:pt x="11251045" y="477730"/>
                    <a:pt x="11309350" y="496203"/>
                    <a:pt x="11367655" y="514676"/>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p:cNvSpPr/>
            <p:nvPr/>
          </p:nvSpPr>
          <p:spPr bwMode="auto">
            <a:xfrm>
              <a:off x="4619985" y="1684215"/>
              <a:ext cx="3433549" cy="1704077"/>
            </a:xfrm>
            <a:custGeom>
              <a:avLst/>
              <a:gdLst>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61729 w 10197719"/>
                <a:gd name="connsiteY24" fmla="*/ 275571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67369 w 10197719"/>
                <a:gd name="connsiteY25" fmla="*/ 3525330 h 5049330"/>
                <a:gd name="connsiteX26" fmla="*/ 7826349 w 10197719"/>
                <a:gd name="connsiteY26" fmla="*/ 4317810 h 5049330"/>
                <a:gd name="connsiteX27" fmla="*/ 7498689 w 10197719"/>
                <a:gd name="connsiteY27" fmla="*/ 4790250 h 5049330"/>
                <a:gd name="connsiteX0" fmla="*/ 160629 w 10198278"/>
                <a:gd name="connsiteY0" fmla="*/ 5049330 h 5049330"/>
                <a:gd name="connsiteX1" fmla="*/ 69189 w 10198278"/>
                <a:gd name="connsiteY1" fmla="*/ 4775010 h 5049330"/>
                <a:gd name="connsiteX2" fmla="*/ 8229 w 10198278"/>
                <a:gd name="connsiteY2" fmla="*/ 3883470 h 5049330"/>
                <a:gd name="connsiteX3" fmla="*/ 609 w 10198278"/>
                <a:gd name="connsiteY3" fmla="*/ 2831910 h 5049330"/>
                <a:gd name="connsiteX4" fmla="*/ 8229 w 10198278"/>
                <a:gd name="connsiteY4" fmla="*/ 2466150 h 5049330"/>
                <a:gd name="connsiteX5" fmla="*/ 38709 w 10198278"/>
                <a:gd name="connsiteY5" fmla="*/ 2306130 h 5049330"/>
                <a:gd name="connsiteX6" fmla="*/ 343509 w 10198278"/>
                <a:gd name="connsiteY6" fmla="*/ 2108010 h 5049330"/>
                <a:gd name="connsiteX7" fmla="*/ 526389 w 10198278"/>
                <a:gd name="connsiteY7" fmla="*/ 1963230 h 5049330"/>
                <a:gd name="connsiteX8" fmla="*/ 762609 w 10198278"/>
                <a:gd name="connsiteY8" fmla="*/ 1787970 h 5049330"/>
                <a:gd name="connsiteX9" fmla="*/ 1494129 w 10198278"/>
                <a:gd name="connsiteY9" fmla="*/ 1231710 h 5049330"/>
                <a:gd name="connsiteX10" fmla="*/ 2263749 w 10198278"/>
                <a:gd name="connsiteY10" fmla="*/ 736410 h 5049330"/>
                <a:gd name="connsiteX11" fmla="*/ 2896209 w 10198278"/>
                <a:gd name="connsiteY11" fmla="*/ 393510 h 5049330"/>
                <a:gd name="connsiteX12" fmla="*/ 3810609 w 10198278"/>
                <a:gd name="connsiteY12" fmla="*/ 149670 h 5049330"/>
                <a:gd name="connsiteX13" fmla="*/ 5288889 w 10198278"/>
                <a:gd name="connsiteY13" fmla="*/ 20130 h 5049330"/>
                <a:gd name="connsiteX14" fmla="*/ 6203289 w 10198278"/>
                <a:gd name="connsiteY14" fmla="*/ 4890 h 5049330"/>
                <a:gd name="connsiteX15" fmla="*/ 7399629 w 10198278"/>
                <a:gd name="connsiteY15" fmla="*/ 65850 h 5049330"/>
                <a:gd name="connsiteX16" fmla="*/ 8474049 w 10198278"/>
                <a:gd name="connsiteY16" fmla="*/ 157290 h 5049330"/>
                <a:gd name="connsiteX17" fmla="*/ 9159849 w 10198278"/>
                <a:gd name="connsiteY17" fmla="*/ 302070 h 5049330"/>
                <a:gd name="connsiteX18" fmla="*/ 9723729 w 10198278"/>
                <a:gd name="connsiteY18" fmla="*/ 454470 h 5049330"/>
                <a:gd name="connsiteX19" fmla="*/ 10074249 w 10198278"/>
                <a:gd name="connsiteY19" fmla="*/ 652590 h 5049330"/>
                <a:gd name="connsiteX20" fmla="*/ 10173309 w 10198278"/>
                <a:gd name="connsiteY20" fmla="*/ 896430 h 5049330"/>
                <a:gd name="connsiteX21" fmla="*/ 10180929 w 10198278"/>
                <a:gd name="connsiteY21" fmla="*/ 1071690 h 5049330"/>
                <a:gd name="connsiteX22" fmla="*/ 9967569 w 10198278"/>
                <a:gd name="connsiteY22" fmla="*/ 1475550 h 5049330"/>
                <a:gd name="connsiteX23" fmla="*/ 9472269 w 10198278"/>
                <a:gd name="connsiteY23" fmla="*/ 2077530 h 5049330"/>
                <a:gd name="connsiteX24" fmla="*/ 8954109 w 10198278"/>
                <a:gd name="connsiteY24" fmla="*/ 2740470 h 5049330"/>
                <a:gd name="connsiteX25" fmla="*/ 8367369 w 10198278"/>
                <a:gd name="connsiteY25" fmla="*/ 3525330 h 5049330"/>
                <a:gd name="connsiteX26" fmla="*/ 7826349 w 10198278"/>
                <a:gd name="connsiteY26" fmla="*/ 4317810 h 5049330"/>
                <a:gd name="connsiteX27" fmla="*/ 7498689 w 10198278"/>
                <a:gd name="connsiteY27" fmla="*/ 4790250 h 5049330"/>
                <a:gd name="connsiteX0" fmla="*/ 160629 w 10198948"/>
                <a:gd name="connsiteY0" fmla="*/ 5049330 h 5049330"/>
                <a:gd name="connsiteX1" fmla="*/ 69189 w 10198948"/>
                <a:gd name="connsiteY1" fmla="*/ 4775010 h 5049330"/>
                <a:gd name="connsiteX2" fmla="*/ 8229 w 10198948"/>
                <a:gd name="connsiteY2" fmla="*/ 3883470 h 5049330"/>
                <a:gd name="connsiteX3" fmla="*/ 609 w 10198948"/>
                <a:gd name="connsiteY3" fmla="*/ 2831910 h 5049330"/>
                <a:gd name="connsiteX4" fmla="*/ 8229 w 10198948"/>
                <a:gd name="connsiteY4" fmla="*/ 2466150 h 5049330"/>
                <a:gd name="connsiteX5" fmla="*/ 38709 w 10198948"/>
                <a:gd name="connsiteY5" fmla="*/ 2306130 h 5049330"/>
                <a:gd name="connsiteX6" fmla="*/ 343509 w 10198948"/>
                <a:gd name="connsiteY6" fmla="*/ 2108010 h 5049330"/>
                <a:gd name="connsiteX7" fmla="*/ 526389 w 10198948"/>
                <a:gd name="connsiteY7" fmla="*/ 1963230 h 5049330"/>
                <a:gd name="connsiteX8" fmla="*/ 762609 w 10198948"/>
                <a:gd name="connsiteY8" fmla="*/ 1787970 h 5049330"/>
                <a:gd name="connsiteX9" fmla="*/ 1494129 w 10198948"/>
                <a:gd name="connsiteY9" fmla="*/ 1231710 h 5049330"/>
                <a:gd name="connsiteX10" fmla="*/ 2263749 w 10198948"/>
                <a:gd name="connsiteY10" fmla="*/ 736410 h 5049330"/>
                <a:gd name="connsiteX11" fmla="*/ 2896209 w 10198948"/>
                <a:gd name="connsiteY11" fmla="*/ 393510 h 5049330"/>
                <a:gd name="connsiteX12" fmla="*/ 3810609 w 10198948"/>
                <a:gd name="connsiteY12" fmla="*/ 149670 h 5049330"/>
                <a:gd name="connsiteX13" fmla="*/ 5288889 w 10198948"/>
                <a:gd name="connsiteY13" fmla="*/ 20130 h 5049330"/>
                <a:gd name="connsiteX14" fmla="*/ 6203289 w 10198948"/>
                <a:gd name="connsiteY14" fmla="*/ 4890 h 5049330"/>
                <a:gd name="connsiteX15" fmla="*/ 7399629 w 10198948"/>
                <a:gd name="connsiteY15" fmla="*/ 65850 h 5049330"/>
                <a:gd name="connsiteX16" fmla="*/ 8474049 w 10198948"/>
                <a:gd name="connsiteY16" fmla="*/ 157290 h 5049330"/>
                <a:gd name="connsiteX17" fmla="*/ 9159849 w 10198948"/>
                <a:gd name="connsiteY17" fmla="*/ 302070 h 5049330"/>
                <a:gd name="connsiteX18" fmla="*/ 9723729 w 10198948"/>
                <a:gd name="connsiteY18" fmla="*/ 454470 h 5049330"/>
                <a:gd name="connsiteX19" fmla="*/ 10059009 w 10198948"/>
                <a:gd name="connsiteY19" fmla="*/ 660210 h 5049330"/>
                <a:gd name="connsiteX20" fmla="*/ 10173309 w 10198948"/>
                <a:gd name="connsiteY20" fmla="*/ 896430 h 5049330"/>
                <a:gd name="connsiteX21" fmla="*/ 10180929 w 10198948"/>
                <a:gd name="connsiteY21" fmla="*/ 1071690 h 5049330"/>
                <a:gd name="connsiteX22" fmla="*/ 9967569 w 10198948"/>
                <a:gd name="connsiteY22" fmla="*/ 1475550 h 5049330"/>
                <a:gd name="connsiteX23" fmla="*/ 9472269 w 10198948"/>
                <a:gd name="connsiteY23" fmla="*/ 2077530 h 5049330"/>
                <a:gd name="connsiteX24" fmla="*/ 8954109 w 10198948"/>
                <a:gd name="connsiteY24" fmla="*/ 2740470 h 5049330"/>
                <a:gd name="connsiteX25" fmla="*/ 8367369 w 10198948"/>
                <a:gd name="connsiteY25" fmla="*/ 3525330 h 5049330"/>
                <a:gd name="connsiteX26" fmla="*/ 7826349 w 10198948"/>
                <a:gd name="connsiteY26" fmla="*/ 4317810 h 5049330"/>
                <a:gd name="connsiteX27" fmla="*/ 7498689 w 10198948"/>
                <a:gd name="connsiteY27" fmla="*/ 4790250 h 5049330"/>
                <a:gd name="connsiteX0" fmla="*/ 160629 w 10189028"/>
                <a:gd name="connsiteY0" fmla="*/ 5049330 h 5049330"/>
                <a:gd name="connsiteX1" fmla="*/ 69189 w 10189028"/>
                <a:gd name="connsiteY1" fmla="*/ 4775010 h 5049330"/>
                <a:gd name="connsiteX2" fmla="*/ 8229 w 10189028"/>
                <a:gd name="connsiteY2" fmla="*/ 3883470 h 5049330"/>
                <a:gd name="connsiteX3" fmla="*/ 609 w 10189028"/>
                <a:gd name="connsiteY3" fmla="*/ 2831910 h 5049330"/>
                <a:gd name="connsiteX4" fmla="*/ 8229 w 10189028"/>
                <a:gd name="connsiteY4" fmla="*/ 2466150 h 5049330"/>
                <a:gd name="connsiteX5" fmla="*/ 38709 w 10189028"/>
                <a:gd name="connsiteY5" fmla="*/ 2306130 h 5049330"/>
                <a:gd name="connsiteX6" fmla="*/ 343509 w 10189028"/>
                <a:gd name="connsiteY6" fmla="*/ 2108010 h 5049330"/>
                <a:gd name="connsiteX7" fmla="*/ 526389 w 10189028"/>
                <a:gd name="connsiteY7" fmla="*/ 1963230 h 5049330"/>
                <a:gd name="connsiteX8" fmla="*/ 762609 w 10189028"/>
                <a:gd name="connsiteY8" fmla="*/ 1787970 h 5049330"/>
                <a:gd name="connsiteX9" fmla="*/ 1494129 w 10189028"/>
                <a:gd name="connsiteY9" fmla="*/ 1231710 h 5049330"/>
                <a:gd name="connsiteX10" fmla="*/ 2263749 w 10189028"/>
                <a:gd name="connsiteY10" fmla="*/ 736410 h 5049330"/>
                <a:gd name="connsiteX11" fmla="*/ 2896209 w 10189028"/>
                <a:gd name="connsiteY11" fmla="*/ 393510 h 5049330"/>
                <a:gd name="connsiteX12" fmla="*/ 3810609 w 10189028"/>
                <a:gd name="connsiteY12" fmla="*/ 149670 h 5049330"/>
                <a:gd name="connsiteX13" fmla="*/ 5288889 w 10189028"/>
                <a:gd name="connsiteY13" fmla="*/ 20130 h 5049330"/>
                <a:gd name="connsiteX14" fmla="*/ 6203289 w 10189028"/>
                <a:gd name="connsiteY14" fmla="*/ 4890 h 5049330"/>
                <a:gd name="connsiteX15" fmla="*/ 7399629 w 10189028"/>
                <a:gd name="connsiteY15" fmla="*/ 65850 h 5049330"/>
                <a:gd name="connsiteX16" fmla="*/ 8474049 w 10189028"/>
                <a:gd name="connsiteY16" fmla="*/ 157290 h 5049330"/>
                <a:gd name="connsiteX17" fmla="*/ 9159849 w 10189028"/>
                <a:gd name="connsiteY17" fmla="*/ 302070 h 5049330"/>
                <a:gd name="connsiteX18" fmla="*/ 9723729 w 10189028"/>
                <a:gd name="connsiteY18" fmla="*/ 454470 h 5049330"/>
                <a:gd name="connsiteX19" fmla="*/ 10059009 w 10189028"/>
                <a:gd name="connsiteY19" fmla="*/ 660210 h 5049330"/>
                <a:gd name="connsiteX20" fmla="*/ 10173309 w 10189028"/>
                <a:gd name="connsiteY20" fmla="*/ 896430 h 5049330"/>
                <a:gd name="connsiteX21" fmla="*/ 10165689 w 10189028"/>
                <a:gd name="connsiteY21" fmla="*/ 1071690 h 5049330"/>
                <a:gd name="connsiteX22" fmla="*/ 9967569 w 10189028"/>
                <a:gd name="connsiteY22" fmla="*/ 1475550 h 5049330"/>
                <a:gd name="connsiteX23" fmla="*/ 9472269 w 10189028"/>
                <a:gd name="connsiteY23" fmla="*/ 2077530 h 5049330"/>
                <a:gd name="connsiteX24" fmla="*/ 8954109 w 10189028"/>
                <a:gd name="connsiteY24" fmla="*/ 2740470 h 5049330"/>
                <a:gd name="connsiteX25" fmla="*/ 8367369 w 10189028"/>
                <a:gd name="connsiteY25" fmla="*/ 3525330 h 5049330"/>
                <a:gd name="connsiteX26" fmla="*/ 7826349 w 10189028"/>
                <a:gd name="connsiteY26" fmla="*/ 4317810 h 5049330"/>
                <a:gd name="connsiteX27" fmla="*/ 7498689 w 10189028"/>
                <a:gd name="connsiteY27" fmla="*/ 4790250 h 5049330"/>
                <a:gd name="connsiteX0" fmla="*/ 160629 w 10168501"/>
                <a:gd name="connsiteY0" fmla="*/ 5049330 h 5049330"/>
                <a:gd name="connsiteX1" fmla="*/ 69189 w 10168501"/>
                <a:gd name="connsiteY1" fmla="*/ 4775010 h 5049330"/>
                <a:gd name="connsiteX2" fmla="*/ 8229 w 10168501"/>
                <a:gd name="connsiteY2" fmla="*/ 3883470 h 5049330"/>
                <a:gd name="connsiteX3" fmla="*/ 609 w 10168501"/>
                <a:gd name="connsiteY3" fmla="*/ 2831910 h 5049330"/>
                <a:gd name="connsiteX4" fmla="*/ 8229 w 10168501"/>
                <a:gd name="connsiteY4" fmla="*/ 2466150 h 5049330"/>
                <a:gd name="connsiteX5" fmla="*/ 38709 w 10168501"/>
                <a:gd name="connsiteY5" fmla="*/ 2306130 h 5049330"/>
                <a:gd name="connsiteX6" fmla="*/ 343509 w 10168501"/>
                <a:gd name="connsiteY6" fmla="*/ 2108010 h 5049330"/>
                <a:gd name="connsiteX7" fmla="*/ 526389 w 10168501"/>
                <a:gd name="connsiteY7" fmla="*/ 1963230 h 5049330"/>
                <a:gd name="connsiteX8" fmla="*/ 762609 w 10168501"/>
                <a:gd name="connsiteY8" fmla="*/ 1787970 h 5049330"/>
                <a:gd name="connsiteX9" fmla="*/ 1494129 w 10168501"/>
                <a:gd name="connsiteY9" fmla="*/ 1231710 h 5049330"/>
                <a:gd name="connsiteX10" fmla="*/ 2263749 w 10168501"/>
                <a:gd name="connsiteY10" fmla="*/ 736410 h 5049330"/>
                <a:gd name="connsiteX11" fmla="*/ 2896209 w 10168501"/>
                <a:gd name="connsiteY11" fmla="*/ 393510 h 5049330"/>
                <a:gd name="connsiteX12" fmla="*/ 3810609 w 10168501"/>
                <a:gd name="connsiteY12" fmla="*/ 149670 h 5049330"/>
                <a:gd name="connsiteX13" fmla="*/ 5288889 w 10168501"/>
                <a:gd name="connsiteY13" fmla="*/ 20130 h 5049330"/>
                <a:gd name="connsiteX14" fmla="*/ 6203289 w 10168501"/>
                <a:gd name="connsiteY14" fmla="*/ 4890 h 5049330"/>
                <a:gd name="connsiteX15" fmla="*/ 7399629 w 10168501"/>
                <a:gd name="connsiteY15" fmla="*/ 65850 h 5049330"/>
                <a:gd name="connsiteX16" fmla="*/ 8474049 w 10168501"/>
                <a:gd name="connsiteY16" fmla="*/ 157290 h 5049330"/>
                <a:gd name="connsiteX17" fmla="*/ 9159849 w 10168501"/>
                <a:gd name="connsiteY17" fmla="*/ 302070 h 5049330"/>
                <a:gd name="connsiteX18" fmla="*/ 9723729 w 10168501"/>
                <a:gd name="connsiteY18" fmla="*/ 454470 h 5049330"/>
                <a:gd name="connsiteX19" fmla="*/ 10059009 w 10168501"/>
                <a:gd name="connsiteY19" fmla="*/ 660210 h 5049330"/>
                <a:gd name="connsiteX20" fmla="*/ 10165689 w 10168501"/>
                <a:gd name="connsiteY20" fmla="*/ 1071690 h 5049330"/>
                <a:gd name="connsiteX21" fmla="*/ 9967569 w 10168501"/>
                <a:gd name="connsiteY21" fmla="*/ 1475550 h 5049330"/>
                <a:gd name="connsiteX22" fmla="*/ 9472269 w 10168501"/>
                <a:gd name="connsiteY22" fmla="*/ 2077530 h 5049330"/>
                <a:gd name="connsiteX23" fmla="*/ 8954109 w 10168501"/>
                <a:gd name="connsiteY23" fmla="*/ 2740470 h 5049330"/>
                <a:gd name="connsiteX24" fmla="*/ 8367369 w 10168501"/>
                <a:gd name="connsiteY24" fmla="*/ 3525330 h 5049330"/>
                <a:gd name="connsiteX25" fmla="*/ 7826349 w 10168501"/>
                <a:gd name="connsiteY25" fmla="*/ 4317810 h 5049330"/>
                <a:gd name="connsiteX26" fmla="*/ 7498689 w 10168501"/>
                <a:gd name="connsiteY26" fmla="*/ 4790250 h 5049330"/>
                <a:gd name="connsiteX0" fmla="*/ 160629 w 10181816"/>
                <a:gd name="connsiteY0" fmla="*/ 5049330 h 5049330"/>
                <a:gd name="connsiteX1" fmla="*/ 69189 w 10181816"/>
                <a:gd name="connsiteY1" fmla="*/ 4775010 h 5049330"/>
                <a:gd name="connsiteX2" fmla="*/ 8229 w 10181816"/>
                <a:gd name="connsiteY2" fmla="*/ 3883470 h 5049330"/>
                <a:gd name="connsiteX3" fmla="*/ 609 w 10181816"/>
                <a:gd name="connsiteY3" fmla="*/ 2831910 h 5049330"/>
                <a:gd name="connsiteX4" fmla="*/ 8229 w 10181816"/>
                <a:gd name="connsiteY4" fmla="*/ 2466150 h 5049330"/>
                <a:gd name="connsiteX5" fmla="*/ 38709 w 10181816"/>
                <a:gd name="connsiteY5" fmla="*/ 2306130 h 5049330"/>
                <a:gd name="connsiteX6" fmla="*/ 343509 w 10181816"/>
                <a:gd name="connsiteY6" fmla="*/ 2108010 h 5049330"/>
                <a:gd name="connsiteX7" fmla="*/ 526389 w 10181816"/>
                <a:gd name="connsiteY7" fmla="*/ 1963230 h 5049330"/>
                <a:gd name="connsiteX8" fmla="*/ 762609 w 10181816"/>
                <a:gd name="connsiteY8" fmla="*/ 1787970 h 5049330"/>
                <a:gd name="connsiteX9" fmla="*/ 1494129 w 10181816"/>
                <a:gd name="connsiteY9" fmla="*/ 1231710 h 5049330"/>
                <a:gd name="connsiteX10" fmla="*/ 2263749 w 10181816"/>
                <a:gd name="connsiteY10" fmla="*/ 736410 h 5049330"/>
                <a:gd name="connsiteX11" fmla="*/ 2896209 w 10181816"/>
                <a:gd name="connsiteY11" fmla="*/ 393510 h 5049330"/>
                <a:gd name="connsiteX12" fmla="*/ 3810609 w 10181816"/>
                <a:gd name="connsiteY12" fmla="*/ 149670 h 5049330"/>
                <a:gd name="connsiteX13" fmla="*/ 5288889 w 10181816"/>
                <a:gd name="connsiteY13" fmla="*/ 20130 h 5049330"/>
                <a:gd name="connsiteX14" fmla="*/ 6203289 w 10181816"/>
                <a:gd name="connsiteY14" fmla="*/ 4890 h 5049330"/>
                <a:gd name="connsiteX15" fmla="*/ 7399629 w 10181816"/>
                <a:gd name="connsiteY15" fmla="*/ 65850 h 5049330"/>
                <a:gd name="connsiteX16" fmla="*/ 8474049 w 10181816"/>
                <a:gd name="connsiteY16" fmla="*/ 157290 h 5049330"/>
                <a:gd name="connsiteX17" fmla="*/ 9159849 w 10181816"/>
                <a:gd name="connsiteY17" fmla="*/ 302070 h 5049330"/>
                <a:gd name="connsiteX18" fmla="*/ 9723729 w 10181816"/>
                <a:gd name="connsiteY18" fmla="*/ 454470 h 5049330"/>
                <a:gd name="connsiteX19" fmla="*/ 10119969 w 10181816"/>
                <a:gd name="connsiteY19" fmla="*/ 713550 h 5049330"/>
                <a:gd name="connsiteX20" fmla="*/ 10165689 w 10181816"/>
                <a:gd name="connsiteY20" fmla="*/ 1071690 h 5049330"/>
                <a:gd name="connsiteX21" fmla="*/ 9967569 w 10181816"/>
                <a:gd name="connsiteY21" fmla="*/ 1475550 h 5049330"/>
                <a:gd name="connsiteX22" fmla="*/ 9472269 w 10181816"/>
                <a:gd name="connsiteY22" fmla="*/ 2077530 h 5049330"/>
                <a:gd name="connsiteX23" fmla="*/ 8954109 w 10181816"/>
                <a:gd name="connsiteY23" fmla="*/ 2740470 h 5049330"/>
                <a:gd name="connsiteX24" fmla="*/ 8367369 w 10181816"/>
                <a:gd name="connsiteY24" fmla="*/ 3525330 h 5049330"/>
                <a:gd name="connsiteX25" fmla="*/ 7826349 w 10181816"/>
                <a:gd name="connsiteY25" fmla="*/ 4317810 h 5049330"/>
                <a:gd name="connsiteX26" fmla="*/ 7498689 w 10181816"/>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5447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7733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3904"/>
                <a:gd name="connsiteY0" fmla="*/ 5049330 h 5049330"/>
                <a:gd name="connsiteX1" fmla="*/ 69189 w 10173904"/>
                <a:gd name="connsiteY1" fmla="*/ 4775010 h 5049330"/>
                <a:gd name="connsiteX2" fmla="*/ 8229 w 10173904"/>
                <a:gd name="connsiteY2" fmla="*/ 3883470 h 5049330"/>
                <a:gd name="connsiteX3" fmla="*/ 609 w 10173904"/>
                <a:gd name="connsiteY3" fmla="*/ 2831910 h 5049330"/>
                <a:gd name="connsiteX4" fmla="*/ 8229 w 10173904"/>
                <a:gd name="connsiteY4" fmla="*/ 2466150 h 5049330"/>
                <a:gd name="connsiteX5" fmla="*/ 38709 w 10173904"/>
                <a:gd name="connsiteY5" fmla="*/ 2306130 h 5049330"/>
                <a:gd name="connsiteX6" fmla="*/ 343509 w 10173904"/>
                <a:gd name="connsiteY6" fmla="*/ 2108010 h 5049330"/>
                <a:gd name="connsiteX7" fmla="*/ 526389 w 10173904"/>
                <a:gd name="connsiteY7" fmla="*/ 1963230 h 5049330"/>
                <a:gd name="connsiteX8" fmla="*/ 762609 w 10173904"/>
                <a:gd name="connsiteY8" fmla="*/ 1787970 h 5049330"/>
                <a:gd name="connsiteX9" fmla="*/ 1494129 w 10173904"/>
                <a:gd name="connsiteY9" fmla="*/ 1231710 h 5049330"/>
                <a:gd name="connsiteX10" fmla="*/ 2263749 w 10173904"/>
                <a:gd name="connsiteY10" fmla="*/ 736410 h 5049330"/>
                <a:gd name="connsiteX11" fmla="*/ 2896209 w 10173904"/>
                <a:gd name="connsiteY11" fmla="*/ 393510 h 5049330"/>
                <a:gd name="connsiteX12" fmla="*/ 3810609 w 10173904"/>
                <a:gd name="connsiteY12" fmla="*/ 149670 h 5049330"/>
                <a:gd name="connsiteX13" fmla="*/ 5288889 w 10173904"/>
                <a:gd name="connsiteY13" fmla="*/ 20130 h 5049330"/>
                <a:gd name="connsiteX14" fmla="*/ 6203289 w 10173904"/>
                <a:gd name="connsiteY14" fmla="*/ 4890 h 5049330"/>
                <a:gd name="connsiteX15" fmla="*/ 7399629 w 10173904"/>
                <a:gd name="connsiteY15" fmla="*/ 65850 h 5049330"/>
                <a:gd name="connsiteX16" fmla="*/ 8474049 w 10173904"/>
                <a:gd name="connsiteY16" fmla="*/ 157290 h 5049330"/>
                <a:gd name="connsiteX17" fmla="*/ 9159849 w 10173904"/>
                <a:gd name="connsiteY17" fmla="*/ 302070 h 5049330"/>
                <a:gd name="connsiteX18" fmla="*/ 9746589 w 10173904"/>
                <a:gd name="connsiteY18" fmla="*/ 469710 h 5049330"/>
                <a:gd name="connsiteX19" fmla="*/ 10097109 w 10173904"/>
                <a:gd name="connsiteY19" fmla="*/ 721170 h 5049330"/>
                <a:gd name="connsiteX20" fmla="*/ 10165689 w 10173904"/>
                <a:gd name="connsiteY20" fmla="*/ 1071690 h 5049330"/>
                <a:gd name="connsiteX21" fmla="*/ 9967569 w 10173904"/>
                <a:gd name="connsiteY21" fmla="*/ 1475550 h 5049330"/>
                <a:gd name="connsiteX22" fmla="*/ 9472269 w 10173904"/>
                <a:gd name="connsiteY22" fmla="*/ 2077530 h 5049330"/>
                <a:gd name="connsiteX23" fmla="*/ 8954109 w 10173904"/>
                <a:gd name="connsiteY23" fmla="*/ 2740470 h 5049330"/>
                <a:gd name="connsiteX24" fmla="*/ 8367369 w 10173904"/>
                <a:gd name="connsiteY24" fmla="*/ 3525330 h 5049330"/>
                <a:gd name="connsiteX25" fmla="*/ 7826349 w 10173904"/>
                <a:gd name="connsiteY25" fmla="*/ 4317810 h 5049330"/>
                <a:gd name="connsiteX26" fmla="*/ 7498689 w 10173904"/>
                <a:gd name="connsiteY26" fmla="*/ 4790250 h 504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173904" h="5049330">
                  <a:moveTo>
                    <a:pt x="160629" y="5049330"/>
                  </a:moveTo>
                  <a:cubicBezTo>
                    <a:pt x="127609" y="5009325"/>
                    <a:pt x="94589" y="4969320"/>
                    <a:pt x="69189" y="4775010"/>
                  </a:cubicBezTo>
                  <a:cubicBezTo>
                    <a:pt x="43789" y="4580700"/>
                    <a:pt x="19659" y="4207320"/>
                    <a:pt x="8229" y="3883470"/>
                  </a:cubicBezTo>
                  <a:cubicBezTo>
                    <a:pt x="-3201" y="3559620"/>
                    <a:pt x="609" y="3068130"/>
                    <a:pt x="609" y="2831910"/>
                  </a:cubicBezTo>
                  <a:cubicBezTo>
                    <a:pt x="609" y="2595690"/>
                    <a:pt x="1879" y="2553780"/>
                    <a:pt x="8229" y="2466150"/>
                  </a:cubicBezTo>
                  <a:cubicBezTo>
                    <a:pt x="14579" y="2378520"/>
                    <a:pt x="-17171" y="2365820"/>
                    <a:pt x="38709" y="2306130"/>
                  </a:cubicBezTo>
                  <a:cubicBezTo>
                    <a:pt x="94589" y="2246440"/>
                    <a:pt x="262229" y="2165160"/>
                    <a:pt x="343509" y="2108010"/>
                  </a:cubicBezTo>
                  <a:cubicBezTo>
                    <a:pt x="424789" y="2050860"/>
                    <a:pt x="456539" y="2016570"/>
                    <a:pt x="526389" y="1963230"/>
                  </a:cubicBezTo>
                  <a:cubicBezTo>
                    <a:pt x="596239" y="1909890"/>
                    <a:pt x="762609" y="1787970"/>
                    <a:pt x="762609" y="1787970"/>
                  </a:cubicBezTo>
                  <a:cubicBezTo>
                    <a:pt x="923899" y="1666050"/>
                    <a:pt x="1243939" y="1406970"/>
                    <a:pt x="1494129" y="1231710"/>
                  </a:cubicBezTo>
                  <a:cubicBezTo>
                    <a:pt x="1744319" y="1056450"/>
                    <a:pt x="2030069" y="876110"/>
                    <a:pt x="2263749" y="736410"/>
                  </a:cubicBezTo>
                  <a:cubicBezTo>
                    <a:pt x="2497429" y="596710"/>
                    <a:pt x="2638399" y="491300"/>
                    <a:pt x="2896209" y="393510"/>
                  </a:cubicBezTo>
                  <a:cubicBezTo>
                    <a:pt x="3154019" y="295720"/>
                    <a:pt x="3411829" y="211900"/>
                    <a:pt x="3810609" y="149670"/>
                  </a:cubicBezTo>
                  <a:cubicBezTo>
                    <a:pt x="4209389" y="87440"/>
                    <a:pt x="4890109" y="44260"/>
                    <a:pt x="5288889" y="20130"/>
                  </a:cubicBezTo>
                  <a:cubicBezTo>
                    <a:pt x="5687669" y="-4000"/>
                    <a:pt x="5851499" y="-2730"/>
                    <a:pt x="6203289" y="4890"/>
                  </a:cubicBezTo>
                  <a:cubicBezTo>
                    <a:pt x="6555079" y="12510"/>
                    <a:pt x="7021169" y="40450"/>
                    <a:pt x="7399629" y="65850"/>
                  </a:cubicBezTo>
                  <a:cubicBezTo>
                    <a:pt x="7778089" y="91250"/>
                    <a:pt x="8180679" y="117920"/>
                    <a:pt x="8474049" y="157290"/>
                  </a:cubicBezTo>
                  <a:cubicBezTo>
                    <a:pt x="8767419" y="196660"/>
                    <a:pt x="8947759" y="250000"/>
                    <a:pt x="9159849" y="302070"/>
                  </a:cubicBezTo>
                  <a:cubicBezTo>
                    <a:pt x="9371939" y="354140"/>
                    <a:pt x="9590379" y="399860"/>
                    <a:pt x="9746589" y="469710"/>
                  </a:cubicBezTo>
                  <a:cubicBezTo>
                    <a:pt x="9902799" y="539560"/>
                    <a:pt x="10027259" y="620840"/>
                    <a:pt x="10097109" y="721170"/>
                  </a:cubicBezTo>
                  <a:cubicBezTo>
                    <a:pt x="10166959" y="821500"/>
                    <a:pt x="10187279" y="945960"/>
                    <a:pt x="10165689" y="1071690"/>
                  </a:cubicBezTo>
                  <a:cubicBezTo>
                    <a:pt x="10144099" y="1197420"/>
                    <a:pt x="10083139" y="1307910"/>
                    <a:pt x="9967569" y="1475550"/>
                  </a:cubicBezTo>
                  <a:cubicBezTo>
                    <a:pt x="9851999" y="1643190"/>
                    <a:pt x="9641179" y="1866710"/>
                    <a:pt x="9472269" y="2077530"/>
                  </a:cubicBezTo>
                  <a:cubicBezTo>
                    <a:pt x="9303359" y="2288350"/>
                    <a:pt x="9138259" y="2499170"/>
                    <a:pt x="8954109" y="2740470"/>
                  </a:cubicBezTo>
                  <a:cubicBezTo>
                    <a:pt x="8769959" y="2981770"/>
                    <a:pt x="8555329" y="3262440"/>
                    <a:pt x="8367369" y="3525330"/>
                  </a:cubicBezTo>
                  <a:cubicBezTo>
                    <a:pt x="8179409" y="3788220"/>
                    <a:pt x="7971129" y="4106990"/>
                    <a:pt x="7826349" y="4317810"/>
                  </a:cubicBezTo>
                  <a:cubicBezTo>
                    <a:pt x="7681569" y="4528630"/>
                    <a:pt x="7592034" y="4660075"/>
                    <a:pt x="7498689" y="479025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p:cNvSpPr/>
            <p:nvPr/>
          </p:nvSpPr>
          <p:spPr bwMode="auto">
            <a:xfrm>
              <a:off x="7490144" y="2231053"/>
              <a:ext cx="452609" cy="10287"/>
            </a:xfrm>
            <a:custGeom>
              <a:avLst/>
              <a:gdLst>
                <a:gd name="connsiteX0" fmla="*/ 0 w 1341120"/>
                <a:gd name="connsiteY0" fmla="*/ 30480 h 30480"/>
                <a:gd name="connsiteX1" fmla="*/ 1341120 w 1341120"/>
                <a:gd name="connsiteY1" fmla="*/ 0 h 30480"/>
              </a:gdLst>
              <a:ahLst/>
              <a:cxnLst>
                <a:cxn ang="0">
                  <a:pos x="connsiteX0" y="connsiteY0"/>
                </a:cxn>
                <a:cxn ang="0">
                  <a:pos x="connsiteX1" y="connsiteY1"/>
                </a:cxn>
              </a:cxnLst>
              <a:rect l="l" t="t" r="r" b="b"/>
              <a:pathLst>
                <a:path w="1341120" h="30480">
                  <a:moveTo>
                    <a:pt x="0" y="30480"/>
                  </a:moveTo>
                  <a:lnTo>
                    <a:pt x="1341120"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p:cNvSpPr/>
            <p:nvPr/>
          </p:nvSpPr>
          <p:spPr bwMode="auto">
            <a:xfrm>
              <a:off x="6635501" y="1727011"/>
              <a:ext cx="1366740" cy="495470"/>
            </a:xfrm>
            <a:custGeom>
              <a:avLst/>
              <a:gdLst>
                <a:gd name="connsiteX0" fmla="*/ 0 w 4054145"/>
                <a:gd name="connsiteY0" fmla="*/ 0 h 1468120"/>
                <a:gd name="connsiteX1" fmla="*/ 772160 w 4054145"/>
                <a:gd name="connsiteY1" fmla="*/ 30480 h 1468120"/>
                <a:gd name="connsiteX2" fmla="*/ 1945640 w 4054145"/>
                <a:gd name="connsiteY2" fmla="*/ 111760 h 1468120"/>
                <a:gd name="connsiteX3" fmla="*/ 3058160 w 4054145"/>
                <a:gd name="connsiteY3" fmla="*/ 294640 h 1468120"/>
                <a:gd name="connsiteX4" fmla="*/ 3825240 w 4054145"/>
                <a:gd name="connsiteY4" fmla="*/ 533400 h 1468120"/>
                <a:gd name="connsiteX5" fmla="*/ 4043680 w 4054145"/>
                <a:gd name="connsiteY5" fmla="*/ 711200 h 1468120"/>
                <a:gd name="connsiteX6" fmla="*/ 3987800 w 4054145"/>
                <a:gd name="connsiteY6" fmla="*/ 1071880 h 1468120"/>
                <a:gd name="connsiteX7" fmla="*/ 3713480 w 4054145"/>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7431"/>
                <a:gd name="connsiteY0" fmla="*/ 0 h 1468120"/>
                <a:gd name="connsiteX1" fmla="*/ 772160 w 4047431"/>
                <a:gd name="connsiteY1" fmla="*/ 30480 h 1468120"/>
                <a:gd name="connsiteX2" fmla="*/ 1945640 w 4047431"/>
                <a:gd name="connsiteY2" fmla="*/ 111760 h 1468120"/>
                <a:gd name="connsiteX3" fmla="*/ 3058160 w 4047431"/>
                <a:gd name="connsiteY3" fmla="*/ 294640 h 1468120"/>
                <a:gd name="connsiteX4" fmla="*/ 3825240 w 4047431"/>
                <a:gd name="connsiteY4" fmla="*/ 533400 h 1468120"/>
                <a:gd name="connsiteX5" fmla="*/ 4038600 w 4047431"/>
                <a:gd name="connsiteY5" fmla="*/ 751840 h 1468120"/>
                <a:gd name="connsiteX6" fmla="*/ 3977640 w 4047431"/>
                <a:gd name="connsiteY6" fmla="*/ 1066800 h 1468120"/>
                <a:gd name="connsiteX7" fmla="*/ 3713480 w 4047431"/>
                <a:gd name="connsiteY7" fmla="*/ 1468120 h 1468120"/>
                <a:gd name="connsiteX0" fmla="*/ 0 w 4049769"/>
                <a:gd name="connsiteY0" fmla="*/ 0 h 1468120"/>
                <a:gd name="connsiteX1" fmla="*/ 772160 w 4049769"/>
                <a:gd name="connsiteY1" fmla="*/ 30480 h 1468120"/>
                <a:gd name="connsiteX2" fmla="*/ 1945640 w 4049769"/>
                <a:gd name="connsiteY2" fmla="*/ 111760 h 1468120"/>
                <a:gd name="connsiteX3" fmla="*/ 3058160 w 4049769"/>
                <a:gd name="connsiteY3" fmla="*/ 294640 h 1468120"/>
                <a:gd name="connsiteX4" fmla="*/ 3825240 w 4049769"/>
                <a:gd name="connsiteY4" fmla="*/ 533400 h 1468120"/>
                <a:gd name="connsiteX5" fmla="*/ 4038600 w 4049769"/>
                <a:gd name="connsiteY5" fmla="*/ 751840 h 1468120"/>
                <a:gd name="connsiteX6" fmla="*/ 3977640 w 4049769"/>
                <a:gd name="connsiteY6" fmla="*/ 1066800 h 1468120"/>
                <a:gd name="connsiteX7" fmla="*/ 3713480 w 4049769"/>
                <a:gd name="connsiteY7"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9769" h="1468120">
                  <a:moveTo>
                    <a:pt x="0" y="0"/>
                  </a:moveTo>
                  <a:cubicBezTo>
                    <a:pt x="223943" y="5926"/>
                    <a:pt x="447887" y="11853"/>
                    <a:pt x="772160" y="30480"/>
                  </a:cubicBezTo>
                  <a:cubicBezTo>
                    <a:pt x="1096433" y="49107"/>
                    <a:pt x="1564640" y="67733"/>
                    <a:pt x="1945640" y="111760"/>
                  </a:cubicBezTo>
                  <a:cubicBezTo>
                    <a:pt x="2326640" y="155787"/>
                    <a:pt x="2744893" y="224367"/>
                    <a:pt x="3058160" y="294640"/>
                  </a:cubicBezTo>
                  <a:cubicBezTo>
                    <a:pt x="3371427" y="364913"/>
                    <a:pt x="3666913" y="436880"/>
                    <a:pt x="3825240" y="533400"/>
                  </a:cubicBezTo>
                  <a:cubicBezTo>
                    <a:pt x="3983567" y="629920"/>
                    <a:pt x="4013200" y="662940"/>
                    <a:pt x="4038600" y="751840"/>
                  </a:cubicBezTo>
                  <a:cubicBezTo>
                    <a:pt x="4064000" y="840740"/>
                    <a:pt x="4047067" y="952500"/>
                    <a:pt x="3977640" y="1066800"/>
                  </a:cubicBezTo>
                  <a:cubicBezTo>
                    <a:pt x="3908213" y="1181100"/>
                    <a:pt x="3823123" y="1333076"/>
                    <a:pt x="3713480" y="146812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p:cNvSpPr/>
            <p:nvPr/>
          </p:nvSpPr>
          <p:spPr bwMode="auto">
            <a:xfrm>
              <a:off x="6539493" y="1723583"/>
              <a:ext cx="97722" cy="545188"/>
            </a:xfrm>
            <a:custGeom>
              <a:avLst/>
              <a:gdLst>
                <a:gd name="connsiteX0" fmla="*/ 289560 w 289560"/>
                <a:gd name="connsiteY0" fmla="*/ 0 h 1615440"/>
                <a:gd name="connsiteX1" fmla="*/ 0 w 289560"/>
                <a:gd name="connsiteY1" fmla="*/ 1615440 h 1615440"/>
              </a:gdLst>
              <a:ahLst/>
              <a:cxnLst>
                <a:cxn ang="0">
                  <a:pos x="connsiteX0" y="connsiteY0"/>
                </a:cxn>
                <a:cxn ang="0">
                  <a:pos x="connsiteX1" y="connsiteY1"/>
                </a:cxn>
              </a:cxnLst>
              <a:rect l="l" t="t" r="r" b="b"/>
              <a:pathLst>
                <a:path w="289560" h="1615440">
                  <a:moveTo>
                    <a:pt x="289560" y="0"/>
                  </a:moveTo>
                  <a:lnTo>
                    <a:pt x="0" y="161544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p:cNvSpPr/>
            <p:nvPr/>
          </p:nvSpPr>
          <p:spPr bwMode="auto">
            <a:xfrm>
              <a:off x="6254417" y="1688671"/>
              <a:ext cx="295207" cy="1673905"/>
            </a:xfrm>
            <a:custGeom>
              <a:avLst/>
              <a:gdLst>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1995054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73381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723" h="4959927">
                  <a:moveTo>
                    <a:pt x="874723" y="0"/>
                  </a:moveTo>
                  <a:cubicBezTo>
                    <a:pt x="718859" y="615373"/>
                    <a:pt x="562996" y="1228436"/>
                    <a:pt x="486796" y="1524000"/>
                  </a:cubicBezTo>
                  <a:cubicBezTo>
                    <a:pt x="410596" y="1819564"/>
                    <a:pt x="456778" y="1691408"/>
                    <a:pt x="417523" y="1773381"/>
                  </a:cubicBezTo>
                  <a:cubicBezTo>
                    <a:pt x="378268" y="1855354"/>
                    <a:pt x="292833" y="1914236"/>
                    <a:pt x="251269" y="2015836"/>
                  </a:cubicBezTo>
                  <a:cubicBezTo>
                    <a:pt x="209705" y="2117436"/>
                    <a:pt x="200468" y="2102428"/>
                    <a:pt x="168141" y="2382982"/>
                  </a:cubicBezTo>
                  <a:cubicBezTo>
                    <a:pt x="135814" y="2663536"/>
                    <a:pt x="85014" y="3336636"/>
                    <a:pt x="57305" y="3699163"/>
                  </a:cubicBezTo>
                  <a:cubicBezTo>
                    <a:pt x="29596" y="4061690"/>
                    <a:pt x="8814" y="4371109"/>
                    <a:pt x="1887" y="4558145"/>
                  </a:cubicBezTo>
                  <a:cubicBezTo>
                    <a:pt x="-5040" y="4745182"/>
                    <a:pt x="8814" y="4754418"/>
                    <a:pt x="15741" y="4821382"/>
                  </a:cubicBezTo>
                  <a:cubicBezTo>
                    <a:pt x="22668" y="4888346"/>
                    <a:pt x="33059" y="4924136"/>
                    <a:pt x="43450" y="495992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p:cNvSpPr/>
            <p:nvPr/>
          </p:nvSpPr>
          <p:spPr bwMode="auto">
            <a:xfrm>
              <a:off x="8424976" y="1751402"/>
              <a:ext cx="215083" cy="135596"/>
            </a:xfrm>
            <a:custGeom>
              <a:avLst/>
              <a:gdLst>
                <a:gd name="connsiteX0" fmla="*/ 540327 w 637309"/>
                <a:gd name="connsiteY0" fmla="*/ 0 h 401782"/>
                <a:gd name="connsiteX1" fmla="*/ 0 w 637309"/>
                <a:gd name="connsiteY1" fmla="*/ 401782 h 401782"/>
                <a:gd name="connsiteX2" fmla="*/ 637309 w 637309"/>
                <a:gd name="connsiteY2" fmla="*/ 48491 h 401782"/>
              </a:gdLst>
              <a:ahLst/>
              <a:cxnLst>
                <a:cxn ang="0">
                  <a:pos x="connsiteX0" y="connsiteY0"/>
                </a:cxn>
                <a:cxn ang="0">
                  <a:pos x="connsiteX1" y="connsiteY1"/>
                </a:cxn>
                <a:cxn ang="0">
                  <a:pos x="connsiteX2" y="connsiteY2"/>
                </a:cxn>
              </a:cxnLst>
              <a:rect l="l" t="t" r="r" b="b"/>
              <a:pathLst>
                <a:path w="637309" h="401782">
                  <a:moveTo>
                    <a:pt x="540327" y="0"/>
                  </a:moveTo>
                  <a:lnTo>
                    <a:pt x="0" y="401782"/>
                  </a:lnTo>
                  <a:lnTo>
                    <a:pt x="637309" y="48491"/>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p:cNvSpPr/>
            <p:nvPr/>
          </p:nvSpPr>
          <p:spPr bwMode="auto">
            <a:xfrm>
              <a:off x="5430957" y="1754131"/>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p:cNvSpPr/>
            <p:nvPr/>
          </p:nvSpPr>
          <p:spPr bwMode="auto">
            <a:xfrm>
              <a:off x="4459580" y="2308202"/>
              <a:ext cx="266516" cy="23671"/>
            </a:xfrm>
            <a:custGeom>
              <a:avLst/>
              <a:gdLst>
                <a:gd name="connsiteX0" fmla="*/ 0 w 789709"/>
                <a:gd name="connsiteY0" fmla="*/ 0 h 70138"/>
                <a:gd name="connsiteX1" fmla="*/ 263237 w 789709"/>
                <a:gd name="connsiteY1" fmla="*/ 48491 h 70138"/>
                <a:gd name="connsiteX2" fmla="*/ 505691 w 789709"/>
                <a:gd name="connsiteY2" fmla="*/ 69273 h 70138"/>
                <a:gd name="connsiteX3" fmla="*/ 651164 w 789709"/>
                <a:gd name="connsiteY3" fmla="*/ 62345 h 70138"/>
                <a:gd name="connsiteX4" fmla="*/ 789709 w 789709"/>
                <a:gd name="connsiteY4" fmla="*/ 27709 h 7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709" h="70138">
                  <a:moveTo>
                    <a:pt x="0" y="0"/>
                  </a:moveTo>
                  <a:cubicBezTo>
                    <a:pt x="89477" y="18473"/>
                    <a:pt x="178955" y="36946"/>
                    <a:pt x="263237" y="48491"/>
                  </a:cubicBezTo>
                  <a:cubicBezTo>
                    <a:pt x="347519" y="60037"/>
                    <a:pt x="441037" y="66964"/>
                    <a:pt x="505691" y="69273"/>
                  </a:cubicBezTo>
                  <a:cubicBezTo>
                    <a:pt x="570345" y="71582"/>
                    <a:pt x="603828" y="69272"/>
                    <a:pt x="651164" y="62345"/>
                  </a:cubicBezTo>
                  <a:cubicBezTo>
                    <a:pt x="698500" y="55418"/>
                    <a:pt x="744104" y="41563"/>
                    <a:pt x="789709" y="2770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Shape 115"/>
            <p:cNvSpPr/>
            <p:nvPr/>
          </p:nvSpPr>
          <p:spPr bwMode="auto">
            <a:xfrm>
              <a:off x="5842212" y="1565024"/>
              <a:ext cx="824779" cy="100213"/>
            </a:xfrm>
            <a:custGeom>
              <a:avLst/>
              <a:gdLst>
                <a:gd name="connsiteX0" fmla="*/ 80711 w 2509424"/>
                <a:gd name="connsiteY0" fmla="*/ 124691 h 264113"/>
                <a:gd name="connsiteX1" fmla="*/ 4511 w 2509424"/>
                <a:gd name="connsiteY1" fmla="*/ 235527 h 264113"/>
                <a:gd name="connsiteX2" fmla="*/ 198474 w 2509424"/>
                <a:gd name="connsiteY2" fmla="*/ 256309 h 264113"/>
                <a:gd name="connsiteX3" fmla="*/ 1154438 w 2509424"/>
                <a:gd name="connsiteY3" fmla="*/ 124691 h 264113"/>
                <a:gd name="connsiteX4" fmla="*/ 1909511 w 2509424"/>
                <a:gd name="connsiteY4" fmla="*/ 83127 h 264113"/>
                <a:gd name="connsiteX5" fmla="*/ 2456765 w 2509424"/>
                <a:gd name="connsiteY5" fmla="*/ 69272 h 264113"/>
                <a:gd name="connsiteX6" fmla="*/ 2456765 w 2509424"/>
                <a:gd name="connsiteY6" fmla="*/ 0 h 264113"/>
                <a:gd name="connsiteX0" fmla="*/ 81678 w 2510391"/>
                <a:gd name="connsiteY0" fmla="*/ 124691 h 251670"/>
                <a:gd name="connsiteX1" fmla="*/ 5478 w 2510391"/>
                <a:gd name="connsiteY1" fmla="*/ 235527 h 251670"/>
                <a:gd name="connsiteX2" fmla="*/ 216374 w 2510391"/>
                <a:gd name="connsiteY2" fmla="*/ 239376 h 251670"/>
                <a:gd name="connsiteX3" fmla="*/ 1155405 w 2510391"/>
                <a:gd name="connsiteY3" fmla="*/ 124691 h 251670"/>
                <a:gd name="connsiteX4" fmla="*/ 1910478 w 2510391"/>
                <a:gd name="connsiteY4" fmla="*/ 83127 h 251670"/>
                <a:gd name="connsiteX5" fmla="*/ 2457732 w 2510391"/>
                <a:gd name="connsiteY5" fmla="*/ 69272 h 251670"/>
                <a:gd name="connsiteX6" fmla="*/ 2457732 w 2510391"/>
                <a:gd name="connsiteY6" fmla="*/ 0 h 251670"/>
                <a:gd name="connsiteX0" fmla="*/ 66366 w 2495079"/>
                <a:gd name="connsiteY0" fmla="*/ 124691 h 265591"/>
                <a:gd name="connsiteX1" fmla="*/ 7099 w 2495079"/>
                <a:gd name="connsiteY1" fmla="*/ 256693 h 265591"/>
                <a:gd name="connsiteX2" fmla="*/ 201062 w 2495079"/>
                <a:gd name="connsiteY2" fmla="*/ 239376 h 265591"/>
                <a:gd name="connsiteX3" fmla="*/ 1140093 w 2495079"/>
                <a:gd name="connsiteY3" fmla="*/ 124691 h 265591"/>
                <a:gd name="connsiteX4" fmla="*/ 1895166 w 2495079"/>
                <a:gd name="connsiteY4" fmla="*/ 83127 h 265591"/>
                <a:gd name="connsiteX5" fmla="*/ 2442420 w 2495079"/>
                <a:gd name="connsiteY5" fmla="*/ 69272 h 265591"/>
                <a:gd name="connsiteX6" fmla="*/ 2442420 w 2495079"/>
                <a:gd name="connsiteY6" fmla="*/ 0 h 265591"/>
                <a:gd name="connsiteX0" fmla="*/ 81678 w 2510391"/>
                <a:gd name="connsiteY0" fmla="*/ 124691 h 259298"/>
                <a:gd name="connsiteX1" fmla="*/ 5478 w 2510391"/>
                <a:gd name="connsiteY1" fmla="*/ 248227 h 259298"/>
                <a:gd name="connsiteX2" fmla="*/ 216374 w 2510391"/>
                <a:gd name="connsiteY2" fmla="*/ 239376 h 259298"/>
                <a:gd name="connsiteX3" fmla="*/ 1155405 w 2510391"/>
                <a:gd name="connsiteY3" fmla="*/ 124691 h 259298"/>
                <a:gd name="connsiteX4" fmla="*/ 1910478 w 2510391"/>
                <a:gd name="connsiteY4" fmla="*/ 83127 h 259298"/>
                <a:gd name="connsiteX5" fmla="*/ 2457732 w 2510391"/>
                <a:gd name="connsiteY5" fmla="*/ 69272 h 259298"/>
                <a:gd name="connsiteX6" fmla="*/ 2457732 w 2510391"/>
                <a:gd name="connsiteY6" fmla="*/ 0 h 259298"/>
                <a:gd name="connsiteX0" fmla="*/ 88022 w 2516735"/>
                <a:gd name="connsiteY0" fmla="*/ 124691 h 266697"/>
                <a:gd name="connsiteX1" fmla="*/ 11822 w 2516735"/>
                <a:gd name="connsiteY1" fmla="*/ 248227 h 266697"/>
                <a:gd name="connsiteX2" fmla="*/ 222718 w 2516735"/>
                <a:gd name="connsiteY2" fmla="*/ 239376 h 266697"/>
                <a:gd name="connsiteX3" fmla="*/ 1161749 w 2516735"/>
                <a:gd name="connsiteY3" fmla="*/ 124691 h 266697"/>
                <a:gd name="connsiteX4" fmla="*/ 1916822 w 2516735"/>
                <a:gd name="connsiteY4" fmla="*/ 83127 h 266697"/>
                <a:gd name="connsiteX5" fmla="*/ 2464076 w 2516735"/>
                <a:gd name="connsiteY5" fmla="*/ 69272 h 266697"/>
                <a:gd name="connsiteX6" fmla="*/ 2464076 w 2516735"/>
                <a:gd name="connsiteY6" fmla="*/ 0 h 266697"/>
                <a:gd name="connsiteX0" fmla="*/ 73359 w 2502072"/>
                <a:gd name="connsiteY0" fmla="*/ 124691 h 263667"/>
                <a:gd name="connsiteX1" fmla="*/ 14092 w 2502072"/>
                <a:gd name="connsiteY1" fmla="*/ 243993 h 263667"/>
                <a:gd name="connsiteX2" fmla="*/ 208055 w 2502072"/>
                <a:gd name="connsiteY2" fmla="*/ 239376 h 263667"/>
                <a:gd name="connsiteX3" fmla="*/ 1147086 w 2502072"/>
                <a:gd name="connsiteY3" fmla="*/ 124691 h 263667"/>
                <a:gd name="connsiteX4" fmla="*/ 1902159 w 2502072"/>
                <a:gd name="connsiteY4" fmla="*/ 83127 h 263667"/>
                <a:gd name="connsiteX5" fmla="*/ 2449413 w 2502072"/>
                <a:gd name="connsiteY5" fmla="*/ 69272 h 263667"/>
                <a:gd name="connsiteX6" fmla="*/ 2449413 w 2502072"/>
                <a:gd name="connsiteY6" fmla="*/ 0 h 263667"/>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83127 h 263073"/>
                <a:gd name="connsiteX5" fmla="*/ 2449413 w 2502072"/>
                <a:gd name="connsiteY5" fmla="*/ 69272 h 263073"/>
                <a:gd name="connsiteX6" fmla="*/ 2449413 w 2502072"/>
                <a:gd name="connsiteY6" fmla="*/ 0 h 263073"/>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95827 h 263073"/>
                <a:gd name="connsiteX5" fmla="*/ 2449413 w 2502072"/>
                <a:gd name="connsiteY5" fmla="*/ 69272 h 263073"/>
                <a:gd name="connsiteX6" fmla="*/ 2449413 w 2502072"/>
                <a:gd name="connsiteY6" fmla="*/ 0 h 263073"/>
                <a:gd name="connsiteX0" fmla="*/ 73359 w 2471318"/>
                <a:gd name="connsiteY0" fmla="*/ 124691 h 263073"/>
                <a:gd name="connsiteX1" fmla="*/ 14092 w 2471318"/>
                <a:gd name="connsiteY1" fmla="*/ 243993 h 263073"/>
                <a:gd name="connsiteX2" fmla="*/ 208055 w 2471318"/>
                <a:gd name="connsiteY2" fmla="*/ 239376 h 263073"/>
                <a:gd name="connsiteX3" fmla="*/ 1155553 w 2471318"/>
                <a:gd name="connsiteY3" fmla="*/ 137391 h 263073"/>
                <a:gd name="connsiteX4" fmla="*/ 1902159 w 2471318"/>
                <a:gd name="connsiteY4" fmla="*/ 95827 h 263073"/>
                <a:gd name="connsiteX5" fmla="*/ 2377446 w 2471318"/>
                <a:gd name="connsiteY5" fmla="*/ 86205 h 263073"/>
                <a:gd name="connsiteX6" fmla="*/ 2449413 w 2471318"/>
                <a:gd name="connsiteY6" fmla="*/ 0 h 263073"/>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3893" h="296940">
                  <a:moveTo>
                    <a:pt x="73359" y="158558"/>
                  </a:moveTo>
                  <a:cubicBezTo>
                    <a:pt x="25445" y="203008"/>
                    <a:pt x="-25290" y="241813"/>
                    <a:pt x="14092" y="277860"/>
                  </a:cubicBezTo>
                  <a:cubicBezTo>
                    <a:pt x="53474" y="313907"/>
                    <a:pt x="17811" y="291010"/>
                    <a:pt x="208055" y="273243"/>
                  </a:cubicBezTo>
                  <a:cubicBezTo>
                    <a:pt x="398299" y="255476"/>
                    <a:pt x="873202" y="195183"/>
                    <a:pt x="1155553" y="171258"/>
                  </a:cubicBezTo>
                  <a:cubicBezTo>
                    <a:pt x="1437904" y="147333"/>
                    <a:pt x="1698510" y="138225"/>
                    <a:pt x="1902159" y="129694"/>
                  </a:cubicBezTo>
                  <a:cubicBezTo>
                    <a:pt x="2105808" y="121163"/>
                    <a:pt x="2292587" y="124755"/>
                    <a:pt x="2377446" y="120072"/>
                  </a:cubicBezTo>
                  <a:cubicBezTo>
                    <a:pt x="2462305" y="115389"/>
                    <a:pt x="2456916" y="27709"/>
                    <a:pt x="2411312"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Shape 116"/>
            <p:cNvSpPr/>
            <p:nvPr/>
          </p:nvSpPr>
          <p:spPr bwMode="auto">
            <a:xfrm>
              <a:off x="5482392" y="1723583"/>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8" name="Freeform: Shape 117"/>
            <p:cNvSpPr/>
            <p:nvPr/>
          </p:nvSpPr>
          <p:spPr bwMode="auto">
            <a:xfrm>
              <a:off x="5504532" y="1711248"/>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9" name="Freeform: Shape 118"/>
            <p:cNvSpPr/>
            <p:nvPr/>
          </p:nvSpPr>
          <p:spPr bwMode="auto">
            <a:xfrm>
              <a:off x="5008226" y="2262127"/>
              <a:ext cx="44598" cy="86436"/>
            </a:xfrm>
            <a:custGeom>
              <a:avLst/>
              <a:gdLst>
                <a:gd name="connsiteX0" fmla="*/ 120135 w 120135"/>
                <a:gd name="connsiteY0" fmla="*/ 0 h 211667"/>
                <a:gd name="connsiteX1" fmla="*/ 5835 w 120135"/>
                <a:gd name="connsiteY1" fmla="*/ 97367 h 211667"/>
                <a:gd name="connsiteX2" fmla="*/ 27002 w 120135"/>
                <a:gd name="connsiteY2" fmla="*/ 182034 h 211667"/>
                <a:gd name="connsiteX3" fmla="*/ 115902 w 120135"/>
                <a:gd name="connsiteY3" fmla="*/ 211667 h 211667"/>
              </a:gdLst>
              <a:ahLst/>
              <a:cxnLst>
                <a:cxn ang="0">
                  <a:pos x="connsiteX0" y="connsiteY0"/>
                </a:cxn>
                <a:cxn ang="0">
                  <a:pos x="connsiteX1" y="connsiteY1"/>
                </a:cxn>
                <a:cxn ang="0">
                  <a:pos x="connsiteX2" y="connsiteY2"/>
                </a:cxn>
                <a:cxn ang="0">
                  <a:pos x="connsiteX3" y="connsiteY3"/>
                </a:cxn>
              </a:cxnLst>
              <a:rect l="l" t="t" r="r" b="b"/>
              <a:pathLst>
                <a:path w="120135" h="211667">
                  <a:moveTo>
                    <a:pt x="120135" y="0"/>
                  </a:moveTo>
                  <a:cubicBezTo>
                    <a:pt x="70746" y="33514"/>
                    <a:pt x="21357" y="67028"/>
                    <a:pt x="5835" y="97367"/>
                  </a:cubicBezTo>
                  <a:cubicBezTo>
                    <a:pt x="-9687" y="127706"/>
                    <a:pt x="8658" y="162984"/>
                    <a:pt x="27002" y="182034"/>
                  </a:cubicBezTo>
                  <a:cubicBezTo>
                    <a:pt x="45346" y="201084"/>
                    <a:pt x="80624" y="206375"/>
                    <a:pt x="115902" y="21166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0" name="Freeform: Shape 119"/>
            <p:cNvSpPr/>
            <p:nvPr/>
          </p:nvSpPr>
          <p:spPr bwMode="auto">
            <a:xfrm>
              <a:off x="5044737" y="2119534"/>
              <a:ext cx="288791" cy="215915"/>
            </a:xfrm>
            <a:custGeom>
              <a:avLst/>
              <a:gdLst>
                <a:gd name="connsiteX0" fmla="*/ 1026 w 880224"/>
                <a:gd name="connsiteY0" fmla="*/ 224608 h 639520"/>
                <a:gd name="connsiteX1" fmla="*/ 30660 w 880224"/>
                <a:gd name="connsiteY1" fmla="*/ 423574 h 639520"/>
                <a:gd name="connsiteX2" fmla="*/ 204226 w 880224"/>
                <a:gd name="connsiteY2" fmla="*/ 597141 h 639520"/>
                <a:gd name="connsiteX3" fmla="*/ 403193 w 880224"/>
                <a:gd name="connsiteY3" fmla="*/ 639474 h 639520"/>
                <a:gd name="connsiteX4" fmla="*/ 712226 w 880224"/>
                <a:gd name="connsiteY4" fmla="*/ 592908 h 639520"/>
                <a:gd name="connsiteX5" fmla="*/ 873093 w 880224"/>
                <a:gd name="connsiteY5" fmla="*/ 398174 h 639520"/>
                <a:gd name="connsiteX6" fmla="*/ 839226 w 880224"/>
                <a:gd name="connsiteY6" fmla="*/ 190741 h 639520"/>
                <a:gd name="connsiteX7" fmla="*/ 724926 w 880224"/>
                <a:gd name="connsiteY7" fmla="*/ 51041 h 639520"/>
                <a:gd name="connsiteX8" fmla="*/ 564060 w 880224"/>
                <a:gd name="connsiteY8" fmla="*/ 241 h 639520"/>
                <a:gd name="connsiteX9" fmla="*/ 382026 w 880224"/>
                <a:gd name="connsiteY9" fmla="*/ 34108 h 639520"/>
                <a:gd name="connsiteX10" fmla="*/ 255026 w 880224"/>
                <a:gd name="connsiteY10" fmla="*/ 84908 h 639520"/>
                <a:gd name="connsiteX0" fmla="*/ 1026 w 866038"/>
                <a:gd name="connsiteY0" fmla="*/ 224608 h 639520"/>
                <a:gd name="connsiteX1" fmla="*/ 30660 w 866038"/>
                <a:gd name="connsiteY1" fmla="*/ 423574 h 639520"/>
                <a:gd name="connsiteX2" fmla="*/ 204226 w 866038"/>
                <a:gd name="connsiteY2" fmla="*/ 597141 h 639520"/>
                <a:gd name="connsiteX3" fmla="*/ 403193 w 866038"/>
                <a:gd name="connsiteY3" fmla="*/ 639474 h 639520"/>
                <a:gd name="connsiteX4" fmla="*/ 712226 w 866038"/>
                <a:gd name="connsiteY4" fmla="*/ 592908 h 639520"/>
                <a:gd name="connsiteX5" fmla="*/ 856159 w 866038"/>
                <a:gd name="connsiteY5" fmla="*/ 398174 h 639520"/>
                <a:gd name="connsiteX6" fmla="*/ 839226 w 866038"/>
                <a:gd name="connsiteY6" fmla="*/ 190741 h 639520"/>
                <a:gd name="connsiteX7" fmla="*/ 724926 w 866038"/>
                <a:gd name="connsiteY7" fmla="*/ 51041 h 639520"/>
                <a:gd name="connsiteX8" fmla="*/ 564060 w 866038"/>
                <a:gd name="connsiteY8" fmla="*/ 241 h 639520"/>
                <a:gd name="connsiteX9" fmla="*/ 382026 w 866038"/>
                <a:gd name="connsiteY9" fmla="*/ 34108 h 639520"/>
                <a:gd name="connsiteX10" fmla="*/ 255026 w 866038"/>
                <a:gd name="connsiteY10" fmla="*/ 84908 h 639520"/>
                <a:gd name="connsiteX0" fmla="*/ 1026 w 862652"/>
                <a:gd name="connsiteY0" fmla="*/ 224608 h 639520"/>
                <a:gd name="connsiteX1" fmla="*/ 30660 w 862652"/>
                <a:gd name="connsiteY1" fmla="*/ 423574 h 639520"/>
                <a:gd name="connsiteX2" fmla="*/ 204226 w 862652"/>
                <a:gd name="connsiteY2" fmla="*/ 597141 h 639520"/>
                <a:gd name="connsiteX3" fmla="*/ 403193 w 862652"/>
                <a:gd name="connsiteY3" fmla="*/ 639474 h 639520"/>
                <a:gd name="connsiteX4" fmla="*/ 712226 w 862652"/>
                <a:gd name="connsiteY4" fmla="*/ 592908 h 639520"/>
                <a:gd name="connsiteX5" fmla="*/ 856159 w 862652"/>
                <a:gd name="connsiteY5" fmla="*/ 398174 h 639520"/>
                <a:gd name="connsiteX6" fmla="*/ 826526 w 862652"/>
                <a:gd name="connsiteY6" fmla="*/ 194974 h 639520"/>
                <a:gd name="connsiteX7" fmla="*/ 724926 w 862652"/>
                <a:gd name="connsiteY7" fmla="*/ 51041 h 639520"/>
                <a:gd name="connsiteX8" fmla="*/ 564060 w 862652"/>
                <a:gd name="connsiteY8" fmla="*/ 241 h 639520"/>
                <a:gd name="connsiteX9" fmla="*/ 382026 w 862652"/>
                <a:gd name="connsiteY9" fmla="*/ 34108 h 639520"/>
                <a:gd name="connsiteX10" fmla="*/ 255026 w 862652"/>
                <a:gd name="connsiteY10" fmla="*/ 84908 h 639520"/>
                <a:gd name="connsiteX0" fmla="*/ 1026 w 855405"/>
                <a:gd name="connsiteY0" fmla="*/ 224608 h 639520"/>
                <a:gd name="connsiteX1" fmla="*/ 30660 w 855405"/>
                <a:gd name="connsiteY1" fmla="*/ 423574 h 639520"/>
                <a:gd name="connsiteX2" fmla="*/ 204226 w 855405"/>
                <a:gd name="connsiteY2" fmla="*/ 597141 h 639520"/>
                <a:gd name="connsiteX3" fmla="*/ 403193 w 855405"/>
                <a:gd name="connsiteY3" fmla="*/ 639474 h 639520"/>
                <a:gd name="connsiteX4" fmla="*/ 712226 w 855405"/>
                <a:gd name="connsiteY4" fmla="*/ 592908 h 639520"/>
                <a:gd name="connsiteX5" fmla="*/ 847692 w 855405"/>
                <a:gd name="connsiteY5" fmla="*/ 398174 h 639520"/>
                <a:gd name="connsiteX6" fmla="*/ 826526 w 855405"/>
                <a:gd name="connsiteY6" fmla="*/ 194974 h 639520"/>
                <a:gd name="connsiteX7" fmla="*/ 724926 w 855405"/>
                <a:gd name="connsiteY7" fmla="*/ 51041 h 639520"/>
                <a:gd name="connsiteX8" fmla="*/ 564060 w 855405"/>
                <a:gd name="connsiteY8" fmla="*/ 241 h 639520"/>
                <a:gd name="connsiteX9" fmla="*/ 382026 w 855405"/>
                <a:gd name="connsiteY9" fmla="*/ 34108 h 639520"/>
                <a:gd name="connsiteX10" fmla="*/ 255026 w 855405"/>
                <a:gd name="connsiteY10" fmla="*/ 84908 h 639520"/>
                <a:gd name="connsiteX0" fmla="*/ 1026 w 855714"/>
                <a:gd name="connsiteY0" fmla="*/ 224608 h 639776"/>
                <a:gd name="connsiteX1" fmla="*/ 30660 w 855714"/>
                <a:gd name="connsiteY1" fmla="*/ 423574 h 639776"/>
                <a:gd name="connsiteX2" fmla="*/ 204226 w 855714"/>
                <a:gd name="connsiteY2" fmla="*/ 597141 h 639776"/>
                <a:gd name="connsiteX3" fmla="*/ 403193 w 855714"/>
                <a:gd name="connsiteY3" fmla="*/ 639474 h 639776"/>
                <a:gd name="connsiteX4" fmla="*/ 707993 w 855714"/>
                <a:gd name="connsiteY4" fmla="*/ 584441 h 639776"/>
                <a:gd name="connsiteX5" fmla="*/ 847692 w 855714"/>
                <a:gd name="connsiteY5" fmla="*/ 398174 h 639776"/>
                <a:gd name="connsiteX6" fmla="*/ 826526 w 855714"/>
                <a:gd name="connsiteY6" fmla="*/ 194974 h 639776"/>
                <a:gd name="connsiteX7" fmla="*/ 724926 w 855714"/>
                <a:gd name="connsiteY7" fmla="*/ 51041 h 639776"/>
                <a:gd name="connsiteX8" fmla="*/ 564060 w 855714"/>
                <a:gd name="connsiteY8" fmla="*/ 241 h 639776"/>
                <a:gd name="connsiteX9" fmla="*/ 382026 w 855714"/>
                <a:gd name="connsiteY9" fmla="*/ 34108 h 639776"/>
                <a:gd name="connsiteX10" fmla="*/ 255026 w 855714"/>
                <a:gd name="connsiteY10" fmla="*/ 84908 h 63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5714" h="639776">
                  <a:moveTo>
                    <a:pt x="1026" y="224608"/>
                  </a:moveTo>
                  <a:cubicBezTo>
                    <a:pt x="-1091" y="293046"/>
                    <a:pt x="-3207" y="361485"/>
                    <a:pt x="30660" y="423574"/>
                  </a:cubicBezTo>
                  <a:cubicBezTo>
                    <a:pt x="64527" y="485663"/>
                    <a:pt x="142137" y="561158"/>
                    <a:pt x="204226" y="597141"/>
                  </a:cubicBezTo>
                  <a:cubicBezTo>
                    <a:pt x="266315" y="633124"/>
                    <a:pt x="319232" y="641591"/>
                    <a:pt x="403193" y="639474"/>
                  </a:cubicBezTo>
                  <a:cubicBezTo>
                    <a:pt x="487154" y="637357"/>
                    <a:pt x="633910" y="624658"/>
                    <a:pt x="707993" y="584441"/>
                  </a:cubicBezTo>
                  <a:cubicBezTo>
                    <a:pt x="782076" y="544224"/>
                    <a:pt x="827937" y="463085"/>
                    <a:pt x="847692" y="398174"/>
                  </a:cubicBezTo>
                  <a:cubicBezTo>
                    <a:pt x="867447" y="333263"/>
                    <a:pt x="846987" y="252830"/>
                    <a:pt x="826526" y="194974"/>
                  </a:cubicBezTo>
                  <a:cubicBezTo>
                    <a:pt x="806065" y="137118"/>
                    <a:pt x="768670" y="83496"/>
                    <a:pt x="724926" y="51041"/>
                  </a:cubicBezTo>
                  <a:cubicBezTo>
                    <a:pt x="681182" y="18586"/>
                    <a:pt x="621210" y="3063"/>
                    <a:pt x="564060" y="241"/>
                  </a:cubicBezTo>
                  <a:cubicBezTo>
                    <a:pt x="506910" y="-2581"/>
                    <a:pt x="433532" y="19997"/>
                    <a:pt x="382026" y="34108"/>
                  </a:cubicBezTo>
                  <a:cubicBezTo>
                    <a:pt x="330520" y="48219"/>
                    <a:pt x="292773" y="66563"/>
                    <a:pt x="255026" y="8490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1" name="Freeform: Shape 120"/>
            <p:cNvSpPr/>
            <p:nvPr/>
          </p:nvSpPr>
          <p:spPr bwMode="auto">
            <a:xfrm>
              <a:off x="5045083" y="2192479"/>
              <a:ext cx="220019" cy="2857"/>
            </a:xfrm>
            <a:custGeom>
              <a:avLst/>
              <a:gdLst>
                <a:gd name="connsiteX0" fmla="*/ 0 w 651934"/>
                <a:gd name="connsiteY0" fmla="*/ 8466 h 8466"/>
                <a:gd name="connsiteX1" fmla="*/ 651934 w 651934"/>
                <a:gd name="connsiteY1" fmla="*/ 0 h 8466"/>
              </a:gdLst>
              <a:ahLst/>
              <a:cxnLst>
                <a:cxn ang="0">
                  <a:pos x="connsiteX0" y="connsiteY0"/>
                </a:cxn>
                <a:cxn ang="0">
                  <a:pos x="connsiteX1" y="connsiteY1"/>
                </a:cxn>
              </a:cxnLst>
              <a:rect l="l" t="t" r="r" b="b"/>
              <a:pathLst>
                <a:path w="651934" h="8466">
                  <a:moveTo>
                    <a:pt x="0" y="8466"/>
                  </a:moveTo>
                  <a:lnTo>
                    <a:pt x="651934"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2" name="Freeform: Shape 121"/>
            <p:cNvSpPr/>
            <p:nvPr/>
          </p:nvSpPr>
          <p:spPr bwMode="auto">
            <a:xfrm>
              <a:off x="5213669" y="2111044"/>
              <a:ext cx="136555" cy="228590"/>
            </a:xfrm>
            <a:custGeom>
              <a:avLst/>
              <a:gdLst>
                <a:gd name="connsiteX0" fmla="*/ 80434 w 469130"/>
                <a:gd name="connsiteY0" fmla="*/ 669259 h 669259"/>
                <a:gd name="connsiteX1" fmla="*/ 393700 w 469130"/>
                <a:gd name="connsiteY1" fmla="*/ 550726 h 669259"/>
                <a:gd name="connsiteX2" fmla="*/ 465667 w 469130"/>
                <a:gd name="connsiteY2" fmla="*/ 364459 h 669259"/>
                <a:gd name="connsiteX3" fmla="*/ 444500 w 469130"/>
                <a:gd name="connsiteY3" fmla="*/ 203593 h 669259"/>
                <a:gd name="connsiteX4" fmla="*/ 330200 w 469130"/>
                <a:gd name="connsiteY4" fmla="*/ 59659 h 669259"/>
                <a:gd name="connsiteX5" fmla="*/ 169334 w 469130"/>
                <a:gd name="connsiteY5" fmla="*/ 393 h 669259"/>
                <a:gd name="connsiteX6" fmla="*/ 0 w 469130"/>
                <a:gd name="connsiteY6" fmla="*/ 38493 h 669259"/>
                <a:gd name="connsiteX0" fmla="*/ 118534 w 507230"/>
                <a:gd name="connsiteY0" fmla="*/ 669873 h 669873"/>
                <a:gd name="connsiteX1" fmla="*/ 431800 w 507230"/>
                <a:gd name="connsiteY1" fmla="*/ 551340 h 669873"/>
                <a:gd name="connsiteX2" fmla="*/ 503767 w 507230"/>
                <a:gd name="connsiteY2" fmla="*/ 365073 h 669873"/>
                <a:gd name="connsiteX3" fmla="*/ 482600 w 507230"/>
                <a:gd name="connsiteY3" fmla="*/ 204207 h 669873"/>
                <a:gd name="connsiteX4" fmla="*/ 368300 w 507230"/>
                <a:gd name="connsiteY4" fmla="*/ 60273 h 669873"/>
                <a:gd name="connsiteX5" fmla="*/ 207434 w 507230"/>
                <a:gd name="connsiteY5" fmla="*/ 1007 h 669873"/>
                <a:gd name="connsiteX6" fmla="*/ 0 w 507230"/>
                <a:gd name="connsiteY6" fmla="*/ 30641 h 669873"/>
                <a:gd name="connsiteX0" fmla="*/ 0 w 388696"/>
                <a:gd name="connsiteY0" fmla="*/ 678024 h 678024"/>
                <a:gd name="connsiteX1" fmla="*/ 313266 w 388696"/>
                <a:gd name="connsiteY1" fmla="*/ 559491 h 678024"/>
                <a:gd name="connsiteX2" fmla="*/ 385233 w 388696"/>
                <a:gd name="connsiteY2" fmla="*/ 373224 h 678024"/>
                <a:gd name="connsiteX3" fmla="*/ 364066 w 388696"/>
                <a:gd name="connsiteY3" fmla="*/ 212358 h 678024"/>
                <a:gd name="connsiteX4" fmla="*/ 249766 w 388696"/>
                <a:gd name="connsiteY4" fmla="*/ 68424 h 678024"/>
                <a:gd name="connsiteX5" fmla="*/ 88900 w 388696"/>
                <a:gd name="connsiteY5" fmla="*/ 9158 h 678024"/>
                <a:gd name="connsiteX6" fmla="*/ 122766 w 388696"/>
                <a:gd name="connsiteY6" fmla="*/ 13392 h 678024"/>
                <a:gd name="connsiteX0" fmla="*/ 0 w 388696"/>
                <a:gd name="connsiteY0" fmla="*/ 668866 h 668866"/>
                <a:gd name="connsiteX1" fmla="*/ 313266 w 388696"/>
                <a:gd name="connsiteY1" fmla="*/ 550333 h 668866"/>
                <a:gd name="connsiteX2" fmla="*/ 385233 w 388696"/>
                <a:gd name="connsiteY2" fmla="*/ 364066 h 668866"/>
                <a:gd name="connsiteX3" fmla="*/ 364066 w 388696"/>
                <a:gd name="connsiteY3" fmla="*/ 203200 h 668866"/>
                <a:gd name="connsiteX4" fmla="*/ 249766 w 388696"/>
                <a:gd name="connsiteY4" fmla="*/ 59266 h 668866"/>
                <a:gd name="connsiteX5" fmla="*/ 88900 w 388696"/>
                <a:gd name="connsiteY5" fmla="*/ 0 h 668866"/>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67266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404062"/>
                <a:gd name="connsiteY0" fmla="*/ 677332 h 677332"/>
                <a:gd name="connsiteX1" fmla="*/ 313266 w 404062"/>
                <a:gd name="connsiteY1" fmla="*/ 567266 h 677332"/>
                <a:gd name="connsiteX2" fmla="*/ 402166 w 404062"/>
                <a:gd name="connsiteY2" fmla="*/ 372532 h 677332"/>
                <a:gd name="connsiteX3" fmla="*/ 364066 w 404062"/>
                <a:gd name="connsiteY3" fmla="*/ 211666 h 677332"/>
                <a:gd name="connsiteX4" fmla="*/ 249766 w 404062"/>
                <a:gd name="connsiteY4" fmla="*/ 67732 h 677332"/>
                <a:gd name="connsiteX5" fmla="*/ 114300 w 404062"/>
                <a:gd name="connsiteY5" fmla="*/ 0 h 677332"/>
                <a:gd name="connsiteX0" fmla="*/ 0 w 404624"/>
                <a:gd name="connsiteY0" fmla="*/ 677332 h 677332"/>
                <a:gd name="connsiteX1" fmla="*/ 313266 w 404624"/>
                <a:gd name="connsiteY1" fmla="*/ 567266 h 677332"/>
                <a:gd name="connsiteX2" fmla="*/ 402166 w 404624"/>
                <a:gd name="connsiteY2" fmla="*/ 372532 h 677332"/>
                <a:gd name="connsiteX3" fmla="*/ 368300 w 404624"/>
                <a:gd name="connsiteY3" fmla="*/ 194733 h 677332"/>
                <a:gd name="connsiteX4" fmla="*/ 249766 w 404624"/>
                <a:gd name="connsiteY4" fmla="*/ 67732 h 677332"/>
                <a:gd name="connsiteX5" fmla="*/ 114300 w 404624"/>
                <a:gd name="connsiteY5" fmla="*/ 0 h 67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624" h="677332">
                  <a:moveTo>
                    <a:pt x="0" y="677332"/>
                  </a:moveTo>
                  <a:cubicBezTo>
                    <a:pt x="179563" y="651932"/>
                    <a:pt x="246238" y="618066"/>
                    <a:pt x="313266" y="567266"/>
                  </a:cubicBezTo>
                  <a:cubicBezTo>
                    <a:pt x="380294" y="516466"/>
                    <a:pt x="392994" y="434621"/>
                    <a:pt x="402166" y="372532"/>
                  </a:cubicBezTo>
                  <a:cubicBezTo>
                    <a:pt x="411338" y="310443"/>
                    <a:pt x="393700" y="245533"/>
                    <a:pt x="368300" y="194733"/>
                  </a:cubicBezTo>
                  <a:cubicBezTo>
                    <a:pt x="342900" y="143933"/>
                    <a:pt x="292099" y="100187"/>
                    <a:pt x="249766" y="67732"/>
                  </a:cubicBezTo>
                  <a:cubicBezTo>
                    <a:pt x="207433" y="35277"/>
                    <a:pt x="135467" y="9172"/>
                    <a:pt x="114300"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3" name="Freeform: Shape 122"/>
            <p:cNvSpPr/>
            <p:nvPr/>
          </p:nvSpPr>
          <p:spPr bwMode="auto">
            <a:xfrm>
              <a:off x="8481941" y="2843104"/>
              <a:ext cx="781779" cy="97722"/>
            </a:xfrm>
            <a:custGeom>
              <a:avLst/>
              <a:gdLst>
                <a:gd name="connsiteX0" fmla="*/ 0 w 2316480"/>
                <a:gd name="connsiteY0" fmla="*/ 289560 h 289560"/>
                <a:gd name="connsiteX1" fmla="*/ 2316480 w 2316480"/>
                <a:gd name="connsiteY1" fmla="*/ 0 h 289560"/>
              </a:gdLst>
              <a:ahLst/>
              <a:cxnLst>
                <a:cxn ang="0">
                  <a:pos x="connsiteX0" y="connsiteY0"/>
                </a:cxn>
                <a:cxn ang="0">
                  <a:pos x="connsiteX1" y="connsiteY1"/>
                </a:cxn>
              </a:cxnLst>
              <a:rect l="l" t="t" r="r" b="b"/>
              <a:pathLst>
                <a:path w="2316480" h="289560">
                  <a:moveTo>
                    <a:pt x="0" y="289560"/>
                  </a:moveTo>
                  <a:lnTo>
                    <a:pt x="2316480"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4" name="Freeform: Shape 123"/>
            <p:cNvSpPr/>
            <p:nvPr/>
          </p:nvSpPr>
          <p:spPr bwMode="auto">
            <a:xfrm>
              <a:off x="8780251" y="2515648"/>
              <a:ext cx="236591" cy="1714"/>
            </a:xfrm>
            <a:custGeom>
              <a:avLst/>
              <a:gdLst>
                <a:gd name="connsiteX0" fmla="*/ 0 w 701040"/>
                <a:gd name="connsiteY0" fmla="*/ 0 h 5080"/>
                <a:gd name="connsiteX1" fmla="*/ 701040 w 701040"/>
                <a:gd name="connsiteY1" fmla="*/ 5080 h 5080"/>
              </a:gdLst>
              <a:ahLst/>
              <a:cxnLst>
                <a:cxn ang="0">
                  <a:pos x="connsiteX0" y="connsiteY0"/>
                </a:cxn>
                <a:cxn ang="0">
                  <a:pos x="connsiteX1" y="connsiteY1"/>
                </a:cxn>
              </a:cxnLst>
              <a:rect l="l" t="t" r="r" b="b"/>
              <a:pathLst>
                <a:path w="701040" h="5080">
                  <a:moveTo>
                    <a:pt x="0" y="0"/>
                  </a:moveTo>
                  <a:lnTo>
                    <a:pt x="701040" y="508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5" name="Freeform: Shape 124"/>
            <p:cNvSpPr/>
            <p:nvPr/>
          </p:nvSpPr>
          <p:spPr bwMode="auto">
            <a:xfrm>
              <a:off x="8727181" y="2383791"/>
              <a:ext cx="274309" cy="1715"/>
            </a:xfrm>
            <a:custGeom>
              <a:avLst/>
              <a:gdLst>
                <a:gd name="connsiteX0" fmla="*/ 0 w 812800"/>
                <a:gd name="connsiteY0" fmla="*/ 0 h 5080"/>
                <a:gd name="connsiteX1" fmla="*/ 812800 w 812800"/>
                <a:gd name="connsiteY1" fmla="*/ 5080 h 5080"/>
              </a:gdLst>
              <a:ahLst/>
              <a:cxnLst>
                <a:cxn ang="0">
                  <a:pos x="connsiteX0" y="connsiteY0"/>
                </a:cxn>
                <a:cxn ang="0">
                  <a:pos x="connsiteX1" y="connsiteY1"/>
                </a:cxn>
              </a:cxnLst>
              <a:rect l="l" t="t" r="r" b="b"/>
              <a:pathLst>
                <a:path w="812800" h="5080">
                  <a:moveTo>
                    <a:pt x="0" y="0"/>
                  </a:moveTo>
                  <a:lnTo>
                    <a:pt x="812800" y="508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6" name="Freeform: Shape 125"/>
            <p:cNvSpPr/>
            <p:nvPr/>
          </p:nvSpPr>
          <p:spPr bwMode="auto">
            <a:xfrm>
              <a:off x="8941407" y="2393924"/>
              <a:ext cx="18859" cy="125153"/>
            </a:xfrm>
            <a:custGeom>
              <a:avLst/>
              <a:gdLst>
                <a:gd name="connsiteX0" fmla="*/ 0 w 55880"/>
                <a:gd name="connsiteY0" fmla="*/ 0 h 370840"/>
                <a:gd name="connsiteX1" fmla="*/ 55880 w 55880"/>
                <a:gd name="connsiteY1" fmla="*/ 370840 h 370840"/>
              </a:gdLst>
              <a:ahLst/>
              <a:cxnLst>
                <a:cxn ang="0">
                  <a:pos x="connsiteX0" y="connsiteY0"/>
                </a:cxn>
                <a:cxn ang="0">
                  <a:pos x="connsiteX1" y="connsiteY1"/>
                </a:cxn>
              </a:cxnLst>
              <a:rect l="l" t="t" r="r" b="b"/>
              <a:pathLst>
                <a:path w="55880" h="370840">
                  <a:moveTo>
                    <a:pt x="0" y="0"/>
                  </a:moveTo>
                  <a:lnTo>
                    <a:pt x="55880" y="37084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7" name="Freeform: Shape 126"/>
            <p:cNvSpPr/>
            <p:nvPr/>
          </p:nvSpPr>
          <p:spPr bwMode="auto">
            <a:xfrm>
              <a:off x="8723532" y="2268771"/>
              <a:ext cx="168157" cy="248592"/>
            </a:xfrm>
            <a:custGeom>
              <a:avLst/>
              <a:gdLst>
                <a:gd name="connsiteX0" fmla="*/ 501021 w 501021"/>
                <a:gd name="connsiteY0" fmla="*/ 0 h 726440"/>
                <a:gd name="connsiteX1" fmla="*/ 257181 w 501021"/>
                <a:gd name="connsiteY1" fmla="*/ 71120 h 726440"/>
                <a:gd name="connsiteX2" fmla="*/ 43821 w 501021"/>
                <a:gd name="connsiteY2" fmla="*/ 254000 h 726440"/>
                <a:gd name="connsiteX3" fmla="*/ 3181 w 501021"/>
                <a:gd name="connsiteY3" fmla="*/ 401320 h 726440"/>
                <a:gd name="connsiteX4" fmla="*/ 94621 w 501021"/>
                <a:gd name="connsiteY4" fmla="*/ 640080 h 726440"/>
                <a:gd name="connsiteX5" fmla="*/ 160661 w 501021"/>
                <a:gd name="connsiteY5" fmla="*/ 726440 h 726440"/>
                <a:gd name="connsiteX0" fmla="*/ 498263 w 498263"/>
                <a:gd name="connsiteY0" fmla="*/ 0 h 726440"/>
                <a:gd name="connsiteX1" fmla="*/ 254423 w 498263"/>
                <a:gd name="connsiteY1" fmla="*/ 71120 h 726440"/>
                <a:gd name="connsiteX2" fmla="*/ 66463 w 498263"/>
                <a:gd name="connsiteY2" fmla="*/ 238760 h 726440"/>
                <a:gd name="connsiteX3" fmla="*/ 423 w 498263"/>
                <a:gd name="connsiteY3" fmla="*/ 401320 h 726440"/>
                <a:gd name="connsiteX4" fmla="*/ 91863 w 498263"/>
                <a:gd name="connsiteY4" fmla="*/ 640080 h 726440"/>
                <a:gd name="connsiteX5" fmla="*/ 157903 w 498263"/>
                <a:gd name="connsiteY5" fmla="*/ 726440 h 726440"/>
                <a:gd name="connsiteX0" fmla="*/ 498263 w 498263"/>
                <a:gd name="connsiteY0" fmla="*/ 0 h 736600"/>
                <a:gd name="connsiteX1" fmla="*/ 254423 w 498263"/>
                <a:gd name="connsiteY1" fmla="*/ 7112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 name="connsiteX0" fmla="*/ 498263 w 498263"/>
                <a:gd name="connsiteY0" fmla="*/ 0 h 736600"/>
                <a:gd name="connsiteX1" fmla="*/ 254423 w 498263"/>
                <a:gd name="connsiteY1" fmla="*/ 8636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263" h="736600">
                  <a:moveTo>
                    <a:pt x="498263" y="0"/>
                  </a:moveTo>
                  <a:cubicBezTo>
                    <a:pt x="414443" y="14393"/>
                    <a:pt x="326390" y="46567"/>
                    <a:pt x="254423" y="86360"/>
                  </a:cubicBezTo>
                  <a:cubicBezTo>
                    <a:pt x="182456" y="126153"/>
                    <a:pt x="108796" y="186267"/>
                    <a:pt x="66463" y="238760"/>
                  </a:cubicBezTo>
                  <a:cubicBezTo>
                    <a:pt x="24130" y="291253"/>
                    <a:pt x="-3810" y="334433"/>
                    <a:pt x="423" y="401320"/>
                  </a:cubicBezTo>
                  <a:cubicBezTo>
                    <a:pt x="4656" y="468207"/>
                    <a:pt x="63076" y="584200"/>
                    <a:pt x="91863" y="640080"/>
                  </a:cubicBezTo>
                  <a:cubicBezTo>
                    <a:pt x="120650" y="695960"/>
                    <a:pt x="153246" y="720513"/>
                    <a:pt x="173143" y="73660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8" name="Freeform: Shape 127"/>
            <p:cNvSpPr/>
            <p:nvPr/>
          </p:nvSpPr>
          <p:spPr bwMode="auto">
            <a:xfrm>
              <a:off x="9003720" y="2333919"/>
              <a:ext cx="134846" cy="462895"/>
            </a:xfrm>
            <a:custGeom>
              <a:avLst/>
              <a:gdLst>
                <a:gd name="connsiteX0" fmla="*/ 399561 w 399561"/>
                <a:gd name="connsiteY0" fmla="*/ 1371600 h 1371600"/>
                <a:gd name="connsiteX1" fmla="*/ 242081 w 399561"/>
                <a:gd name="connsiteY1" fmla="*/ 1178560 h 1371600"/>
                <a:gd name="connsiteX2" fmla="*/ 64281 w 399561"/>
                <a:gd name="connsiteY2" fmla="*/ 660400 h 1371600"/>
                <a:gd name="connsiteX3" fmla="*/ 3321 w 399561"/>
                <a:gd name="connsiteY3" fmla="*/ 208280 h 1371600"/>
                <a:gd name="connsiteX4" fmla="*/ 13481 w 399561"/>
                <a:gd name="connsiteY4" fmla="*/ 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61" h="1371600">
                  <a:moveTo>
                    <a:pt x="399561" y="1371600"/>
                  </a:moveTo>
                  <a:cubicBezTo>
                    <a:pt x="348761" y="1334346"/>
                    <a:pt x="297961" y="1297093"/>
                    <a:pt x="242081" y="1178560"/>
                  </a:cubicBezTo>
                  <a:cubicBezTo>
                    <a:pt x="186201" y="1060027"/>
                    <a:pt x="104074" y="822113"/>
                    <a:pt x="64281" y="660400"/>
                  </a:cubicBezTo>
                  <a:cubicBezTo>
                    <a:pt x="24488" y="498687"/>
                    <a:pt x="11788" y="318347"/>
                    <a:pt x="3321" y="208280"/>
                  </a:cubicBezTo>
                  <a:cubicBezTo>
                    <a:pt x="-5146" y="98213"/>
                    <a:pt x="4167" y="49106"/>
                    <a:pt x="1348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9" name="Freeform: Shape 128"/>
            <p:cNvSpPr/>
            <p:nvPr/>
          </p:nvSpPr>
          <p:spPr bwMode="auto">
            <a:xfrm>
              <a:off x="8913977" y="2268771"/>
              <a:ext cx="224590" cy="70292"/>
            </a:xfrm>
            <a:custGeom>
              <a:avLst/>
              <a:gdLst>
                <a:gd name="connsiteX0" fmla="*/ 0 w 665480"/>
                <a:gd name="connsiteY0" fmla="*/ 0 h 208280"/>
                <a:gd name="connsiteX1" fmla="*/ 289560 w 665480"/>
                <a:gd name="connsiteY1" fmla="*/ 208280 h 208280"/>
                <a:gd name="connsiteX2" fmla="*/ 665480 w 665480"/>
                <a:gd name="connsiteY2" fmla="*/ 137160 h 208280"/>
              </a:gdLst>
              <a:ahLst/>
              <a:cxnLst>
                <a:cxn ang="0">
                  <a:pos x="connsiteX0" y="connsiteY0"/>
                </a:cxn>
                <a:cxn ang="0">
                  <a:pos x="connsiteX1" y="connsiteY1"/>
                </a:cxn>
                <a:cxn ang="0">
                  <a:pos x="connsiteX2" y="connsiteY2"/>
                </a:cxn>
              </a:cxnLst>
              <a:rect l="l" t="t" r="r" b="b"/>
              <a:pathLst>
                <a:path w="665480" h="208280">
                  <a:moveTo>
                    <a:pt x="0" y="0"/>
                  </a:moveTo>
                  <a:lnTo>
                    <a:pt x="289560" y="208280"/>
                  </a:lnTo>
                  <a:lnTo>
                    <a:pt x="665480" y="13716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Shape 129"/>
            <p:cNvSpPr/>
            <p:nvPr/>
          </p:nvSpPr>
          <p:spPr bwMode="auto">
            <a:xfrm>
              <a:off x="8708428" y="2853390"/>
              <a:ext cx="563864" cy="131763"/>
            </a:xfrm>
            <a:custGeom>
              <a:avLst/>
              <a:gdLst>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55880 h 390426"/>
                <a:gd name="connsiteX9" fmla="*/ 1635219 w 1670779"/>
                <a:gd name="connsiteY9" fmla="*/ 0 h 390426"/>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30480 h 390426"/>
                <a:gd name="connsiteX9" fmla="*/ 1635219 w 1670779"/>
                <a:gd name="connsiteY9" fmla="*/ 0 h 390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0779" h="390426">
                  <a:moveTo>
                    <a:pt x="1670779" y="177800"/>
                  </a:moveTo>
                  <a:cubicBezTo>
                    <a:pt x="1661889" y="193463"/>
                    <a:pt x="1652999" y="209127"/>
                    <a:pt x="1538699" y="233680"/>
                  </a:cubicBezTo>
                  <a:cubicBezTo>
                    <a:pt x="1424399" y="258233"/>
                    <a:pt x="1176325" y="299720"/>
                    <a:pt x="984979" y="325120"/>
                  </a:cubicBezTo>
                  <a:cubicBezTo>
                    <a:pt x="793633" y="350520"/>
                    <a:pt x="526932" y="378460"/>
                    <a:pt x="390619" y="386080"/>
                  </a:cubicBezTo>
                  <a:cubicBezTo>
                    <a:pt x="254306" y="393700"/>
                    <a:pt x="230599" y="392853"/>
                    <a:pt x="167099" y="370840"/>
                  </a:cubicBezTo>
                  <a:cubicBezTo>
                    <a:pt x="103599" y="348827"/>
                    <a:pt x="23166" y="281940"/>
                    <a:pt x="9619" y="254000"/>
                  </a:cubicBezTo>
                  <a:cubicBezTo>
                    <a:pt x="-3928" y="226060"/>
                    <a:pt x="-19168" y="226060"/>
                    <a:pt x="85819" y="203200"/>
                  </a:cubicBezTo>
                  <a:cubicBezTo>
                    <a:pt x="190806" y="180340"/>
                    <a:pt x="438032" y="145627"/>
                    <a:pt x="639539" y="116840"/>
                  </a:cubicBezTo>
                  <a:cubicBezTo>
                    <a:pt x="841046" y="88053"/>
                    <a:pt x="1128912" y="49953"/>
                    <a:pt x="1294859" y="30480"/>
                  </a:cubicBezTo>
                  <a:cubicBezTo>
                    <a:pt x="1460806" y="11007"/>
                    <a:pt x="1548012" y="18203"/>
                    <a:pt x="1635219"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149" name="Text Placeholder 148"/>
          <p:cNvSpPr>
            <a:spLocks noGrp="1"/>
          </p:cNvSpPr>
          <p:nvPr>
            <p:ph type="body" sz="quarter" idx="16"/>
          </p:nvPr>
        </p:nvSpPr>
        <p:spPr>
          <a:xfrm>
            <a:off x="6502400" y="4122738"/>
            <a:ext cx="5402263" cy="2417762"/>
          </a:xfrm>
        </p:spPr>
        <p:txBody>
          <a:bodyPr>
            <a:noAutofit/>
          </a:bodyPr>
          <a:lstStyle>
            <a:lvl1pPr>
              <a:defRPr lang="en-US" sz="1600" kern="1200" dirty="0" smtClean="0">
                <a:solidFill>
                  <a:schemeClr val="bg1"/>
                </a:solidFill>
                <a:latin typeface="+mn-lt"/>
                <a:ea typeface="+mn-ea"/>
                <a:cs typeface="+mn-cs"/>
              </a:defRPr>
            </a:lvl1pPr>
            <a:lvl2pPr>
              <a:defRPr lang="en-US" sz="1600" kern="1200" dirty="0" smtClean="0">
                <a:solidFill>
                  <a:schemeClr val="bg1"/>
                </a:solidFill>
                <a:latin typeface="+mn-lt"/>
                <a:ea typeface="+mn-ea"/>
                <a:cs typeface="+mn-cs"/>
              </a:defRPr>
            </a:lvl2pPr>
            <a:lvl3pPr>
              <a:defRPr lang="en-US" sz="1600" kern="1200" dirty="0" smtClean="0">
                <a:solidFill>
                  <a:schemeClr val="bg1"/>
                </a:solidFill>
                <a:latin typeface="+mn-lt"/>
                <a:ea typeface="+mn-ea"/>
                <a:cs typeface="+mn-cs"/>
              </a:defRPr>
            </a:lvl3pPr>
            <a:lvl4pPr>
              <a:defRPr lang="en-US" sz="1600" kern="1200" dirty="0" smtClean="0">
                <a:solidFill>
                  <a:schemeClr val="bg1"/>
                </a:solidFill>
                <a:latin typeface="+mn-lt"/>
                <a:ea typeface="+mn-ea"/>
                <a:cs typeface="+mn-cs"/>
              </a:defRPr>
            </a:lvl4pPr>
            <a:lvl5pPr>
              <a:defRPr lang="en-US" sz="1600" kern="1200" dirty="0">
                <a:solidFill>
                  <a:schemeClr val="bg1"/>
                </a:solidFill>
                <a:latin typeface="+mn-lt"/>
                <a:ea typeface="+mn-ea"/>
                <a:cs typeface="+mn-cs"/>
              </a:defRPr>
            </a:lvl5pPr>
          </a:lstStyle>
          <a:p>
            <a:pPr lvl="0"/>
            <a:r>
              <a:rPr lang="en-US"/>
              <a:t>Edit Master text styles</a:t>
            </a:r>
          </a:p>
        </p:txBody>
      </p:sp>
      <p:sp>
        <p:nvSpPr>
          <p:cNvPr id="148" name="Text Placeholder 6"/>
          <p:cNvSpPr>
            <a:spLocks noGrp="1"/>
          </p:cNvSpPr>
          <p:nvPr>
            <p:ph type="body" sz="quarter" idx="17"/>
          </p:nvPr>
        </p:nvSpPr>
        <p:spPr>
          <a:xfrm>
            <a:off x="423333" y="4122738"/>
            <a:ext cx="5791730" cy="2074862"/>
          </a:xfrm>
        </p:spPr>
        <p:txBody>
          <a:bodyPr>
            <a:noAutofit/>
          </a:bodyPr>
          <a:lstStyle>
            <a:lvl1pPr>
              <a:defRPr sz="2000"/>
            </a:lvl1pPr>
            <a:lvl2pPr marL="0" indent="0">
              <a:buNone/>
              <a:defRPr sz="1400"/>
            </a:lvl2pPr>
            <a:lvl3pPr marL="0" indent="0">
              <a:buNone/>
              <a:defRPr/>
            </a:lvl3pPr>
            <a:lvl4pPr marL="0" indent="0">
              <a:buNone/>
              <a:defRPr/>
            </a:lvl4pPr>
            <a:lvl5pPr marL="0" indent="0">
              <a:buNone/>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70130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150" name="Freeform 95"/>
          <p:cNvSpPr/>
          <p:nvPr userDrawn="1"/>
        </p:nvSpPr>
        <p:spPr bwMode="auto">
          <a:xfrm>
            <a:off x="2775527" y="1796722"/>
            <a:ext cx="5098938" cy="2153444"/>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1" name="Freeform 95"/>
          <p:cNvSpPr/>
          <p:nvPr userDrawn="1"/>
        </p:nvSpPr>
        <p:spPr bwMode="auto">
          <a:xfrm>
            <a:off x="-8065" y="1796722"/>
            <a:ext cx="5098938" cy="2153444"/>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48" name="Rectangle 147"/>
          <p:cNvSpPr/>
          <p:nvPr userDrawn="1"/>
        </p:nvSpPr>
        <p:spPr bwMode="auto">
          <a:xfrm>
            <a:off x="0" y="3590599"/>
            <a:ext cx="6308333" cy="32674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2" name="Title 1"/>
          <p:cNvSpPr>
            <a:spLocks noGrp="1"/>
          </p:cNvSpPr>
          <p:nvPr>
            <p:ph type="title"/>
          </p:nvPr>
        </p:nvSpPr>
        <p:spPr>
          <a:xfrm>
            <a:off x="269240" y="222616"/>
            <a:ext cx="6039093" cy="899665"/>
          </a:xfrm>
        </p:spPr>
        <p:txBody>
          <a:bodyPr/>
          <a:lstStyle>
            <a:lvl1pPr>
              <a:defRPr sz="4000"/>
            </a:lvl1p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Rectangle 4"/>
          <p:cNvSpPr/>
          <p:nvPr userDrawn="1"/>
        </p:nvSpPr>
        <p:spPr bwMode="auto">
          <a:xfrm>
            <a:off x="6308333" y="0"/>
            <a:ext cx="5883667"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6" name="Text Placeholder 5"/>
          <p:cNvSpPr>
            <a:spLocks noGrp="1"/>
          </p:cNvSpPr>
          <p:nvPr>
            <p:ph type="body" sz="quarter" idx="13"/>
          </p:nvPr>
        </p:nvSpPr>
        <p:spPr>
          <a:xfrm>
            <a:off x="6502400" y="222250"/>
            <a:ext cx="5588000" cy="3681413"/>
          </a:xfrm>
        </p:spPr>
        <p:txBody>
          <a:bodyPr>
            <a:noAutofit/>
          </a:bodyPr>
          <a:lstStyle>
            <a:lvl1pPr>
              <a:lnSpc>
                <a:spcPct val="90000"/>
              </a:lnSpc>
              <a:spcBef>
                <a:spcPts val="0"/>
              </a:spcBef>
              <a:spcAft>
                <a:spcPts val="600"/>
              </a:spcAft>
              <a:defRPr sz="2400">
                <a:solidFill>
                  <a:srgbClr val="44B0FF"/>
                </a:solidFill>
                <a:latin typeface="+mj-lt"/>
              </a:defRPr>
            </a:lvl1pPr>
            <a:lvl2pPr marL="0" indent="0">
              <a:spcBef>
                <a:spcPts val="4200"/>
              </a:spcBef>
              <a:buNone/>
              <a:defRPr sz="1400">
                <a:solidFill>
                  <a:srgbClr val="44B0FF"/>
                </a:solidFill>
              </a:defRPr>
            </a:lvl2pPr>
          </a:lstStyle>
          <a:p>
            <a:pPr lvl="0"/>
            <a:r>
              <a:rPr lang="en-US"/>
              <a:t>Edit Master text styles</a:t>
            </a:r>
          </a:p>
        </p:txBody>
      </p:sp>
      <p:cxnSp>
        <p:nvCxnSpPr>
          <p:cNvPr id="11" name="Straight Connector 10"/>
          <p:cNvCxnSpPr/>
          <p:nvPr userDrawn="1"/>
        </p:nvCxnSpPr>
        <p:spPr>
          <a:xfrm>
            <a:off x="6308333" y="3992600"/>
            <a:ext cx="5595800" cy="0"/>
          </a:xfrm>
          <a:prstGeom prst="line">
            <a:avLst/>
          </a:prstGeom>
          <a:noFill/>
          <a:ln w="9525" cap="rnd" cmpd="sng" algn="ctr">
            <a:solidFill>
              <a:srgbClr val="008272"/>
            </a:solidFill>
            <a:prstDash val="solid"/>
            <a:headEnd type="none"/>
            <a:tailEnd type="oval"/>
          </a:ln>
          <a:effectLst/>
        </p:spPr>
      </p:cxnSp>
      <p:grpSp>
        <p:nvGrpSpPr>
          <p:cNvPr id="18" name="Group 17"/>
          <p:cNvGrpSpPr/>
          <p:nvPr userDrawn="1"/>
        </p:nvGrpSpPr>
        <p:grpSpPr>
          <a:xfrm>
            <a:off x="1038747" y="2511360"/>
            <a:ext cx="4256633" cy="1436827"/>
            <a:chOff x="2410358" y="1565024"/>
            <a:chExt cx="6870570" cy="2319162"/>
          </a:xfrm>
        </p:grpSpPr>
        <p:sp>
          <p:nvSpPr>
            <p:cNvPr id="19" name="Freeform: Shape 18"/>
            <p:cNvSpPr/>
            <p:nvPr/>
          </p:nvSpPr>
          <p:spPr bwMode="auto">
            <a:xfrm>
              <a:off x="2410358" y="1566420"/>
              <a:ext cx="6870570" cy="2035347"/>
            </a:xfrm>
            <a:custGeom>
              <a:avLst/>
              <a:gdLst>
                <a:gd name="connsiteX0" fmla="*/ 5996401 w 20349121"/>
                <a:gd name="connsiteY0" fmla="*/ 2228350 h 6061796"/>
                <a:gd name="connsiteX1" fmla="*/ 6899077 w 20349121"/>
                <a:gd name="connsiteY1" fmla="*/ 1700811 h 6061796"/>
                <a:gd name="connsiteX2" fmla="*/ 8212062 w 20349121"/>
                <a:gd name="connsiteY2" fmla="*/ 915365 h 6061796"/>
                <a:gd name="connsiteX3" fmla="*/ 9032677 w 20349121"/>
                <a:gd name="connsiteY3" fmla="*/ 528504 h 6061796"/>
                <a:gd name="connsiteX4" fmla="*/ 9079570 w 20349121"/>
                <a:gd name="connsiteY4" fmla="*/ 469888 h 6061796"/>
                <a:gd name="connsiteX5" fmla="*/ 9220247 w 20349121"/>
                <a:gd name="connsiteY5" fmla="*/ 411273 h 6061796"/>
                <a:gd name="connsiteX6" fmla="*/ 10005693 w 20349121"/>
                <a:gd name="connsiteY6" fmla="*/ 188534 h 6061796"/>
                <a:gd name="connsiteX7" fmla="*/ 11365570 w 20349121"/>
                <a:gd name="connsiteY7" fmla="*/ 47857 h 6061796"/>
                <a:gd name="connsiteX8" fmla="*/ 12948185 w 20349121"/>
                <a:gd name="connsiteY8" fmla="*/ 965 h 6061796"/>
                <a:gd name="connsiteX9" fmla="*/ 14565970 w 20349121"/>
                <a:gd name="connsiteY9" fmla="*/ 83027 h 6061796"/>
                <a:gd name="connsiteX10" fmla="*/ 16054801 w 20349121"/>
                <a:gd name="connsiteY10" fmla="*/ 165088 h 6061796"/>
                <a:gd name="connsiteX11" fmla="*/ 17496739 w 20349121"/>
                <a:gd name="connsiteY11" fmla="*/ 364381 h 6061796"/>
                <a:gd name="connsiteX12" fmla="*/ 18012554 w 20349121"/>
                <a:gd name="connsiteY12" fmla="*/ 481611 h 6061796"/>
                <a:gd name="connsiteX13" fmla="*/ 18352524 w 20349121"/>
                <a:gd name="connsiteY13" fmla="*/ 528504 h 6061796"/>
                <a:gd name="connsiteX14" fmla="*/ 18434585 w 20349121"/>
                <a:gd name="connsiteY14" fmla="*/ 575396 h 6061796"/>
                <a:gd name="connsiteX15" fmla="*/ 18469754 w 20349121"/>
                <a:gd name="connsiteY15" fmla="*/ 634011 h 6061796"/>
                <a:gd name="connsiteX16" fmla="*/ 18903508 w 20349121"/>
                <a:gd name="connsiteY16" fmla="*/ 1091211 h 6061796"/>
                <a:gd name="connsiteX17" fmla="*/ 19560001 w 20349121"/>
                <a:gd name="connsiteY17" fmla="*/ 1853211 h 6061796"/>
                <a:gd name="connsiteX18" fmla="*/ 19665508 w 20349121"/>
                <a:gd name="connsiteY18" fmla="*/ 1993888 h 6061796"/>
                <a:gd name="connsiteX19" fmla="*/ 19864801 w 20349121"/>
                <a:gd name="connsiteY19" fmla="*/ 2099396 h 6061796"/>
                <a:gd name="connsiteX20" fmla="*/ 19946862 w 20349121"/>
                <a:gd name="connsiteY20" fmla="*/ 2228350 h 6061796"/>
                <a:gd name="connsiteX21" fmla="*/ 19911693 w 20349121"/>
                <a:gd name="connsiteY21" fmla="*/ 2415919 h 6061796"/>
                <a:gd name="connsiteX22" fmla="*/ 19888247 w 20349121"/>
                <a:gd name="connsiteY22" fmla="*/ 2802781 h 6061796"/>
                <a:gd name="connsiteX23" fmla="*/ 19888247 w 20349121"/>
                <a:gd name="connsiteY23" fmla="*/ 3060688 h 6061796"/>
                <a:gd name="connsiteX24" fmla="*/ 19993754 w 20349121"/>
                <a:gd name="connsiteY24" fmla="*/ 3271704 h 6061796"/>
                <a:gd name="connsiteX25" fmla="*/ 19982031 w 20349121"/>
                <a:gd name="connsiteY25" fmla="*/ 3447550 h 6061796"/>
                <a:gd name="connsiteX26" fmla="*/ 19935139 w 20349121"/>
                <a:gd name="connsiteY26" fmla="*/ 3635119 h 6061796"/>
                <a:gd name="connsiteX27" fmla="*/ 20134431 w 20349121"/>
                <a:gd name="connsiteY27" fmla="*/ 3705457 h 6061796"/>
                <a:gd name="connsiteX28" fmla="*/ 20275108 w 20349121"/>
                <a:gd name="connsiteY28" fmla="*/ 3752350 h 6061796"/>
                <a:gd name="connsiteX29" fmla="*/ 20345447 w 20349121"/>
                <a:gd name="connsiteY29" fmla="*/ 3846134 h 6061796"/>
                <a:gd name="connsiteX30" fmla="*/ 20333724 w 20349121"/>
                <a:gd name="connsiteY30" fmla="*/ 4010257 h 6061796"/>
                <a:gd name="connsiteX31" fmla="*/ 20286831 w 20349121"/>
                <a:gd name="connsiteY31" fmla="*/ 4186104 h 6061796"/>
                <a:gd name="connsiteX32" fmla="*/ 20275108 w 20349121"/>
                <a:gd name="connsiteY32" fmla="*/ 4397119 h 6061796"/>
                <a:gd name="connsiteX33" fmla="*/ 20181324 w 20349121"/>
                <a:gd name="connsiteY33" fmla="*/ 4397119 h 6061796"/>
                <a:gd name="connsiteX34" fmla="*/ 20087539 w 20349121"/>
                <a:gd name="connsiteY34" fmla="*/ 4748811 h 6061796"/>
                <a:gd name="connsiteX35" fmla="*/ 20064093 w 20349121"/>
                <a:gd name="connsiteY35" fmla="*/ 5182565 h 6061796"/>
                <a:gd name="connsiteX36" fmla="*/ 20157877 w 20349121"/>
                <a:gd name="connsiteY36" fmla="*/ 5475642 h 6061796"/>
                <a:gd name="connsiteX37" fmla="*/ 20052370 w 20349121"/>
                <a:gd name="connsiteY37" fmla="*/ 5510811 h 6061796"/>
                <a:gd name="connsiteX38" fmla="*/ 19548277 w 20349121"/>
                <a:gd name="connsiteY38" fmla="*/ 5534257 h 6061796"/>
                <a:gd name="connsiteX39" fmla="*/ 19454493 w 20349121"/>
                <a:gd name="connsiteY39" fmla="*/ 5756996 h 6061796"/>
                <a:gd name="connsiteX40" fmla="*/ 19290370 w 20349121"/>
                <a:gd name="connsiteY40" fmla="*/ 5780442 h 6061796"/>
                <a:gd name="connsiteX41" fmla="*/ 18223570 w 20349121"/>
                <a:gd name="connsiteY41" fmla="*/ 5768719 h 6061796"/>
                <a:gd name="connsiteX42" fmla="*/ 18223570 w 20349121"/>
                <a:gd name="connsiteY42" fmla="*/ 5581150 h 6061796"/>
                <a:gd name="connsiteX43" fmla="*/ 17989108 w 20349121"/>
                <a:gd name="connsiteY43" fmla="*/ 4725365 h 6061796"/>
                <a:gd name="connsiteX44" fmla="*/ 17602247 w 20349121"/>
                <a:gd name="connsiteY44" fmla="*/ 4162657 h 6061796"/>
                <a:gd name="connsiteX45" fmla="*/ 17145047 w 20349121"/>
                <a:gd name="connsiteY45" fmla="*/ 3857857 h 6061796"/>
                <a:gd name="connsiteX46" fmla="*/ 16429939 w 20349121"/>
                <a:gd name="connsiteY46" fmla="*/ 3682011 h 6061796"/>
                <a:gd name="connsiteX47" fmla="*/ 15902401 w 20349121"/>
                <a:gd name="connsiteY47" fmla="*/ 3728904 h 6061796"/>
                <a:gd name="connsiteX48" fmla="*/ 15386585 w 20349121"/>
                <a:gd name="connsiteY48" fmla="*/ 3951642 h 6061796"/>
                <a:gd name="connsiteX49" fmla="*/ 14964554 w 20349121"/>
                <a:gd name="connsiteY49" fmla="*/ 4397119 h 6061796"/>
                <a:gd name="connsiteX50" fmla="*/ 14636308 w 20349121"/>
                <a:gd name="connsiteY50" fmla="*/ 4912934 h 6061796"/>
                <a:gd name="connsiteX51" fmla="*/ 14542524 w 20349121"/>
                <a:gd name="connsiteY51" fmla="*/ 5393581 h 6061796"/>
                <a:gd name="connsiteX52" fmla="*/ 14542524 w 20349121"/>
                <a:gd name="connsiteY52" fmla="*/ 5768719 h 6061796"/>
                <a:gd name="connsiteX53" fmla="*/ 14554247 w 20349121"/>
                <a:gd name="connsiteY53" fmla="*/ 5991457 h 6061796"/>
                <a:gd name="connsiteX54" fmla="*/ 14472185 w 20349121"/>
                <a:gd name="connsiteY54" fmla="*/ 6014904 h 6061796"/>
                <a:gd name="connsiteX55" fmla="*/ 14073601 w 20349121"/>
                <a:gd name="connsiteY55" fmla="*/ 6014904 h 6061796"/>
                <a:gd name="connsiteX56" fmla="*/ 11693816 w 20349121"/>
                <a:gd name="connsiteY56" fmla="*/ 6038350 h 6061796"/>
                <a:gd name="connsiteX57" fmla="*/ 5457139 w 20349121"/>
                <a:gd name="connsiteY57" fmla="*/ 6061796 h 6061796"/>
                <a:gd name="connsiteX58" fmla="*/ 5328185 w 20349121"/>
                <a:gd name="connsiteY58" fmla="*/ 6003181 h 6061796"/>
                <a:gd name="connsiteX59" fmla="*/ 5351631 w 20349121"/>
                <a:gd name="connsiteY59" fmla="*/ 5604596 h 6061796"/>
                <a:gd name="connsiteX60" fmla="*/ 5222677 w 20349121"/>
                <a:gd name="connsiteY60" fmla="*/ 4678473 h 6061796"/>
                <a:gd name="connsiteX61" fmla="*/ 4554462 w 20349121"/>
                <a:gd name="connsiteY61" fmla="*/ 3881304 h 6061796"/>
                <a:gd name="connsiteX62" fmla="*/ 3804185 w 20349121"/>
                <a:gd name="connsiteY62" fmla="*/ 3635119 h 6061796"/>
                <a:gd name="connsiteX63" fmla="*/ 2995293 w 20349121"/>
                <a:gd name="connsiteY63" fmla="*/ 3693734 h 6061796"/>
                <a:gd name="connsiteX64" fmla="*/ 2432585 w 20349121"/>
                <a:gd name="connsiteY64" fmla="*/ 3975088 h 6061796"/>
                <a:gd name="connsiteX65" fmla="*/ 1987108 w 20349121"/>
                <a:gd name="connsiteY65" fmla="*/ 4584688 h 6061796"/>
                <a:gd name="connsiteX66" fmla="*/ 1799539 w 20349121"/>
                <a:gd name="connsiteY66" fmla="*/ 5159119 h 6061796"/>
                <a:gd name="connsiteX67" fmla="*/ 1787816 w 20349121"/>
                <a:gd name="connsiteY67" fmla="*/ 5745273 h 6061796"/>
                <a:gd name="connsiteX68" fmla="*/ 1776093 w 20349121"/>
                <a:gd name="connsiteY68" fmla="*/ 5944565 h 6061796"/>
                <a:gd name="connsiteX69" fmla="*/ 1647139 w 20349121"/>
                <a:gd name="connsiteY69" fmla="*/ 5956288 h 6061796"/>
                <a:gd name="connsiteX70" fmla="*/ 709293 w 20349121"/>
                <a:gd name="connsiteY70" fmla="*/ 5932842 h 6061796"/>
                <a:gd name="connsiteX71" fmla="*/ 556893 w 20349121"/>
                <a:gd name="connsiteY71" fmla="*/ 5909396 h 6061796"/>
                <a:gd name="connsiteX72" fmla="*/ 474831 w 20349121"/>
                <a:gd name="connsiteY72" fmla="*/ 5803888 h 6061796"/>
                <a:gd name="connsiteX73" fmla="*/ 404493 w 20349121"/>
                <a:gd name="connsiteY73" fmla="*/ 5745273 h 6061796"/>
                <a:gd name="connsiteX74" fmla="*/ 263816 w 20349121"/>
                <a:gd name="connsiteY74" fmla="*/ 5581150 h 6061796"/>
                <a:gd name="connsiteX75" fmla="*/ 404493 w 20349121"/>
                <a:gd name="connsiteY75" fmla="*/ 5534257 h 6061796"/>
                <a:gd name="connsiteX76" fmla="*/ 334154 w 20349121"/>
                <a:gd name="connsiteY76" fmla="*/ 5428750 h 6061796"/>
                <a:gd name="connsiteX77" fmla="*/ 240370 w 20349121"/>
                <a:gd name="connsiteY77" fmla="*/ 5030165 h 6061796"/>
                <a:gd name="connsiteX78" fmla="*/ 205201 w 20349121"/>
                <a:gd name="connsiteY78" fmla="*/ 4983273 h 6061796"/>
                <a:gd name="connsiteX79" fmla="*/ 76247 w 20349121"/>
                <a:gd name="connsiteY79" fmla="*/ 4971550 h 6061796"/>
                <a:gd name="connsiteX80" fmla="*/ 52801 w 20349121"/>
                <a:gd name="connsiteY80" fmla="*/ 4842596 h 6061796"/>
                <a:gd name="connsiteX81" fmla="*/ 5908 w 20349121"/>
                <a:gd name="connsiteY81" fmla="*/ 4385396 h 6061796"/>
                <a:gd name="connsiteX82" fmla="*/ 17631 w 20349121"/>
                <a:gd name="connsiteY82" fmla="*/ 4315057 h 6061796"/>
                <a:gd name="connsiteX83" fmla="*/ 158308 w 20349121"/>
                <a:gd name="connsiteY83" fmla="*/ 4279888 h 6061796"/>
                <a:gd name="connsiteX84" fmla="*/ 240370 w 20349121"/>
                <a:gd name="connsiteY84" fmla="*/ 4150934 h 6061796"/>
                <a:gd name="connsiteX85" fmla="*/ 205201 w 20349121"/>
                <a:gd name="connsiteY85" fmla="*/ 3963365 h 6061796"/>
                <a:gd name="connsiteX86" fmla="*/ 193477 w 20349121"/>
                <a:gd name="connsiteY86" fmla="*/ 3623396 h 6061796"/>
                <a:gd name="connsiteX87" fmla="*/ 357601 w 20349121"/>
                <a:gd name="connsiteY87" fmla="*/ 3283427 h 6061796"/>
                <a:gd name="connsiteX88" fmla="*/ 1154770 w 20349121"/>
                <a:gd name="connsiteY88" fmla="*/ 2861396 h 6061796"/>
                <a:gd name="connsiteX89" fmla="*/ 2104339 w 20349121"/>
                <a:gd name="connsiteY89" fmla="*/ 2626934 h 6061796"/>
                <a:gd name="connsiteX90" fmla="*/ 3780739 w 20349121"/>
                <a:gd name="connsiteY90" fmla="*/ 2333857 h 6061796"/>
                <a:gd name="connsiteX91" fmla="*/ 5199231 w 20349121"/>
                <a:gd name="connsiteY91" fmla="*/ 2169734 h 6061796"/>
                <a:gd name="connsiteX92" fmla="*/ 5574370 w 20349121"/>
                <a:gd name="connsiteY92" fmla="*/ 2146288 h 6061796"/>
                <a:gd name="connsiteX93" fmla="*/ 5726770 w 20349121"/>
                <a:gd name="connsiteY93" fmla="*/ 2158011 h 6061796"/>
                <a:gd name="connsiteX94" fmla="*/ 5937785 w 20349121"/>
                <a:gd name="connsiteY94" fmla="*/ 2251796 h 6061796"/>
                <a:gd name="connsiteX95" fmla="*/ 5996401 w 20349121"/>
                <a:gd name="connsiteY95" fmla="*/ 2228350 h 6061796"/>
                <a:gd name="connsiteX0" fmla="*/ 5996401 w 20349121"/>
                <a:gd name="connsiteY0" fmla="*/ 2228350 h 6045759"/>
                <a:gd name="connsiteX1" fmla="*/ 6899077 w 20349121"/>
                <a:gd name="connsiteY1" fmla="*/ 1700811 h 6045759"/>
                <a:gd name="connsiteX2" fmla="*/ 8212062 w 20349121"/>
                <a:gd name="connsiteY2" fmla="*/ 915365 h 6045759"/>
                <a:gd name="connsiteX3" fmla="*/ 9032677 w 20349121"/>
                <a:gd name="connsiteY3" fmla="*/ 528504 h 6045759"/>
                <a:gd name="connsiteX4" fmla="*/ 9079570 w 20349121"/>
                <a:gd name="connsiteY4" fmla="*/ 469888 h 6045759"/>
                <a:gd name="connsiteX5" fmla="*/ 9220247 w 20349121"/>
                <a:gd name="connsiteY5" fmla="*/ 411273 h 6045759"/>
                <a:gd name="connsiteX6" fmla="*/ 10005693 w 20349121"/>
                <a:gd name="connsiteY6" fmla="*/ 188534 h 6045759"/>
                <a:gd name="connsiteX7" fmla="*/ 11365570 w 20349121"/>
                <a:gd name="connsiteY7" fmla="*/ 47857 h 6045759"/>
                <a:gd name="connsiteX8" fmla="*/ 12948185 w 20349121"/>
                <a:gd name="connsiteY8" fmla="*/ 965 h 6045759"/>
                <a:gd name="connsiteX9" fmla="*/ 14565970 w 20349121"/>
                <a:gd name="connsiteY9" fmla="*/ 83027 h 6045759"/>
                <a:gd name="connsiteX10" fmla="*/ 16054801 w 20349121"/>
                <a:gd name="connsiteY10" fmla="*/ 165088 h 6045759"/>
                <a:gd name="connsiteX11" fmla="*/ 17496739 w 20349121"/>
                <a:gd name="connsiteY11" fmla="*/ 364381 h 6045759"/>
                <a:gd name="connsiteX12" fmla="*/ 18012554 w 20349121"/>
                <a:gd name="connsiteY12" fmla="*/ 481611 h 6045759"/>
                <a:gd name="connsiteX13" fmla="*/ 18352524 w 20349121"/>
                <a:gd name="connsiteY13" fmla="*/ 528504 h 6045759"/>
                <a:gd name="connsiteX14" fmla="*/ 18434585 w 20349121"/>
                <a:gd name="connsiteY14" fmla="*/ 575396 h 6045759"/>
                <a:gd name="connsiteX15" fmla="*/ 18469754 w 20349121"/>
                <a:gd name="connsiteY15" fmla="*/ 634011 h 6045759"/>
                <a:gd name="connsiteX16" fmla="*/ 18903508 w 20349121"/>
                <a:gd name="connsiteY16" fmla="*/ 1091211 h 6045759"/>
                <a:gd name="connsiteX17" fmla="*/ 19560001 w 20349121"/>
                <a:gd name="connsiteY17" fmla="*/ 1853211 h 6045759"/>
                <a:gd name="connsiteX18" fmla="*/ 19665508 w 20349121"/>
                <a:gd name="connsiteY18" fmla="*/ 1993888 h 6045759"/>
                <a:gd name="connsiteX19" fmla="*/ 19864801 w 20349121"/>
                <a:gd name="connsiteY19" fmla="*/ 2099396 h 6045759"/>
                <a:gd name="connsiteX20" fmla="*/ 19946862 w 20349121"/>
                <a:gd name="connsiteY20" fmla="*/ 2228350 h 6045759"/>
                <a:gd name="connsiteX21" fmla="*/ 19911693 w 20349121"/>
                <a:gd name="connsiteY21" fmla="*/ 2415919 h 6045759"/>
                <a:gd name="connsiteX22" fmla="*/ 19888247 w 20349121"/>
                <a:gd name="connsiteY22" fmla="*/ 2802781 h 6045759"/>
                <a:gd name="connsiteX23" fmla="*/ 19888247 w 20349121"/>
                <a:gd name="connsiteY23" fmla="*/ 3060688 h 6045759"/>
                <a:gd name="connsiteX24" fmla="*/ 19993754 w 20349121"/>
                <a:gd name="connsiteY24" fmla="*/ 3271704 h 6045759"/>
                <a:gd name="connsiteX25" fmla="*/ 19982031 w 20349121"/>
                <a:gd name="connsiteY25" fmla="*/ 3447550 h 6045759"/>
                <a:gd name="connsiteX26" fmla="*/ 19935139 w 20349121"/>
                <a:gd name="connsiteY26" fmla="*/ 3635119 h 6045759"/>
                <a:gd name="connsiteX27" fmla="*/ 20134431 w 20349121"/>
                <a:gd name="connsiteY27" fmla="*/ 3705457 h 6045759"/>
                <a:gd name="connsiteX28" fmla="*/ 20275108 w 20349121"/>
                <a:gd name="connsiteY28" fmla="*/ 3752350 h 6045759"/>
                <a:gd name="connsiteX29" fmla="*/ 20345447 w 20349121"/>
                <a:gd name="connsiteY29" fmla="*/ 3846134 h 6045759"/>
                <a:gd name="connsiteX30" fmla="*/ 20333724 w 20349121"/>
                <a:gd name="connsiteY30" fmla="*/ 4010257 h 6045759"/>
                <a:gd name="connsiteX31" fmla="*/ 20286831 w 20349121"/>
                <a:gd name="connsiteY31" fmla="*/ 4186104 h 6045759"/>
                <a:gd name="connsiteX32" fmla="*/ 20275108 w 20349121"/>
                <a:gd name="connsiteY32" fmla="*/ 4397119 h 6045759"/>
                <a:gd name="connsiteX33" fmla="*/ 20181324 w 20349121"/>
                <a:gd name="connsiteY33" fmla="*/ 4397119 h 6045759"/>
                <a:gd name="connsiteX34" fmla="*/ 20087539 w 20349121"/>
                <a:gd name="connsiteY34" fmla="*/ 4748811 h 6045759"/>
                <a:gd name="connsiteX35" fmla="*/ 20064093 w 20349121"/>
                <a:gd name="connsiteY35" fmla="*/ 5182565 h 6045759"/>
                <a:gd name="connsiteX36" fmla="*/ 20157877 w 20349121"/>
                <a:gd name="connsiteY36" fmla="*/ 5475642 h 6045759"/>
                <a:gd name="connsiteX37" fmla="*/ 20052370 w 20349121"/>
                <a:gd name="connsiteY37" fmla="*/ 5510811 h 6045759"/>
                <a:gd name="connsiteX38" fmla="*/ 19548277 w 20349121"/>
                <a:gd name="connsiteY38" fmla="*/ 5534257 h 6045759"/>
                <a:gd name="connsiteX39" fmla="*/ 19454493 w 20349121"/>
                <a:gd name="connsiteY39" fmla="*/ 5756996 h 6045759"/>
                <a:gd name="connsiteX40" fmla="*/ 19290370 w 20349121"/>
                <a:gd name="connsiteY40" fmla="*/ 5780442 h 6045759"/>
                <a:gd name="connsiteX41" fmla="*/ 18223570 w 20349121"/>
                <a:gd name="connsiteY41" fmla="*/ 5768719 h 6045759"/>
                <a:gd name="connsiteX42" fmla="*/ 18223570 w 20349121"/>
                <a:gd name="connsiteY42" fmla="*/ 5581150 h 6045759"/>
                <a:gd name="connsiteX43" fmla="*/ 17989108 w 20349121"/>
                <a:gd name="connsiteY43" fmla="*/ 4725365 h 6045759"/>
                <a:gd name="connsiteX44" fmla="*/ 17602247 w 20349121"/>
                <a:gd name="connsiteY44" fmla="*/ 4162657 h 6045759"/>
                <a:gd name="connsiteX45" fmla="*/ 17145047 w 20349121"/>
                <a:gd name="connsiteY45" fmla="*/ 3857857 h 6045759"/>
                <a:gd name="connsiteX46" fmla="*/ 16429939 w 20349121"/>
                <a:gd name="connsiteY46" fmla="*/ 3682011 h 6045759"/>
                <a:gd name="connsiteX47" fmla="*/ 15902401 w 20349121"/>
                <a:gd name="connsiteY47" fmla="*/ 3728904 h 6045759"/>
                <a:gd name="connsiteX48" fmla="*/ 15386585 w 20349121"/>
                <a:gd name="connsiteY48" fmla="*/ 3951642 h 6045759"/>
                <a:gd name="connsiteX49" fmla="*/ 14964554 w 20349121"/>
                <a:gd name="connsiteY49" fmla="*/ 4397119 h 6045759"/>
                <a:gd name="connsiteX50" fmla="*/ 14636308 w 20349121"/>
                <a:gd name="connsiteY50" fmla="*/ 4912934 h 6045759"/>
                <a:gd name="connsiteX51" fmla="*/ 14542524 w 20349121"/>
                <a:gd name="connsiteY51" fmla="*/ 5393581 h 6045759"/>
                <a:gd name="connsiteX52" fmla="*/ 14542524 w 20349121"/>
                <a:gd name="connsiteY52" fmla="*/ 5768719 h 6045759"/>
                <a:gd name="connsiteX53" fmla="*/ 14554247 w 20349121"/>
                <a:gd name="connsiteY53" fmla="*/ 5991457 h 6045759"/>
                <a:gd name="connsiteX54" fmla="*/ 14472185 w 20349121"/>
                <a:gd name="connsiteY54" fmla="*/ 6014904 h 6045759"/>
                <a:gd name="connsiteX55" fmla="*/ 14073601 w 20349121"/>
                <a:gd name="connsiteY55" fmla="*/ 6014904 h 6045759"/>
                <a:gd name="connsiteX56" fmla="*/ 11693816 w 20349121"/>
                <a:gd name="connsiteY56" fmla="*/ 6038350 h 6045759"/>
                <a:gd name="connsiteX57" fmla="*/ 7121816 w 20349121"/>
                <a:gd name="connsiteY57" fmla="*/ 6038350 h 6045759"/>
                <a:gd name="connsiteX58" fmla="*/ 5328185 w 20349121"/>
                <a:gd name="connsiteY58" fmla="*/ 6003181 h 6045759"/>
                <a:gd name="connsiteX59" fmla="*/ 5351631 w 20349121"/>
                <a:gd name="connsiteY59" fmla="*/ 5604596 h 6045759"/>
                <a:gd name="connsiteX60" fmla="*/ 5222677 w 20349121"/>
                <a:gd name="connsiteY60" fmla="*/ 4678473 h 6045759"/>
                <a:gd name="connsiteX61" fmla="*/ 4554462 w 20349121"/>
                <a:gd name="connsiteY61" fmla="*/ 3881304 h 6045759"/>
                <a:gd name="connsiteX62" fmla="*/ 3804185 w 20349121"/>
                <a:gd name="connsiteY62" fmla="*/ 3635119 h 6045759"/>
                <a:gd name="connsiteX63" fmla="*/ 2995293 w 20349121"/>
                <a:gd name="connsiteY63" fmla="*/ 3693734 h 6045759"/>
                <a:gd name="connsiteX64" fmla="*/ 2432585 w 20349121"/>
                <a:gd name="connsiteY64" fmla="*/ 3975088 h 6045759"/>
                <a:gd name="connsiteX65" fmla="*/ 1987108 w 20349121"/>
                <a:gd name="connsiteY65" fmla="*/ 4584688 h 6045759"/>
                <a:gd name="connsiteX66" fmla="*/ 1799539 w 20349121"/>
                <a:gd name="connsiteY66" fmla="*/ 5159119 h 6045759"/>
                <a:gd name="connsiteX67" fmla="*/ 1787816 w 20349121"/>
                <a:gd name="connsiteY67" fmla="*/ 5745273 h 6045759"/>
                <a:gd name="connsiteX68" fmla="*/ 1776093 w 20349121"/>
                <a:gd name="connsiteY68" fmla="*/ 5944565 h 6045759"/>
                <a:gd name="connsiteX69" fmla="*/ 1647139 w 20349121"/>
                <a:gd name="connsiteY69" fmla="*/ 5956288 h 6045759"/>
                <a:gd name="connsiteX70" fmla="*/ 709293 w 20349121"/>
                <a:gd name="connsiteY70" fmla="*/ 5932842 h 6045759"/>
                <a:gd name="connsiteX71" fmla="*/ 556893 w 20349121"/>
                <a:gd name="connsiteY71" fmla="*/ 5909396 h 6045759"/>
                <a:gd name="connsiteX72" fmla="*/ 474831 w 20349121"/>
                <a:gd name="connsiteY72" fmla="*/ 5803888 h 6045759"/>
                <a:gd name="connsiteX73" fmla="*/ 404493 w 20349121"/>
                <a:gd name="connsiteY73" fmla="*/ 5745273 h 6045759"/>
                <a:gd name="connsiteX74" fmla="*/ 263816 w 20349121"/>
                <a:gd name="connsiteY74" fmla="*/ 5581150 h 6045759"/>
                <a:gd name="connsiteX75" fmla="*/ 404493 w 20349121"/>
                <a:gd name="connsiteY75" fmla="*/ 5534257 h 6045759"/>
                <a:gd name="connsiteX76" fmla="*/ 334154 w 20349121"/>
                <a:gd name="connsiteY76" fmla="*/ 5428750 h 6045759"/>
                <a:gd name="connsiteX77" fmla="*/ 240370 w 20349121"/>
                <a:gd name="connsiteY77" fmla="*/ 5030165 h 6045759"/>
                <a:gd name="connsiteX78" fmla="*/ 205201 w 20349121"/>
                <a:gd name="connsiteY78" fmla="*/ 4983273 h 6045759"/>
                <a:gd name="connsiteX79" fmla="*/ 76247 w 20349121"/>
                <a:gd name="connsiteY79" fmla="*/ 4971550 h 6045759"/>
                <a:gd name="connsiteX80" fmla="*/ 52801 w 20349121"/>
                <a:gd name="connsiteY80" fmla="*/ 4842596 h 6045759"/>
                <a:gd name="connsiteX81" fmla="*/ 5908 w 20349121"/>
                <a:gd name="connsiteY81" fmla="*/ 4385396 h 6045759"/>
                <a:gd name="connsiteX82" fmla="*/ 17631 w 20349121"/>
                <a:gd name="connsiteY82" fmla="*/ 4315057 h 6045759"/>
                <a:gd name="connsiteX83" fmla="*/ 158308 w 20349121"/>
                <a:gd name="connsiteY83" fmla="*/ 4279888 h 6045759"/>
                <a:gd name="connsiteX84" fmla="*/ 240370 w 20349121"/>
                <a:gd name="connsiteY84" fmla="*/ 4150934 h 6045759"/>
                <a:gd name="connsiteX85" fmla="*/ 205201 w 20349121"/>
                <a:gd name="connsiteY85" fmla="*/ 3963365 h 6045759"/>
                <a:gd name="connsiteX86" fmla="*/ 193477 w 20349121"/>
                <a:gd name="connsiteY86" fmla="*/ 3623396 h 6045759"/>
                <a:gd name="connsiteX87" fmla="*/ 357601 w 20349121"/>
                <a:gd name="connsiteY87" fmla="*/ 3283427 h 6045759"/>
                <a:gd name="connsiteX88" fmla="*/ 1154770 w 20349121"/>
                <a:gd name="connsiteY88" fmla="*/ 2861396 h 6045759"/>
                <a:gd name="connsiteX89" fmla="*/ 2104339 w 20349121"/>
                <a:gd name="connsiteY89" fmla="*/ 2626934 h 6045759"/>
                <a:gd name="connsiteX90" fmla="*/ 3780739 w 20349121"/>
                <a:gd name="connsiteY90" fmla="*/ 2333857 h 6045759"/>
                <a:gd name="connsiteX91" fmla="*/ 5199231 w 20349121"/>
                <a:gd name="connsiteY91" fmla="*/ 2169734 h 6045759"/>
                <a:gd name="connsiteX92" fmla="*/ 5574370 w 20349121"/>
                <a:gd name="connsiteY92" fmla="*/ 2146288 h 6045759"/>
                <a:gd name="connsiteX93" fmla="*/ 5726770 w 20349121"/>
                <a:gd name="connsiteY93" fmla="*/ 2158011 h 6045759"/>
                <a:gd name="connsiteX94" fmla="*/ 5937785 w 20349121"/>
                <a:gd name="connsiteY94" fmla="*/ 2251796 h 6045759"/>
                <a:gd name="connsiteX95" fmla="*/ 5996401 w 20349121"/>
                <a:gd name="connsiteY95" fmla="*/ 2228350 h 6045759"/>
                <a:gd name="connsiteX0" fmla="*/ 5996401 w 20349121"/>
                <a:gd name="connsiteY0" fmla="*/ 2228350 h 6080632"/>
                <a:gd name="connsiteX1" fmla="*/ 6899077 w 20349121"/>
                <a:gd name="connsiteY1" fmla="*/ 1700811 h 6080632"/>
                <a:gd name="connsiteX2" fmla="*/ 8212062 w 20349121"/>
                <a:gd name="connsiteY2" fmla="*/ 915365 h 6080632"/>
                <a:gd name="connsiteX3" fmla="*/ 9032677 w 20349121"/>
                <a:gd name="connsiteY3" fmla="*/ 528504 h 6080632"/>
                <a:gd name="connsiteX4" fmla="*/ 9079570 w 20349121"/>
                <a:gd name="connsiteY4" fmla="*/ 469888 h 6080632"/>
                <a:gd name="connsiteX5" fmla="*/ 9220247 w 20349121"/>
                <a:gd name="connsiteY5" fmla="*/ 411273 h 6080632"/>
                <a:gd name="connsiteX6" fmla="*/ 10005693 w 20349121"/>
                <a:gd name="connsiteY6" fmla="*/ 188534 h 6080632"/>
                <a:gd name="connsiteX7" fmla="*/ 11365570 w 20349121"/>
                <a:gd name="connsiteY7" fmla="*/ 47857 h 6080632"/>
                <a:gd name="connsiteX8" fmla="*/ 12948185 w 20349121"/>
                <a:gd name="connsiteY8" fmla="*/ 965 h 6080632"/>
                <a:gd name="connsiteX9" fmla="*/ 14565970 w 20349121"/>
                <a:gd name="connsiteY9" fmla="*/ 83027 h 6080632"/>
                <a:gd name="connsiteX10" fmla="*/ 16054801 w 20349121"/>
                <a:gd name="connsiteY10" fmla="*/ 165088 h 6080632"/>
                <a:gd name="connsiteX11" fmla="*/ 17496739 w 20349121"/>
                <a:gd name="connsiteY11" fmla="*/ 364381 h 6080632"/>
                <a:gd name="connsiteX12" fmla="*/ 18012554 w 20349121"/>
                <a:gd name="connsiteY12" fmla="*/ 481611 h 6080632"/>
                <a:gd name="connsiteX13" fmla="*/ 18352524 w 20349121"/>
                <a:gd name="connsiteY13" fmla="*/ 528504 h 6080632"/>
                <a:gd name="connsiteX14" fmla="*/ 18434585 w 20349121"/>
                <a:gd name="connsiteY14" fmla="*/ 575396 h 6080632"/>
                <a:gd name="connsiteX15" fmla="*/ 18469754 w 20349121"/>
                <a:gd name="connsiteY15" fmla="*/ 634011 h 6080632"/>
                <a:gd name="connsiteX16" fmla="*/ 18903508 w 20349121"/>
                <a:gd name="connsiteY16" fmla="*/ 1091211 h 6080632"/>
                <a:gd name="connsiteX17" fmla="*/ 19560001 w 20349121"/>
                <a:gd name="connsiteY17" fmla="*/ 1853211 h 6080632"/>
                <a:gd name="connsiteX18" fmla="*/ 19665508 w 20349121"/>
                <a:gd name="connsiteY18" fmla="*/ 1993888 h 6080632"/>
                <a:gd name="connsiteX19" fmla="*/ 19864801 w 20349121"/>
                <a:gd name="connsiteY19" fmla="*/ 2099396 h 6080632"/>
                <a:gd name="connsiteX20" fmla="*/ 19946862 w 20349121"/>
                <a:gd name="connsiteY20" fmla="*/ 2228350 h 6080632"/>
                <a:gd name="connsiteX21" fmla="*/ 19911693 w 20349121"/>
                <a:gd name="connsiteY21" fmla="*/ 2415919 h 6080632"/>
                <a:gd name="connsiteX22" fmla="*/ 19888247 w 20349121"/>
                <a:gd name="connsiteY22" fmla="*/ 2802781 h 6080632"/>
                <a:gd name="connsiteX23" fmla="*/ 19888247 w 20349121"/>
                <a:gd name="connsiteY23" fmla="*/ 3060688 h 6080632"/>
                <a:gd name="connsiteX24" fmla="*/ 19993754 w 20349121"/>
                <a:gd name="connsiteY24" fmla="*/ 3271704 h 6080632"/>
                <a:gd name="connsiteX25" fmla="*/ 19982031 w 20349121"/>
                <a:gd name="connsiteY25" fmla="*/ 3447550 h 6080632"/>
                <a:gd name="connsiteX26" fmla="*/ 19935139 w 20349121"/>
                <a:gd name="connsiteY26" fmla="*/ 3635119 h 6080632"/>
                <a:gd name="connsiteX27" fmla="*/ 20134431 w 20349121"/>
                <a:gd name="connsiteY27" fmla="*/ 3705457 h 6080632"/>
                <a:gd name="connsiteX28" fmla="*/ 20275108 w 20349121"/>
                <a:gd name="connsiteY28" fmla="*/ 3752350 h 6080632"/>
                <a:gd name="connsiteX29" fmla="*/ 20345447 w 20349121"/>
                <a:gd name="connsiteY29" fmla="*/ 3846134 h 6080632"/>
                <a:gd name="connsiteX30" fmla="*/ 20333724 w 20349121"/>
                <a:gd name="connsiteY30" fmla="*/ 4010257 h 6080632"/>
                <a:gd name="connsiteX31" fmla="*/ 20286831 w 20349121"/>
                <a:gd name="connsiteY31" fmla="*/ 4186104 h 6080632"/>
                <a:gd name="connsiteX32" fmla="*/ 20275108 w 20349121"/>
                <a:gd name="connsiteY32" fmla="*/ 4397119 h 6080632"/>
                <a:gd name="connsiteX33" fmla="*/ 20181324 w 20349121"/>
                <a:gd name="connsiteY33" fmla="*/ 4397119 h 6080632"/>
                <a:gd name="connsiteX34" fmla="*/ 20087539 w 20349121"/>
                <a:gd name="connsiteY34" fmla="*/ 4748811 h 6080632"/>
                <a:gd name="connsiteX35" fmla="*/ 20064093 w 20349121"/>
                <a:gd name="connsiteY35" fmla="*/ 5182565 h 6080632"/>
                <a:gd name="connsiteX36" fmla="*/ 20157877 w 20349121"/>
                <a:gd name="connsiteY36" fmla="*/ 5475642 h 6080632"/>
                <a:gd name="connsiteX37" fmla="*/ 20052370 w 20349121"/>
                <a:gd name="connsiteY37" fmla="*/ 5510811 h 6080632"/>
                <a:gd name="connsiteX38" fmla="*/ 19548277 w 20349121"/>
                <a:gd name="connsiteY38" fmla="*/ 5534257 h 6080632"/>
                <a:gd name="connsiteX39" fmla="*/ 19454493 w 20349121"/>
                <a:gd name="connsiteY39" fmla="*/ 5756996 h 6080632"/>
                <a:gd name="connsiteX40" fmla="*/ 19290370 w 20349121"/>
                <a:gd name="connsiteY40" fmla="*/ 5780442 h 6080632"/>
                <a:gd name="connsiteX41" fmla="*/ 18223570 w 20349121"/>
                <a:gd name="connsiteY41" fmla="*/ 5768719 h 6080632"/>
                <a:gd name="connsiteX42" fmla="*/ 18223570 w 20349121"/>
                <a:gd name="connsiteY42" fmla="*/ 5581150 h 6080632"/>
                <a:gd name="connsiteX43" fmla="*/ 17989108 w 20349121"/>
                <a:gd name="connsiteY43" fmla="*/ 4725365 h 6080632"/>
                <a:gd name="connsiteX44" fmla="*/ 17602247 w 20349121"/>
                <a:gd name="connsiteY44" fmla="*/ 4162657 h 6080632"/>
                <a:gd name="connsiteX45" fmla="*/ 17145047 w 20349121"/>
                <a:gd name="connsiteY45" fmla="*/ 3857857 h 6080632"/>
                <a:gd name="connsiteX46" fmla="*/ 16429939 w 20349121"/>
                <a:gd name="connsiteY46" fmla="*/ 3682011 h 6080632"/>
                <a:gd name="connsiteX47" fmla="*/ 15902401 w 20349121"/>
                <a:gd name="connsiteY47" fmla="*/ 3728904 h 6080632"/>
                <a:gd name="connsiteX48" fmla="*/ 15386585 w 20349121"/>
                <a:gd name="connsiteY48" fmla="*/ 3951642 h 6080632"/>
                <a:gd name="connsiteX49" fmla="*/ 14964554 w 20349121"/>
                <a:gd name="connsiteY49" fmla="*/ 4397119 h 6080632"/>
                <a:gd name="connsiteX50" fmla="*/ 14636308 w 20349121"/>
                <a:gd name="connsiteY50" fmla="*/ 4912934 h 6080632"/>
                <a:gd name="connsiteX51" fmla="*/ 14542524 w 20349121"/>
                <a:gd name="connsiteY51" fmla="*/ 5393581 h 6080632"/>
                <a:gd name="connsiteX52" fmla="*/ 14542524 w 20349121"/>
                <a:gd name="connsiteY52" fmla="*/ 5768719 h 6080632"/>
                <a:gd name="connsiteX53" fmla="*/ 14554247 w 20349121"/>
                <a:gd name="connsiteY53" fmla="*/ 5991457 h 6080632"/>
                <a:gd name="connsiteX54" fmla="*/ 14472185 w 20349121"/>
                <a:gd name="connsiteY54" fmla="*/ 6014904 h 6080632"/>
                <a:gd name="connsiteX55" fmla="*/ 14073601 w 20349121"/>
                <a:gd name="connsiteY55" fmla="*/ 6014904 h 6080632"/>
                <a:gd name="connsiteX56" fmla="*/ 11693816 w 20349121"/>
                <a:gd name="connsiteY56" fmla="*/ 6038350 h 6080632"/>
                <a:gd name="connsiteX57" fmla="*/ 7121816 w 20349121"/>
                <a:gd name="connsiteY57" fmla="*/ 6038350 h 6080632"/>
                <a:gd name="connsiteX58" fmla="*/ 5328185 w 20349121"/>
                <a:gd name="connsiteY58" fmla="*/ 6003181 h 6080632"/>
                <a:gd name="connsiteX59" fmla="*/ 5351631 w 20349121"/>
                <a:gd name="connsiteY59" fmla="*/ 5604596 h 6080632"/>
                <a:gd name="connsiteX60" fmla="*/ 5222677 w 20349121"/>
                <a:gd name="connsiteY60" fmla="*/ 4678473 h 6080632"/>
                <a:gd name="connsiteX61" fmla="*/ 4554462 w 20349121"/>
                <a:gd name="connsiteY61" fmla="*/ 3881304 h 6080632"/>
                <a:gd name="connsiteX62" fmla="*/ 3804185 w 20349121"/>
                <a:gd name="connsiteY62" fmla="*/ 3635119 h 6080632"/>
                <a:gd name="connsiteX63" fmla="*/ 2995293 w 20349121"/>
                <a:gd name="connsiteY63" fmla="*/ 3693734 h 6080632"/>
                <a:gd name="connsiteX64" fmla="*/ 2432585 w 20349121"/>
                <a:gd name="connsiteY64" fmla="*/ 3975088 h 6080632"/>
                <a:gd name="connsiteX65" fmla="*/ 1987108 w 20349121"/>
                <a:gd name="connsiteY65" fmla="*/ 4584688 h 6080632"/>
                <a:gd name="connsiteX66" fmla="*/ 1799539 w 20349121"/>
                <a:gd name="connsiteY66" fmla="*/ 5159119 h 6080632"/>
                <a:gd name="connsiteX67" fmla="*/ 1787816 w 20349121"/>
                <a:gd name="connsiteY67" fmla="*/ 5745273 h 6080632"/>
                <a:gd name="connsiteX68" fmla="*/ 1776093 w 20349121"/>
                <a:gd name="connsiteY68" fmla="*/ 5944565 h 6080632"/>
                <a:gd name="connsiteX69" fmla="*/ 1647139 w 20349121"/>
                <a:gd name="connsiteY69" fmla="*/ 5956288 h 6080632"/>
                <a:gd name="connsiteX70" fmla="*/ 709293 w 20349121"/>
                <a:gd name="connsiteY70" fmla="*/ 5932842 h 6080632"/>
                <a:gd name="connsiteX71" fmla="*/ 556893 w 20349121"/>
                <a:gd name="connsiteY71" fmla="*/ 5909396 h 6080632"/>
                <a:gd name="connsiteX72" fmla="*/ 474831 w 20349121"/>
                <a:gd name="connsiteY72" fmla="*/ 5803888 h 6080632"/>
                <a:gd name="connsiteX73" fmla="*/ 404493 w 20349121"/>
                <a:gd name="connsiteY73" fmla="*/ 5745273 h 6080632"/>
                <a:gd name="connsiteX74" fmla="*/ 263816 w 20349121"/>
                <a:gd name="connsiteY74" fmla="*/ 5581150 h 6080632"/>
                <a:gd name="connsiteX75" fmla="*/ 404493 w 20349121"/>
                <a:gd name="connsiteY75" fmla="*/ 5534257 h 6080632"/>
                <a:gd name="connsiteX76" fmla="*/ 334154 w 20349121"/>
                <a:gd name="connsiteY76" fmla="*/ 5428750 h 6080632"/>
                <a:gd name="connsiteX77" fmla="*/ 240370 w 20349121"/>
                <a:gd name="connsiteY77" fmla="*/ 5030165 h 6080632"/>
                <a:gd name="connsiteX78" fmla="*/ 205201 w 20349121"/>
                <a:gd name="connsiteY78" fmla="*/ 4983273 h 6080632"/>
                <a:gd name="connsiteX79" fmla="*/ 76247 w 20349121"/>
                <a:gd name="connsiteY79" fmla="*/ 4971550 h 6080632"/>
                <a:gd name="connsiteX80" fmla="*/ 52801 w 20349121"/>
                <a:gd name="connsiteY80" fmla="*/ 4842596 h 6080632"/>
                <a:gd name="connsiteX81" fmla="*/ 5908 w 20349121"/>
                <a:gd name="connsiteY81" fmla="*/ 4385396 h 6080632"/>
                <a:gd name="connsiteX82" fmla="*/ 17631 w 20349121"/>
                <a:gd name="connsiteY82" fmla="*/ 4315057 h 6080632"/>
                <a:gd name="connsiteX83" fmla="*/ 158308 w 20349121"/>
                <a:gd name="connsiteY83" fmla="*/ 4279888 h 6080632"/>
                <a:gd name="connsiteX84" fmla="*/ 240370 w 20349121"/>
                <a:gd name="connsiteY84" fmla="*/ 4150934 h 6080632"/>
                <a:gd name="connsiteX85" fmla="*/ 205201 w 20349121"/>
                <a:gd name="connsiteY85" fmla="*/ 3963365 h 6080632"/>
                <a:gd name="connsiteX86" fmla="*/ 193477 w 20349121"/>
                <a:gd name="connsiteY86" fmla="*/ 3623396 h 6080632"/>
                <a:gd name="connsiteX87" fmla="*/ 357601 w 20349121"/>
                <a:gd name="connsiteY87" fmla="*/ 3283427 h 6080632"/>
                <a:gd name="connsiteX88" fmla="*/ 1154770 w 20349121"/>
                <a:gd name="connsiteY88" fmla="*/ 2861396 h 6080632"/>
                <a:gd name="connsiteX89" fmla="*/ 2104339 w 20349121"/>
                <a:gd name="connsiteY89" fmla="*/ 2626934 h 6080632"/>
                <a:gd name="connsiteX90" fmla="*/ 3780739 w 20349121"/>
                <a:gd name="connsiteY90" fmla="*/ 2333857 h 6080632"/>
                <a:gd name="connsiteX91" fmla="*/ 5199231 w 20349121"/>
                <a:gd name="connsiteY91" fmla="*/ 2169734 h 6080632"/>
                <a:gd name="connsiteX92" fmla="*/ 5574370 w 20349121"/>
                <a:gd name="connsiteY92" fmla="*/ 2146288 h 6080632"/>
                <a:gd name="connsiteX93" fmla="*/ 5726770 w 20349121"/>
                <a:gd name="connsiteY93" fmla="*/ 2158011 h 6080632"/>
                <a:gd name="connsiteX94" fmla="*/ 5937785 w 20349121"/>
                <a:gd name="connsiteY94" fmla="*/ 2251796 h 6080632"/>
                <a:gd name="connsiteX95" fmla="*/ 5996401 w 20349121"/>
                <a:gd name="connsiteY95" fmla="*/ 2228350 h 6080632"/>
                <a:gd name="connsiteX0" fmla="*/ 5996401 w 20349121"/>
                <a:gd name="connsiteY0" fmla="*/ 2228350 h 6055371"/>
                <a:gd name="connsiteX1" fmla="*/ 6899077 w 20349121"/>
                <a:gd name="connsiteY1" fmla="*/ 1700811 h 6055371"/>
                <a:gd name="connsiteX2" fmla="*/ 8212062 w 20349121"/>
                <a:gd name="connsiteY2" fmla="*/ 915365 h 6055371"/>
                <a:gd name="connsiteX3" fmla="*/ 9032677 w 20349121"/>
                <a:gd name="connsiteY3" fmla="*/ 528504 h 6055371"/>
                <a:gd name="connsiteX4" fmla="*/ 9079570 w 20349121"/>
                <a:gd name="connsiteY4" fmla="*/ 469888 h 6055371"/>
                <a:gd name="connsiteX5" fmla="*/ 9220247 w 20349121"/>
                <a:gd name="connsiteY5" fmla="*/ 411273 h 6055371"/>
                <a:gd name="connsiteX6" fmla="*/ 10005693 w 20349121"/>
                <a:gd name="connsiteY6" fmla="*/ 188534 h 6055371"/>
                <a:gd name="connsiteX7" fmla="*/ 11365570 w 20349121"/>
                <a:gd name="connsiteY7" fmla="*/ 47857 h 6055371"/>
                <a:gd name="connsiteX8" fmla="*/ 12948185 w 20349121"/>
                <a:gd name="connsiteY8" fmla="*/ 965 h 6055371"/>
                <a:gd name="connsiteX9" fmla="*/ 14565970 w 20349121"/>
                <a:gd name="connsiteY9" fmla="*/ 83027 h 6055371"/>
                <a:gd name="connsiteX10" fmla="*/ 16054801 w 20349121"/>
                <a:gd name="connsiteY10" fmla="*/ 165088 h 6055371"/>
                <a:gd name="connsiteX11" fmla="*/ 17496739 w 20349121"/>
                <a:gd name="connsiteY11" fmla="*/ 364381 h 6055371"/>
                <a:gd name="connsiteX12" fmla="*/ 18012554 w 20349121"/>
                <a:gd name="connsiteY12" fmla="*/ 481611 h 6055371"/>
                <a:gd name="connsiteX13" fmla="*/ 18352524 w 20349121"/>
                <a:gd name="connsiteY13" fmla="*/ 528504 h 6055371"/>
                <a:gd name="connsiteX14" fmla="*/ 18434585 w 20349121"/>
                <a:gd name="connsiteY14" fmla="*/ 575396 h 6055371"/>
                <a:gd name="connsiteX15" fmla="*/ 18469754 w 20349121"/>
                <a:gd name="connsiteY15" fmla="*/ 634011 h 6055371"/>
                <a:gd name="connsiteX16" fmla="*/ 18903508 w 20349121"/>
                <a:gd name="connsiteY16" fmla="*/ 1091211 h 6055371"/>
                <a:gd name="connsiteX17" fmla="*/ 19560001 w 20349121"/>
                <a:gd name="connsiteY17" fmla="*/ 1853211 h 6055371"/>
                <a:gd name="connsiteX18" fmla="*/ 19665508 w 20349121"/>
                <a:gd name="connsiteY18" fmla="*/ 1993888 h 6055371"/>
                <a:gd name="connsiteX19" fmla="*/ 19864801 w 20349121"/>
                <a:gd name="connsiteY19" fmla="*/ 2099396 h 6055371"/>
                <a:gd name="connsiteX20" fmla="*/ 19946862 w 20349121"/>
                <a:gd name="connsiteY20" fmla="*/ 2228350 h 6055371"/>
                <a:gd name="connsiteX21" fmla="*/ 19911693 w 20349121"/>
                <a:gd name="connsiteY21" fmla="*/ 2415919 h 6055371"/>
                <a:gd name="connsiteX22" fmla="*/ 19888247 w 20349121"/>
                <a:gd name="connsiteY22" fmla="*/ 2802781 h 6055371"/>
                <a:gd name="connsiteX23" fmla="*/ 19888247 w 20349121"/>
                <a:gd name="connsiteY23" fmla="*/ 3060688 h 6055371"/>
                <a:gd name="connsiteX24" fmla="*/ 19993754 w 20349121"/>
                <a:gd name="connsiteY24" fmla="*/ 3271704 h 6055371"/>
                <a:gd name="connsiteX25" fmla="*/ 19982031 w 20349121"/>
                <a:gd name="connsiteY25" fmla="*/ 3447550 h 6055371"/>
                <a:gd name="connsiteX26" fmla="*/ 19935139 w 20349121"/>
                <a:gd name="connsiteY26" fmla="*/ 3635119 h 6055371"/>
                <a:gd name="connsiteX27" fmla="*/ 20134431 w 20349121"/>
                <a:gd name="connsiteY27" fmla="*/ 3705457 h 6055371"/>
                <a:gd name="connsiteX28" fmla="*/ 20275108 w 20349121"/>
                <a:gd name="connsiteY28" fmla="*/ 3752350 h 6055371"/>
                <a:gd name="connsiteX29" fmla="*/ 20345447 w 20349121"/>
                <a:gd name="connsiteY29" fmla="*/ 3846134 h 6055371"/>
                <a:gd name="connsiteX30" fmla="*/ 20333724 w 20349121"/>
                <a:gd name="connsiteY30" fmla="*/ 4010257 h 6055371"/>
                <a:gd name="connsiteX31" fmla="*/ 20286831 w 20349121"/>
                <a:gd name="connsiteY31" fmla="*/ 4186104 h 6055371"/>
                <a:gd name="connsiteX32" fmla="*/ 20275108 w 20349121"/>
                <a:gd name="connsiteY32" fmla="*/ 4397119 h 6055371"/>
                <a:gd name="connsiteX33" fmla="*/ 20181324 w 20349121"/>
                <a:gd name="connsiteY33" fmla="*/ 4397119 h 6055371"/>
                <a:gd name="connsiteX34" fmla="*/ 20087539 w 20349121"/>
                <a:gd name="connsiteY34" fmla="*/ 4748811 h 6055371"/>
                <a:gd name="connsiteX35" fmla="*/ 20064093 w 20349121"/>
                <a:gd name="connsiteY35" fmla="*/ 5182565 h 6055371"/>
                <a:gd name="connsiteX36" fmla="*/ 20157877 w 20349121"/>
                <a:gd name="connsiteY36" fmla="*/ 5475642 h 6055371"/>
                <a:gd name="connsiteX37" fmla="*/ 20052370 w 20349121"/>
                <a:gd name="connsiteY37" fmla="*/ 5510811 h 6055371"/>
                <a:gd name="connsiteX38" fmla="*/ 19548277 w 20349121"/>
                <a:gd name="connsiteY38" fmla="*/ 5534257 h 6055371"/>
                <a:gd name="connsiteX39" fmla="*/ 19454493 w 20349121"/>
                <a:gd name="connsiteY39" fmla="*/ 5756996 h 6055371"/>
                <a:gd name="connsiteX40" fmla="*/ 19290370 w 20349121"/>
                <a:gd name="connsiteY40" fmla="*/ 5780442 h 6055371"/>
                <a:gd name="connsiteX41" fmla="*/ 18223570 w 20349121"/>
                <a:gd name="connsiteY41" fmla="*/ 5768719 h 6055371"/>
                <a:gd name="connsiteX42" fmla="*/ 18223570 w 20349121"/>
                <a:gd name="connsiteY42" fmla="*/ 5581150 h 6055371"/>
                <a:gd name="connsiteX43" fmla="*/ 17989108 w 20349121"/>
                <a:gd name="connsiteY43" fmla="*/ 4725365 h 6055371"/>
                <a:gd name="connsiteX44" fmla="*/ 17602247 w 20349121"/>
                <a:gd name="connsiteY44" fmla="*/ 4162657 h 6055371"/>
                <a:gd name="connsiteX45" fmla="*/ 17145047 w 20349121"/>
                <a:gd name="connsiteY45" fmla="*/ 3857857 h 6055371"/>
                <a:gd name="connsiteX46" fmla="*/ 16429939 w 20349121"/>
                <a:gd name="connsiteY46" fmla="*/ 3682011 h 6055371"/>
                <a:gd name="connsiteX47" fmla="*/ 15902401 w 20349121"/>
                <a:gd name="connsiteY47" fmla="*/ 3728904 h 6055371"/>
                <a:gd name="connsiteX48" fmla="*/ 15386585 w 20349121"/>
                <a:gd name="connsiteY48" fmla="*/ 3951642 h 6055371"/>
                <a:gd name="connsiteX49" fmla="*/ 14964554 w 20349121"/>
                <a:gd name="connsiteY49" fmla="*/ 4397119 h 6055371"/>
                <a:gd name="connsiteX50" fmla="*/ 14636308 w 20349121"/>
                <a:gd name="connsiteY50" fmla="*/ 4912934 h 6055371"/>
                <a:gd name="connsiteX51" fmla="*/ 14542524 w 20349121"/>
                <a:gd name="connsiteY51" fmla="*/ 5393581 h 6055371"/>
                <a:gd name="connsiteX52" fmla="*/ 14542524 w 20349121"/>
                <a:gd name="connsiteY52" fmla="*/ 5768719 h 6055371"/>
                <a:gd name="connsiteX53" fmla="*/ 14554247 w 20349121"/>
                <a:gd name="connsiteY53" fmla="*/ 5991457 h 6055371"/>
                <a:gd name="connsiteX54" fmla="*/ 14472185 w 20349121"/>
                <a:gd name="connsiteY54" fmla="*/ 6014904 h 6055371"/>
                <a:gd name="connsiteX55" fmla="*/ 14073601 w 20349121"/>
                <a:gd name="connsiteY55" fmla="*/ 6014904 h 6055371"/>
                <a:gd name="connsiteX56" fmla="*/ 11693816 w 20349121"/>
                <a:gd name="connsiteY56" fmla="*/ 6038350 h 6055371"/>
                <a:gd name="connsiteX57" fmla="*/ 7121816 w 20349121"/>
                <a:gd name="connsiteY57" fmla="*/ 6038350 h 6055371"/>
                <a:gd name="connsiteX58" fmla="*/ 5328185 w 20349121"/>
                <a:gd name="connsiteY58" fmla="*/ 6003181 h 6055371"/>
                <a:gd name="connsiteX59" fmla="*/ 5351631 w 20349121"/>
                <a:gd name="connsiteY59" fmla="*/ 5604596 h 6055371"/>
                <a:gd name="connsiteX60" fmla="*/ 5222677 w 20349121"/>
                <a:gd name="connsiteY60" fmla="*/ 4678473 h 6055371"/>
                <a:gd name="connsiteX61" fmla="*/ 4554462 w 20349121"/>
                <a:gd name="connsiteY61" fmla="*/ 3881304 h 6055371"/>
                <a:gd name="connsiteX62" fmla="*/ 3804185 w 20349121"/>
                <a:gd name="connsiteY62" fmla="*/ 3635119 h 6055371"/>
                <a:gd name="connsiteX63" fmla="*/ 2995293 w 20349121"/>
                <a:gd name="connsiteY63" fmla="*/ 3693734 h 6055371"/>
                <a:gd name="connsiteX64" fmla="*/ 2432585 w 20349121"/>
                <a:gd name="connsiteY64" fmla="*/ 3975088 h 6055371"/>
                <a:gd name="connsiteX65" fmla="*/ 1987108 w 20349121"/>
                <a:gd name="connsiteY65" fmla="*/ 4584688 h 6055371"/>
                <a:gd name="connsiteX66" fmla="*/ 1799539 w 20349121"/>
                <a:gd name="connsiteY66" fmla="*/ 5159119 h 6055371"/>
                <a:gd name="connsiteX67" fmla="*/ 1787816 w 20349121"/>
                <a:gd name="connsiteY67" fmla="*/ 5745273 h 6055371"/>
                <a:gd name="connsiteX68" fmla="*/ 1776093 w 20349121"/>
                <a:gd name="connsiteY68" fmla="*/ 5944565 h 6055371"/>
                <a:gd name="connsiteX69" fmla="*/ 1647139 w 20349121"/>
                <a:gd name="connsiteY69" fmla="*/ 5956288 h 6055371"/>
                <a:gd name="connsiteX70" fmla="*/ 709293 w 20349121"/>
                <a:gd name="connsiteY70" fmla="*/ 5932842 h 6055371"/>
                <a:gd name="connsiteX71" fmla="*/ 556893 w 20349121"/>
                <a:gd name="connsiteY71" fmla="*/ 5909396 h 6055371"/>
                <a:gd name="connsiteX72" fmla="*/ 474831 w 20349121"/>
                <a:gd name="connsiteY72" fmla="*/ 5803888 h 6055371"/>
                <a:gd name="connsiteX73" fmla="*/ 404493 w 20349121"/>
                <a:gd name="connsiteY73" fmla="*/ 5745273 h 6055371"/>
                <a:gd name="connsiteX74" fmla="*/ 263816 w 20349121"/>
                <a:gd name="connsiteY74" fmla="*/ 5581150 h 6055371"/>
                <a:gd name="connsiteX75" fmla="*/ 404493 w 20349121"/>
                <a:gd name="connsiteY75" fmla="*/ 5534257 h 6055371"/>
                <a:gd name="connsiteX76" fmla="*/ 334154 w 20349121"/>
                <a:gd name="connsiteY76" fmla="*/ 5428750 h 6055371"/>
                <a:gd name="connsiteX77" fmla="*/ 240370 w 20349121"/>
                <a:gd name="connsiteY77" fmla="*/ 5030165 h 6055371"/>
                <a:gd name="connsiteX78" fmla="*/ 205201 w 20349121"/>
                <a:gd name="connsiteY78" fmla="*/ 4983273 h 6055371"/>
                <a:gd name="connsiteX79" fmla="*/ 76247 w 20349121"/>
                <a:gd name="connsiteY79" fmla="*/ 4971550 h 6055371"/>
                <a:gd name="connsiteX80" fmla="*/ 52801 w 20349121"/>
                <a:gd name="connsiteY80" fmla="*/ 4842596 h 6055371"/>
                <a:gd name="connsiteX81" fmla="*/ 5908 w 20349121"/>
                <a:gd name="connsiteY81" fmla="*/ 4385396 h 6055371"/>
                <a:gd name="connsiteX82" fmla="*/ 17631 w 20349121"/>
                <a:gd name="connsiteY82" fmla="*/ 4315057 h 6055371"/>
                <a:gd name="connsiteX83" fmla="*/ 158308 w 20349121"/>
                <a:gd name="connsiteY83" fmla="*/ 4279888 h 6055371"/>
                <a:gd name="connsiteX84" fmla="*/ 240370 w 20349121"/>
                <a:gd name="connsiteY84" fmla="*/ 4150934 h 6055371"/>
                <a:gd name="connsiteX85" fmla="*/ 205201 w 20349121"/>
                <a:gd name="connsiteY85" fmla="*/ 3963365 h 6055371"/>
                <a:gd name="connsiteX86" fmla="*/ 193477 w 20349121"/>
                <a:gd name="connsiteY86" fmla="*/ 3623396 h 6055371"/>
                <a:gd name="connsiteX87" fmla="*/ 357601 w 20349121"/>
                <a:gd name="connsiteY87" fmla="*/ 3283427 h 6055371"/>
                <a:gd name="connsiteX88" fmla="*/ 1154770 w 20349121"/>
                <a:gd name="connsiteY88" fmla="*/ 2861396 h 6055371"/>
                <a:gd name="connsiteX89" fmla="*/ 2104339 w 20349121"/>
                <a:gd name="connsiteY89" fmla="*/ 2626934 h 6055371"/>
                <a:gd name="connsiteX90" fmla="*/ 3780739 w 20349121"/>
                <a:gd name="connsiteY90" fmla="*/ 2333857 h 6055371"/>
                <a:gd name="connsiteX91" fmla="*/ 5199231 w 20349121"/>
                <a:gd name="connsiteY91" fmla="*/ 2169734 h 6055371"/>
                <a:gd name="connsiteX92" fmla="*/ 5574370 w 20349121"/>
                <a:gd name="connsiteY92" fmla="*/ 2146288 h 6055371"/>
                <a:gd name="connsiteX93" fmla="*/ 5726770 w 20349121"/>
                <a:gd name="connsiteY93" fmla="*/ 2158011 h 6055371"/>
                <a:gd name="connsiteX94" fmla="*/ 5937785 w 20349121"/>
                <a:gd name="connsiteY94" fmla="*/ 2251796 h 6055371"/>
                <a:gd name="connsiteX95" fmla="*/ 5996401 w 20349121"/>
                <a:gd name="connsiteY95" fmla="*/ 2228350 h 605537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222677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8166"/>
                <a:gd name="connsiteY0" fmla="*/ 2228350 h 6050491"/>
                <a:gd name="connsiteX1" fmla="*/ 6899077 w 20348166"/>
                <a:gd name="connsiteY1" fmla="*/ 1700811 h 6050491"/>
                <a:gd name="connsiteX2" fmla="*/ 8212062 w 20348166"/>
                <a:gd name="connsiteY2" fmla="*/ 915365 h 6050491"/>
                <a:gd name="connsiteX3" fmla="*/ 9032677 w 20348166"/>
                <a:gd name="connsiteY3" fmla="*/ 528504 h 6050491"/>
                <a:gd name="connsiteX4" fmla="*/ 9079570 w 20348166"/>
                <a:gd name="connsiteY4" fmla="*/ 469888 h 6050491"/>
                <a:gd name="connsiteX5" fmla="*/ 9220247 w 20348166"/>
                <a:gd name="connsiteY5" fmla="*/ 411273 h 6050491"/>
                <a:gd name="connsiteX6" fmla="*/ 10005693 w 20348166"/>
                <a:gd name="connsiteY6" fmla="*/ 188534 h 6050491"/>
                <a:gd name="connsiteX7" fmla="*/ 11365570 w 20348166"/>
                <a:gd name="connsiteY7" fmla="*/ 47857 h 6050491"/>
                <a:gd name="connsiteX8" fmla="*/ 12948185 w 20348166"/>
                <a:gd name="connsiteY8" fmla="*/ 965 h 6050491"/>
                <a:gd name="connsiteX9" fmla="*/ 14565970 w 20348166"/>
                <a:gd name="connsiteY9" fmla="*/ 83027 h 6050491"/>
                <a:gd name="connsiteX10" fmla="*/ 16054801 w 20348166"/>
                <a:gd name="connsiteY10" fmla="*/ 165088 h 6050491"/>
                <a:gd name="connsiteX11" fmla="*/ 17496739 w 20348166"/>
                <a:gd name="connsiteY11" fmla="*/ 364381 h 6050491"/>
                <a:gd name="connsiteX12" fmla="*/ 18012554 w 20348166"/>
                <a:gd name="connsiteY12" fmla="*/ 481611 h 6050491"/>
                <a:gd name="connsiteX13" fmla="*/ 18352524 w 20348166"/>
                <a:gd name="connsiteY13" fmla="*/ 528504 h 6050491"/>
                <a:gd name="connsiteX14" fmla="*/ 18434585 w 20348166"/>
                <a:gd name="connsiteY14" fmla="*/ 575396 h 6050491"/>
                <a:gd name="connsiteX15" fmla="*/ 18469754 w 20348166"/>
                <a:gd name="connsiteY15" fmla="*/ 634011 h 6050491"/>
                <a:gd name="connsiteX16" fmla="*/ 18903508 w 20348166"/>
                <a:gd name="connsiteY16" fmla="*/ 1091211 h 6050491"/>
                <a:gd name="connsiteX17" fmla="*/ 19560001 w 20348166"/>
                <a:gd name="connsiteY17" fmla="*/ 1853211 h 6050491"/>
                <a:gd name="connsiteX18" fmla="*/ 19665508 w 20348166"/>
                <a:gd name="connsiteY18" fmla="*/ 1993888 h 6050491"/>
                <a:gd name="connsiteX19" fmla="*/ 19864801 w 20348166"/>
                <a:gd name="connsiteY19" fmla="*/ 2099396 h 6050491"/>
                <a:gd name="connsiteX20" fmla="*/ 19946862 w 20348166"/>
                <a:gd name="connsiteY20" fmla="*/ 2228350 h 6050491"/>
                <a:gd name="connsiteX21" fmla="*/ 19911693 w 20348166"/>
                <a:gd name="connsiteY21" fmla="*/ 2415919 h 6050491"/>
                <a:gd name="connsiteX22" fmla="*/ 19923417 w 20348166"/>
                <a:gd name="connsiteY22" fmla="*/ 2779335 h 6050491"/>
                <a:gd name="connsiteX23" fmla="*/ 19888247 w 20348166"/>
                <a:gd name="connsiteY23" fmla="*/ 3060688 h 6050491"/>
                <a:gd name="connsiteX24" fmla="*/ 19993754 w 20348166"/>
                <a:gd name="connsiteY24" fmla="*/ 3271704 h 6050491"/>
                <a:gd name="connsiteX25" fmla="*/ 19982031 w 20348166"/>
                <a:gd name="connsiteY25" fmla="*/ 3447550 h 6050491"/>
                <a:gd name="connsiteX26" fmla="*/ 19935139 w 20348166"/>
                <a:gd name="connsiteY26" fmla="*/ 3635119 h 6050491"/>
                <a:gd name="connsiteX27" fmla="*/ 20134431 w 20348166"/>
                <a:gd name="connsiteY27" fmla="*/ 3705457 h 6050491"/>
                <a:gd name="connsiteX28" fmla="*/ 20275108 w 20348166"/>
                <a:gd name="connsiteY28" fmla="*/ 3752350 h 6050491"/>
                <a:gd name="connsiteX29" fmla="*/ 20345447 w 20348166"/>
                <a:gd name="connsiteY29" fmla="*/ 3846134 h 6050491"/>
                <a:gd name="connsiteX30" fmla="*/ 20333724 w 20348166"/>
                <a:gd name="connsiteY30" fmla="*/ 4010257 h 6050491"/>
                <a:gd name="connsiteX31" fmla="*/ 20333725 w 20348166"/>
                <a:gd name="connsiteY31" fmla="*/ 4209550 h 6050491"/>
                <a:gd name="connsiteX32" fmla="*/ 20275108 w 20348166"/>
                <a:gd name="connsiteY32" fmla="*/ 4397119 h 6050491"/>
                <a:gd name="connsiteX33" fmla="*/ 20169601 w 20348166"/>
                <a:gd name="connsiteY33" fmla="*/ 4432288 h 6050491"/>
                <a:gd name="connsiteX34" fmla="*/ 20087539 w 20348166"/>
                <a:gd name="connsiteY34" fmla="*/ 4748811 h 6050491"/>
                <a:gd name="connsiteX35" fmla="*/ 20064093 w 20348166"/>
                <a:gd name="connsiteY35" fmla="*/ 5182565 h 6050491"/>
                <a:gd name="connsiteX36" fmla="*/ 20157877 w 20348166"/>
                <a:gd name="connsiteY36" fmla="*/ 5475642 h 6050491"/>
                <a:gd name="connsiteX37" fmla="*/ 20052370 w 20348166"/>
                <a:gd name="connsiteY37" fmla="*/ 5510811 h 6050491"/>
                <a:gd name="connsiteX38" fmla="*/ 19548277 w 20348166"/>
                <a:gd name="connsiteY38" fmla="*/ 5534257 h 6050491"/>
                <a:gd name="connsiteX39" fmla="*/ 19454493 w 20348166"/>
                <a:gd name="connsiteY39" fmla="*/ 5756996 h 6050491"/>
                <a:gd name="connsiteX40" fmla="*/ 19290370 w 20348166"/>
                <a:gd name="connsiteY40" fmla="*/ 5780442 h 6050491"/>
                <a:gd name="connsiteX41" fmla="*/ 18223570 w 20348166"/>
                <a:gd name="connsiteY41" fmla="*/ 5768719 h 6050491"/>
                <a:gd name="connsiteX42" fmla="*/ 18223570 w 20348166"/>
                <a:gd name="connsiteY42" fmla="*/ 5581150 h 6050491"/>
                <a:gd name="connsiteX43" fmla="*/ 17989108 w 20348166"/>
                <a:gd name="connsiteY43" fmla="*/ 4725365 h 6050491"/>
                <a:gd name="connsiteX44" fmla="*/ 17602247 w 20348166"/>
                <a:gd name="connsiteY44" fmla="*/ 4162657 h 6050491"/>
                <a:gd name="connsiteX45" fmla="*/ 17145047 w 20348166"/>
                <a:gd name="connsiteY45" fmla="*/ 3857857 h 6050491"/>
                <a:gd name="connsiteX46" fmla="*/ 16429939 w 20348166"/>
                <a:gd name="connsiteY46" fmla="*/ 3682011 h 6050491"/>
                <a:gd name="connsiteX47" fmla="*/ 15902401 w 20348166"/>
                <a:gd name="connsiteY47" fmla="*/ 3728904 h 6050491"/>
                <a:gd name="connsiteX48" fmla="*/ 15386585 w 20348166"/>
                <a:gd name="connsiteY48" fmla="*/ 3951642 h 6050491"/>
                <a:gd name="connsiteX49" fmla="*/ 14964554 w 20348166"/>
                <a:gd name="connsiteY49" fmla="*/ 4397119 h 6050491"/>
                <a:gd name="connsiteX50" fmla="*/ 14636308 w 20348166"/>
                <a:gd name="connsiteY50" fmla="*/ 4912934 h 6050491"/>
                <a:gd name="connsiteX51" fmla="*/ 14542524 w 20348166"/>
                <a:gd name="connsiteY51" fmla="*/ 5393581 h 6050491"/>
                <a:gd name="connsiteX52" fmla="*/ 14542524 w 20348166"/>
                <a:gd name="connsiteY52" fmla="*/ 5768719 h 6050491"/>
                <a:gd name="connsiteX53" fmla="*/ 14554247 w 20348166"/>
                <a:gd name="connsiteY53" fmla="*/ 5991457 h 6050491"/>
                <a:gd name="connsiteX54" fmla="*/ 14472185 w 20348166"/>
                <a:gd name="connsiteY54" fmla="*/ 6014904 h 6050491"/>
                <a:gd name="connsiteX55" fmla="*/ 14073601 w 20348166"/>
                <a:gd name="connsiteY55" fmla="*/ 6014904 h 6050491"/>
                <a:gd name="connsiteX56" fmla="*/ 11693816 w 20348166"/>
                <a:gd name="connsiteY56" fmla="*/ 6038350 h 6050491"/>
                <a:gd name="connsiteX57" fmla="*/ 7121816 w 20348166"/>
                <a:gd name="connsiteY57" fmla="*/ 6038350 h 6050491"/>
                <a:gd name="connsiteX58" fmla="*/ 5328185 w 20348166"/>
                <a:gd name="connsiteY58" fmla="*/ 6003181 h 6050491"/>
                <a:gd name="connsiteX59" fmla="*/ 5351631 w 20348166"/>
                <a:gd name="connsiteY59" fmla="*/ 5604596 h 6050491"/>
                <a:gd name="connsiteX60" fmla="*/ 5187508 w 20348166"/>
                <a:gd name="connsiteY60" fmla="*/ 4678473 h 6050491"/>
                <a:gd name="connsiteX61" fmla="*/ 4613077 w 20348166"/>
                <a:gd name="connsiteY61" fmla="*/ 3939920 h 6050491"/>
                <a:gd name="connsiteX62" fmla="*/ 3804185 w 20348166"/>
                <a:gd name="connsiteY62" fmla="*/ 3635119 h 6050491"/>
                <a:gd name="connsiteX63" fmla="*/ 3077355 w 20348166"/>
                <a:gd name="connsiteY63" fmla="*/ 3693734 h 6050491"/>
                <a:gd name="connsiteX64" fmla="*/ 2479477 w 20348166"/>
                <a:gd name="connsiteY64" fmla="*/ 3998534 h 6050491"/>
                <a:gd name="connsiteX65" fmla="*/ 1987108 w 20348166"/>
                <a:gd name="connsiteY65" fmla="*/ 4584688 h 6050491"/>
                <a:gd name="connsiteX66" fmla="*/ 1799539 w 20348166"/>
                <a:gd name="connsiteY66" fmla="*/ 5159119 h 6050491"/>
                <a:gd name="connsiteX67" fmla="*/ 1787816 w 20348166"/>
                <a:gd name="connsiteY67" fmla="*/ 5745273 h 6050491"/>
                <a:gd name="connsiteX68" fmla="*/ 1776093 w 20348166"/>
                <a:gd name="connsiteY68" fmla="*/ 5944565 h 6050491"/>
                <a:gd name="connsiteX69" fmla="*/ 1647139 w 20348166"/>
                <a:gd name="connsiteY69" fmla="*/ 5956288 h 6050491"/>
                <a:gd name="connsiteX70" fmla="*/ 709293 w 20348166"/>
                <a:gd name="connsiteY70" fmla="*/ 5932842 h 6050491"/>
                <a:gd name="connsiteX71" fmla="*/ 556893 w 20348166"/>
                <a:gd name="connsiteY71" fmla="*/ 5909396 h 6050491"/>
                <a:gd name="connsiteX72" fmla="*/ 474831 w 20348166"/>
                <a:gd name="connsiteY72" fmla="*/ 5803888 h 6050491"/>
                <a:gd name="connsiteX73" fmla="*/ 404493 w 20348166"/>
                <a:gd name="connsiteY73" fmla="*/ 5745273 h 6050491"/>
                <a:gd name="connsiteX74" fmla="*/ 263816 w 20348166"/>
                <a:gd name="connsiteY74" fmla="*/ 5581150 h 6050491"/>
                <a:gd name="connsiteX75" fmla="*/ 404493 w 20348166"/>
                <a:gd name="connsiteY75" fmla="*/ 5534257 h 6050491"/>
                <a:gd name="connsiteX76" fmla="*/ 334154 w 20348166"/>
                <a:gd name="connsiteY76" fmla="*/ 5428750 h 6050491"/>
                <a:gd name="connsiteX77" fmla="*/ 240370 w 20348166"/>
                <a:gd name="connsiteY77" fmla="*/ 5030165 h 6050491"/>
                <a:gd name="connsiteX78" fmla="*/ 205201 w 20348166"/>
                <a:gd name="connsiteY78" fmla="*/ 4983273 h 6050491"/>
                <a:gd name="connsiteX79" fmla="*/ 76247 w 20348166"/>
                <a:gd name="connsiteY79" fmla="*/ 4971550 h 6050491"/>
                <a:gd name="connsiteX80" fmla="*/ 52801 w 20348166"/>
                <a:gd name="connsiteY80" fmla="*/ 4842596 h 6050491"/>
                <a:gd name="connsiteX81" fmla="*/ 5908 w 20348166"/>
                <a:gd name="connsiteY81" fmla="*/ 4385396 h 6050491"/>
                <a:gd name="connsiteX82" fmla="*/ 17631 w 20348166"/>
                <a:gd name="connsiteY82" fmla="*/ 4315057 h 6050491"/>
                <a:gd name="connsiteX83" fmla="*/ 158308 w 20348166"/>
                <a:gd name="connsiteY83" fmla="*/ 4279888 h 6050491"/>
                <a:gd name="connsiteX84" fmla="*/ 240370 w 20348166"/>
                <a:gd name="connsiteY84" fmla="*/ 4150934 h 6050491"/>
                <a:gd name="connsiteX85" fmla="*/ 205201 w 20348166"/>
                <a:gd name="connsiteY85" fmla="*/ 3963365 h 6050491"/>
                <a:gd name="connsiteX86" fmla="*/ 193477 w 20348166"/>
                <a:gd name="connsiteY86" fmla="*/ 3623396 h 6050491"/>
                <a:gd name="connsiteX87" fmla="*/ 357601 w 20348166"/>
                <a:gd name="connsiteY87" fmla="*/ 3283427 h 6050491"/>
                <a:gd name="connsiteX88" fmla="*/ 1154770 w 20348166"/>
                <a:gd name="connsiteY88" fmla="*/ 2861396 h 6050491"/>
                <a:gd name="connsiteX89" fmla="*/ 2104339 w 20348166"/>
                <a:gd name="connsiteY89" fmla="*/ 2626934 h 6050491"/>
                <a:gd name="connsiteX90" fmla="*/ 3780739 w 20348166"/>
                <a:gd name="connsiteY90" fmla="*/ 2333857 h 6050491"/>
                <a:gd name="connsiteX91" fmla="*/ 5199231 w 20348166"/>
                <a:gd name="connsiteY91" fmla="*/ 2169734 h 6050491"/>
                <a:gd name="connsiteX92" fmla="*/ 5574370 w 20348166"/>
                <a:gd name="connsiteY92" fmla="*/ 2146288 h 6050491"/>
                <a:gd name="connsiteX93" fmla="*/ 5726770 w 20348166"/>
                <a:gd name="connsiteY93" fmla="*/ 2158011 h 6050491"/>
                <a:gd name="connsiteX94" fmla="*/ 5937785 w 20348166"/>
                <a:gd name="connsiteY94" fmla="*/ 2251796 h 6050491"/>
                <a:gd name="connsiteX95" fmla="*/ 5996401 w 20348166"/>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12554 w 20358094"/>
                <a:gd name="connsiteY12" fmla="*/ 481611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36001 w 20358094"/>
                <a:gd name="connsiteY12" fmla="*/ 469888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49690"/>
                <a:gd name="connsiteX1" fmla="*/ 6899077 w 20358094"/>
                <a:gd name="connsiteY1" fmla="*/ 1700811 h 6049690"/>
                <a:gd name="connsiteX2" fmla="*/ 8212062 w 20358094"/>
                <a:gd name="connsiteY2" fmla="*/ 915365 h 6049690"/>
                <a:gd name="connsiteX3" fmla="*/ 9032677 w 20358094"/>
                <a:gd name="connsiteY3" fmla="*/ 528504 h 6049690"/>
                <a:gd name="connsiteX4" fmla="*/ 9079570 w 20358094"/>
                <a:gd name="connsiteY4" fmla="*/ 469888 h 6049690"/>
                <a:gd name="connsiteX5" fmla="*/ 9220247 w 20358094"/>
                <a:gd name="connsiteY5" fmla="*/ 411273 h 6049690"/>
                <a:gd name="connsiteX6" fmla="*/ 10005693 w 20358094"/>
                <a:gd name="connsiteY6" fmla="*/ 188534 h 6049690"/>
                <a:gd name="connsiteX7" fmla="*/ 11365570 w 20358094"/>
                <a:gd name="connsiteY7" fmla="*/ 47857 h 6049690"/>
                <a:gd name="connsiteX8" fmla="*/ 12948185 w 20358094"/>
                <a:gd name="connsiteY8" fmla="*/ 965 h 6049690"/>
                <a:gd name="connsiteX9" fmla="*/ 14565970 w 20358094"/>
                <a:gd name="connsiteY9" fmla="*/ 83027 h 6049690"/>
                <a:gd name="connsiteX10" fmla="*/ 16054801 w 20358094"/>
                <a:gd name="connsiteY10" fmla="*/ 165088 h 6049690"/>
                <a:gd name="connsiteX11" fmla="*/ 17496739 w 20358094"/>
                <a:gd name="connsiteY11" fmla="*/ 364381 h 6049690"/>
                <a:gd name="connsiteX12" fmla="*/ 18036001 w 20358094"/>
                <a:gd name="connsiteY12" fmla="*/ 469888 h 6049690"/>
                <a:gd name="connsiteX13" fmla="*/ 18352524 w 20358094"/>
                <a:gd name="connsiteY13" fmla="*/ 528504 h 6049690"/>
                <a:gd name="connsiteX14" fmla="*/ 18434585 w 20358094"/>
                <a:gd name="connsiteY14" fmla="*/ 575396 h 6049690"/>
                <a:gd name="connsiteX15" fmla="*/ 18469754 w 20358094"/>
                <a:gd name="connsiteY15" fmla="*/ 634011 h 6049690"/>
                <a:gd name="connsiteX16" fmla="*/ 18903508 w 20358094"/>
                <a:gd name="connsiteY16" fmla="*/ 1091211 h 6049690"/>
                <a:gd name="connsiteX17" fmla="*/ 19560001 w 20358094"/>
                <a:gd name="connsiteY17" fmla="*/ 1853211 h 6049690"/>
                <a:gd name="connsiteX18" fmla="*/ 19665508 w 20358094"/>
                <a:gd name="connsiteY18" fmla="*/ 1993888 h 6049690"/>
                <a:gd name="connsiteX19" fmla="*/ 19864801 w 20358094"/>
                <a:gd name="connsiteY19" fmla="*/ 2099396 h 6049690"/>
                <a:gd name="connsiteX20" fmla="*/ 19946862 w 20358094"/>
                <a:gd name="connsiteY20" fmla="*/ 2228350 h 6049690"/>
                <a:gd name="connsiteX21" fmla="*/ 19911693 w 20358094"/>
                <a:gd name="connsiteY21" fmla="*/ 2415919 h 6049690"/>
                <a:gd name="connsiteX22" fmla="*/ 19923417 w 20358094"/>
                <a:gd name="connsiteY22" fmla="*/ 2779335 h 6049690"/>
                <a:gd name="connsiteX23" fmla="*/ 19888247 w 20358094"/>
                <a:gd name="connsiteY23" fmla="*/ 3060688 h 6049690"/>
                <a:gd name="connsiteX24" fmla="*/ 19993754 w 20358094"/>
                <a:gd name="connsiteY24" fmla="*/ 3271704 h 6049690"/>
                <a:gd name="connsiteX25" fmla="*/ 19982031 w 20358094"/>
                <a:gd name="connsiteY25" fmla="*/ 3447550 h 6049690"/>
                <a:gd name="connsiteX26" fmla="*/ 19935139 w 20358094"/>
                <a:gd name="connsiteY26" fmla="*/ 3635119 h 6049690"/>
                <a:gd name="connsiteX27" fmla="*/ 20134431 w 20358094"/>
                <a:gd name="connsiteY27" fmla="*/ 3705457 h 6049690"/>
                <a:gd name="connsiteX28" fmla="*/ 20275108 w 20358094"/>
                <a:gd name="connsiteY28" fmla="*/ 3752350 h 6049690"/>
                <a:gd name="connsiteX29" fmla="*/ 20345447 w 20358094"/>
                <a:gd name="connsiteY29" fmla="*/ 3846134 h 6049690"/>
                <a:gd name="connsiteX30" fmla="*/ 20357170 w 20358094"/>
                <a:gd name="connsiteY30" fmla="*/ 4010257 h 6049690"/>
                <a:gd name="connsiteX31" fmla="*/ 20333725 w 20358094"/>
                <a:gd name="connsiteY31" fmla="*/ 4209550 h 6049690"/>
                <a:gd name="connsiteX32" fmla="*/ 20275108 w 20358094"/>
                <a:gd name="connsiteY32" fmla="*/ 4397119 h 6049690"/>
                <a:gd name="connsiteX33" fmla="*/ 20169601 w 20358094"/>
                <a:gd name="connsiteY33" fmla="*/ 4432288 h 6049690"/>
                <a:gd name="connsiteX34" fmla="*/ 20087539 w 20358094"/>
                <a:gd name="connsiteY34" fmla="*/ 4748811 h 6049690"/>
                <a:gd name="connsiteX35" fmla="*/ 20064093 w 20358094"/>
                <a:gd name="connsiteY35" fmla="*/ 5182565 h 6049690"/>
                <a:gd name="connsiteX36" fmla="*/ 20157877 w 20358094"/>
                <a:gd name="connsiteY36" fmla="*/ 5475642 h 6049690"/>
                <a:gd name="connsiteX37" fmla="*/ 20052370 w 20358094"/>
                <a:gd name="connsiteY37" fmla="*/ 5510811 h 6049690"/>
                <a:gd name="connsiteX38" fmla="*/ 19548277 w 20358094"/>
                <a:gd name="connsiteY38" fmla="*/ 5534257 h 6049690"/>
                <a:gd name="connsiteX39" fmla="*/ 19454493 w 20358094"/>
                <a:gd name="connsiteY39" fmla="*/ 5756996 h 6049690"/>
                <a:gd name="connsiteX40" fmla="*/ 19290370 w 20358094"/>
                <a:gd name="connsiteY40" fmla="*/ 5780442 h 6049690"/>
                <a:gd name="connsiteX41" fmla="*/ 18223570 w 20358094"/>
                <a:gd name="connsiteY41" fmla="*/ 5768719 h 6049690"/>
                <a:gd name="connsiteX42" fmla="*/ 18223570 w 20358094"/>
                <a:gd name="connsiteY42" fmla="*/ 5581150 h 6049690"/>
                <a:gd name="connsiteX43" fmla="*/ 17989108 w 20358094"/>
                <a:gd name="connsiteY43" fmla="*/ 4725365 h 6049690"/>
                <a:gd name="connsiteX44" fmla="*/ 17602247 w 20358094"/>
                <a:gd name="connsiteY44" fmla="*/ 4162657 h 6049690"/>
                <a:gd name="connsiteX45" fmla="*/ 17145047 w 20358094"/>
                <a:gd name="connsiteY45" fmla="*/ 3857857 h 6049690"/>
                <a:gd name="connsiteX46" fmla="*/ 16429939 w 20358094"/>
                <a:gd name="connsiteY46" fmla="*/ 3682011 h 6049690"/>
                <a:gd name="connsiteX47" fmla="*/ 15902401 w 20358094"/>
                <a:gd name="connsiteY47" fmla="*/ 3728904 h 6049690"/>
                <a:gd name="connsiteX48" fmla="*/ 15386585 w 20358094"/>
                <a:gd name="connsiteY48" fmla="*/ 3951642 h 6049690"/>
                <a:gd name="connsiteX49" fmla="*/ 14964554 w 20358094"/>
                <a:gd name="connsiteY49" fmla="*/ 4397119 h 6049690"/>
                <a:gd name="connsiteX50" fmla="*/ 14636308 w 20358094"/>
                <a:gd name="connsiteY50" fmla="*/ 4912934 h 6049690"/>
                <a:gd name="connsiteX51" fmla="*/ 14542524 w 20358094"/>
                <a:gd name="connsiteY51" fmla="*/ 5393581 h 6049690"/>
                <a:gd name="connsiteX52" fmla="*/ 14542524 w 20358094"/>
                <a:gd name="connsiteY52" fmla="*/ 5768719 h 6049690"/>
                <a:gd name="connsiteX53" fmla="*/ 14554247 w 20358094"/>
                <a:gd name="connsiteY53" fmla="*/ 5991457 h 6049690"/>
                <a:gd name="connsiteX54" fmla="*/ 14472185 w 20358094"/>
                <a:gd name="connsiteY54" fmla="*/ 6014904 h 6049690"/>
                <a:gd name="connsiteX55" fmla="*/ 14073601 w 20358094"/>
                <a:gd name="connsiteY55" fmla="*/ 6014904 h 6049690"/>
                <a:gd name="connsiteX56" fmla="*/ 11693816 w 20358094"/>
                <a:gd name="connsiteY56" fmla="*/ 6038350 h 6049690"/>
                <a:gd name="connsiteX57" fmla="*/ 7121816 w 20358094"/>
                <a:gd name="connsiteY57" fmla="*/ 6038350 h 6049690"/>
                <a:gd name="connsiteX58" fmla="*/ 5328185 w 20358094"/>
                <a:gd name="connsiteY58" fmla="*/ 6003181 h 6049690"/>
                <a:gd name="connsiteX59" fmla="*/ 5375077 w 20358094"/>
                <a:gd name="connsiteY59" fmla="*/ 5545980 h 6049690"/>
                <a:gd name="connsiteX60" fmla="*/ 5187508 w 20358094"/>
                <a:gd name="connsiteY60" fmla="*/ 4678473 h 6049690"/>
                <a:gd name="connsiteX61" fmla="*/ 4613077 w 20358094"/>
                <a:gd name="connsiteY61" fmla="*/ 3939920 h 6049690"/>
                <a:gd name="connsiteX62" fmla="*/ 3804185 w 20358094"/>
                <a:gd name="connsiteY62" fmla="*/ 3635119 h 6049690"/>
                <a:gd name="connsiteX63" fmla="*/ 3077355 w 20358094"/>
                <a:gd name="connsiteY63" fmla="*/ 3693734 h 6049690"/>
                <a:gd name="connsiteX64" fmla="*/ 2479477 w 20358094"/>
                <a:gd name="connsiteY64" fmla="*/ 3998534 h 6049690"/>
                <a:gd name="connsiteX65" fmla="*/ 1987108 w 20358094"/>
                <a:gd name="connsiteY65" fmla="*/ 4584688 h 6049690"/>
                <a:gd name="connsiteX66" fmla="*/ 1799539 w 20358094"/>
                <a:gd name="connsiteY66" fmla="*/ 5159119 h 6049690"/>
                <a:gd name="connsiteX67" fmla="*/ 1787816 w 20358094"/>
                <a:gd name="connsiteY67" fmla="*/ 5745273 h 6049690"/>
                <a:gd name="connsiteX68" fmla="*/ 1776093 w 20358094"/>
                <a:gd name="connsiteY68" fmla="*/ 5944565 h 6049690"/>
                <a:gd name="connsiteX69" fmla="*/ 1647139 w 20358094"/>
                <a:gd name="connsiteY69" fmla="*/ 5956288 h 6049690"/>
                <a:gd name="connsiteX70" fmla="*/ 709293 w 20358094"/>
                <a:gd name="connsiteY70" fmla="*/ 5932842 h 6049690"/>
                <a:gd name="connsiteX71" fmla="*/ 556893 w 20358094"/>
                <a:gd name="connsiteY71" fmla="*/ 5909396 h 6049690"/>
                <a:gd name="connsiteX72" fmla="*/ 474831 w 20358094"/>
                <a:gd name="connsiteY72" fmla="*/ 5803888 h 6049690"/>
                <a:gd name="connsiteX73" fmla="*/ 404493 w 20358094"/>
                <a:gd name="connsiteY73" fmla="*/ 5745273 h 6049690"/>
                <a:gd name="connsiteX74" fmla="*/ 263816 w 20358094"/>
                <a:gd name="connsiteY74" fmla="*/ 5581150 h 6049690"/>
                <a:gd name="connsiteX75" fmla="*/ 404493 w 20358094"/>
                <a:gd name="connsiteY75" fmla="*/ 5534257 h 6049690"/>
                <a:gd name="connsiteX76" fmla="*/ 334154 w 20358094"/>
                <a:gd name="connsiteY76" fmla="*/ 5428750 h 6049690"/>
                <a:gd name="connsiteX77" fmla="*/ 240370 w 20358094"/>
                <a:gd name="connsiteY77" fmla="*/ 5030165 h 6049690"/>
                <a:gd name="connsiteX78" fmla="*/ 205201 w 20358094"/>
                <a:gd name="connsiteY78" fmla="*/ 4983273 h 6049690"/>
                <a:gd name="connsiteX79" fmla="*/ 76247 w 20358094"/>
                <a:gd name="connsiteY79" fmla="*/ 4971550 h 6049690"/>
                <a:gd name="connsiteX80" fmla="*/ 52801 w 20358094"/>
                <a:gd name="connsiteY80" fmla="*/ 4842596 h 6049690"/>
                <a:gd name="connsiteX81" fmla="*/ 5908 w 20358094"/>
                <a:gd name="connsiteY81" fmla="*/ 4385396 h 6049690"/>
                <a:gd name="connsiteX82" fmla="*/ 17631 w 20358094"/>
                <a:gd name="connsiteY82" fmla="*/ 4315057 h 6049690"/>
                <a:gd name="connsiteX83" fmla="*/ 158308 w 20358094"/>
                <a:gd name="connsiteY83" fmla="*/ 4279888 h 6049690"/>
                <a:gd name="connsiteX84" fmla="*/ 240370 w 20358094"/>
                <a:gd name="connsiteY84" fmla="*/ 4150934 h 6049690"/>
                <a:gd name="connsiteX85" fmla="*/ 205201 w 20358094"/>
                <a:gd name="connsiteY85" fmla="*/ 3963365 h 6049690"/>
                <a:gd name="connsiteX86" fmla="*/ 193477 w 20358094"/>
                <a:gd name="connsiteY86" fmla="*/ 3623396 h 6049690"/>
                <a:gd name="connsiteX87" fmla="*/ 357601 w 20358094"/>
                <a:gd name="connsiteY87" fmla="*/ 3283427 h 6049690"/>
                <a:gd name="connsiteX88" fmla="*/ 1154770 w 20358094"/>
                <a:gd name="connsiteY88" fmla="*/ 2861396 h 6049690"/>
                <a:gd name="connsiteX89" fmla="*/ 2104339 w 20358094"/>
                <a:gd name="connsiteY89" fmla="*/ 2626934 h 6049690"/>
                <a:gd name="connsiteX90" fmla="*/ 3780739 w 20358094"/>
                <a:gd name="connsiteY90" fmla="*/ 2333857 h 6049690"/>
                <a:gd name="connsiteX91" fmla="*/ 5199231 w 20358094"/>
                <a:gd name="connsiteY91" fmla="*/ 2169734 h 6049690"/>
                <a:gd name="connsiteX92" fmla="*/ 5574370 w 20358094"/>
                <a:gd name="connsiteY92" fmla="*/ 2146288 h 6049690"/>
                <a:gd name="connsiteX93" fmla="*/ 5726770 w 20358094"/>
                <a:gd name="connsiteY93" fmla="*/ 2158011 h 6049690"/>
                <a:gd name="connsiteX94" fmla="*/ 5937785 w 20358094"/>
                <a:gd name="connsiteY94" fmla="*/ 2251796 h 6049690"/>
                <a:gd name="connsiteX95" fmla="*/ 5996401 w 20358094"/>
                <a:gd name="connsiteY95" fmla="*/ 2228350 h 6049690"/>
                <a:gd name="connsiteX0" fmla="*/ 5996401 w 20358094"/>
                <a:gd name="connsiteY0" fmla="*/ 2228350 h 6054551"/>
                <a:gd name="connsiteX1" fmla="*/ 6899077 w 20358094"/>
                <a:gd name="connsiteY1" fmla="*/ 1700811 h 6054551"/>
                <a:gd name="connsiteX2" fmla="*/ 8212062 w 20358094"/>
                <a:gd name="connsiteY2" fmla="*/ 915365 h 6054551"/>
                <a:gd name="connsiteX3" fmla="*/ 9032677 w 20358094"/>
                <a:gd name="connsiteY3" fmla="*/ 528504 h 6054551"/>
                <a:gd name="connsiteX4" fmla="*/ 9079570 w 20358094"/>
                <a:gd name="connsiteY4" fmla="*/ 469888 h 6054551"/>
                <a:gd name="connsiteX5" fmla="*/ 9220247 w 20358094"/>
                <a:gd name="connsiteY5" fmla="*/ 411273 h 6054551"/>
                <a:gd name="connsiteX6" fmla="*/ 10005693 w 20358094"/>
                <a:gd name="connsiteY6" fmla="*/ 188534 h 6054551"/>
                <a:gd name="connsiteX7" fmla="*/ 11365570 w 20358094"/>
                <a:gd name="connsiteY7" fmla="*/ 47857 h 6054551"/>
                <a:gd name="connsiteX8" fmla="*/ 12948185 w 20358094"/>
                <a:gd name="connsiteY8" fmla="*/ 965 h 6054551"/>
                <a:gd name="connsiteX9" fmla="*/ 14565970 w 20358094"/>
                <a:gd name="connsiteY9" fmla="*/ 83027 h 6054551"/>
                <a:gd name="connsiteX10" fmla="*/ 16054801 w 20358094"/>
                <a:gd name="connsiteY10" fmla="*/ 165088 h 6054551"/>
                <a:gd name="connsiteX11" fmla="*/ 17496739 w 20358094"/>
                <a:gd name="connsiteY11" fmla="*/ 364381 h 6054551"/>
                <a:gd name="connsiteX12" fmla="*/ 18036001 w 20358094"/>
                <a:gd name="connsiteY12" fmla="*/ 469888 h 6054551"/>
                <a:gd name="connsiteX13" fmla="*/ 18352524 w 20358094"/>
                <a:gd name="connsiteY13" fmla="*/ 528504 h 6054551"/>
                <a:gd name="connsiteX14" fmla="*/ 18434585 w 20358094"/>
                <a:gd name="connsiteY14" fmla="*/ 575396 h 6054551"/>
                <a:gd name="connsiteX15" fmla="*/ 18469754 w 20358094"/>
                <a:gd name="connsiteY15" fmla="*/ 634011 h 6054551"/>
                <a:gd name="connsiteX16" fmla="*/ 18903508 w 20358094"/>
                <a:gd name="connsiteY16" fmla="*/ 1091211 h 6054551"/>
                <a:gd name="connsiteX17" fmla="*/ 19560001 w 20358094"/>
                <a:gd name="connsiteY17" fmla="*/ 1853211 h 6054551"/>
                <a:gd name="connsiteX18" fmla="*/ 19665508 w 20358094"/>
                <a:gd name="connsiteY18" fmla="*/ 1993888 h 6054551"/>
                <a:gd name="connsiteX19" fmla="*/ 19864801 w 20358094"/>
                <a:gd name="connsiteY19" fmla="*/ 2099396 h 6054551"/>
                <a:gd name="connsiteX20" fmla="*/ 19946862 w 20358094"/>
                <a:gd name="connsiteY20" fmla="*/ 2228350 h 6054551"/>
                <a:gd name="connsiteX21" fmla="*/ 19911693 w 20358094"/>
                <a:gd name="connsiteY21" fmla="*/ 2415919 h 6054551"/>
                <a:gd name="connsiteX22" fmla="*/ 19923417 w 20358094"/>
                <a:gd name="connsiteY22" fmla="*/ 2779335 h 6054551"/>
                <a:gd name="connsiteX23" fmla="*/ 19888247 w 20358094"/>
                <a:gd name="connsiteY23" fmla="*/ 3060688 h 6054551"/>
                <a:gd name="connsiteX24" fmla="*/ 19993754 w 20358094"/>
                <a:gd name="connsiteY24" fmla="*/ 3271704 h 6054551"/>
                <a:gd name="connsiteX25" fmla="*/ 19982031 w 20358094"/>
                <a:gd name="connsiteY25" fmla="*/ 3447550 h 6054551"/>
                <a:gd name="connsiteX26" fmla="*/ 19935139 w 20358094"/>
                <a:gd name="connsiteY26" fmla="*/ 3635119 h 6054551"/>
                <a:gd name="connsiteX27" fmla="*/ 20134431 w 20358094"/>
                <a:gd name="connsiteY27" fmla="*/ 3705457 h 6054551"/>
                <a:gd name="connsiteX28" fmla="*/ 20275108 w 20358094"/>
                <a:gd name="connsiteY28" fmla="*/ 3752350 h 6054551"/>
                <a:gd name="connsiteX29" fmla="*/ 20345447 w 20358094"/>
                <a:gd name="connsiteY29" fmla="*/ 3846134 h 6054551"/>
                <a:gd name="connsiteX30" fmla="*/ 20357170 w 20358094"/>
                <a:gd name="connsiteY30" fmla="*/ 4010257 h 6054551"/>
                <a:gd name="connsiteX31" fmla="*/ 20333725 w 20358094"/>
                <a:gd name="connsiteY31" fmla="*/ 4209550 h 6054551"/>
                <a:gd name="connsiteX32" fmla="*/ 20275108 w 20358094"/>
                <a:gd name="connsiteY32" fmla="*/ 4397119 h 6054551"/>
                <a:gd name="connsiteX33" fmla="*/ 20169601 w 20358094"/>
                <a:gd name="connsiteY33" fmla="*/ 4432288 h 6054551"/>
                <a:gd name="connsiteX34" fmla="*/ 20087539 w 20358094"/>
                <a:gd name="connsiteY34" fmla="*/ 4748811 h 6054551"/>
                <a:gd name="connsiteX35" fmla="*/ 20064093 w 20358094"/>
                <a:gd name="connsiteY35" fmla="*/ 5182565 h 6054551"/>
                <a:gd name="connsiteX36" fmla="*/ 20157877 w 20358094"/>
                <a:gd name="connsiteY36" fmla="*/ 5475642 h 6054551"/>
                <a:gd name="connsiteX37" fmla="*/ 20052370 w 20358094"/>
                <a:gd name="connsiteY37" fmla="*/ 5510811 h 6054551"/>
                <a:gd name="connsiteX38" fmla="*/ 19548277 w 20358094"/>
                <a:gd name="connsiteY38" fmla="*/ 5534257 h 6054551"/>
                <a:gd name="connsiteX39" fmla="*/ 19454493 w 20358094"/>
                <a:gd name="connsiteY39" fmla="*/ 5756996 h 6054551"/>
                <a:gd name="connsiteX40" fmla="*/ 19290370 w 20358094"/>
                <a:gd name="connsiteY40" fmla="*/ 5780442 h 6054551"/>
                <a:gd name="connsiteX41" fmla="*/ 18223570 w 20358094"/>
                <a:gd name="connsiteY41" fmla="*/ 5768719 h 6054551"/>
                <a:gd name="connsiteX42" fmla="*/ 18223570 w 20358094"/>
                <a:gd name="connsiteY42" fmla="*/ 5581150 h 6054551"/>
                <a:gd name="connsiteX43" fmla="*/ 17989108 w 20358094"/>
                <a:gd name="connsiteY43" fmla="*/ 4725365 h 6054551"/>
                <a:gd name="connsiteX44" fmla="*/ 17602247 w 20358094"/>
                <a:gd name="connsiteY44" fmla="*/ 4162657 h 6054551"/>
                <a:gd name="connsiteX45" fmla="*/ 17145047 w 20358094"/>
                <a:gd name="connsiteY45" fmla="*/ 3857857 h 6054551"/>
                <a:gd name="connsiteX46" fmla="*/ 16429939 w 20358094"/>
                <a:gd name="connsiteY46" fmla="*/ 3682011 h 6054551"/>
                <a:gd name="connsiteX47" fmla="*/ 15902401 w 20358094"/>
                <a:gd name="connsiteY47" fmla="*/ 3728904 h 6054551"/>
                <a:gd name="connsiteX48" fmla="*/ 15386585 w 20358094"/>
                <a:gd name="connsiteY48" fmla="*/ 3951642 h 6054551"/>
                <a:gd name="connsiteX49" fmla="*/ 14964554 w 20358094"/>
                <a:gd name="connsiteY49" fmla="*/ 4397119 h 6054551"/>
                <a:gd name="connsiteX50" fmla="*/ 14636308 w 20358094"/>
                <a:gd name="connsiteY50" fmla="*/ 4912934 h 6054551"/>
                <a:gd name="connsiteX51" fmla="*/ 14542524 w 20358094"/>
                <a:gd name="connsiteY51" fmla="*/ 5393581 h 6054551"/>
                <a:gd name="connsiteX52" fmla="*/ 14542524 w 20358094"/>
                <a:gd name="connsiteY52" fmla="*/ 5768719 h 6054551"/>
                <a:gd name="connsiteX53" fmla="*/ 14554247 w 20358094"/>
                <a:gd name="connsiteY53" fmla="*/ 5991457 h 6054551"/>
                <a:gd name="connsiteX54" fmla="*/ 14472185 w 20358094"/>
                <a:gd name="connsiteY54" fmla="*/ 6014904 h 6054551"/>
                <a:gd name="connsiteX55" fmla="*/ 14073601 w 20358094"/>
                <a:gd name="connsiteY55" fmla="*/ 6014904 h 6054551"/>
                <a:gd name="connsiteX56" fmla="*/ 11693816 w 20358094"/>
                <a:gd name="connsiteY56" fmla="*/ 6038350 h 6054551"/>
                <a:gd name="connsiteX57" fmla="*/ 7121816 w 20358094"/>
                <a:gd name="connsiteY57" fmla="*/ 6038350 h 6054551"/>
                <a:gd name="connsiteX58" fmla="*/ 5328185 w 20358094"/>
                <a:gd name="connsiteY58" fmla="*/ 6003181 h 6054551"/>
                <a:gd name="connsiteX59" fmla="*/ 5375077 w 20358094"/>
                <a:gd name="connsiteY59" fmla="*/ 5545980 h 6054551"/>
                <a:gd name="connsiteX60" fmla="*/ 5187508 w 20358094"/>
                <a:gd name="connsiteY60" fmla="*/ 4678473 h 6054551"/>
                <a:gd name="connsiteX61" fmla="*/ 4613077 w 20358094"/>
                <a:gd name="connsiteY61" fmla="*/ 3939920 h 6054551"/>
                <a:gd name="connsiteX62" fmla="*/ 3804185 w 20358094"/>
                <a:gd name="connsiteY62" fmla="*/ 3635119 h 6054551"/>
                <a:gd name="connsiteX63" fmla="*/ 3077355 w 20358094"/>
                <a:gd name="connsiteY63" fmla="*/ 3693734 h 6054551"/>
                <a:gd name="connsiteX64" fmla="*/ 2479477 w 20358094"/>
                <a:gd name="connsiteY64" fmla="*/ 3998534 h 6054551"/>
                <a:gd name="connsiteX65" fmla="*/ 1987108 w 20358094"/>
                <a:gd name="connsiteY65" fmla="*/ 4584688 h 6054551"/>
                <a:gd name="connsiteX66" fmla="*/ 1799539 w 20358094"/>
                <a:gd name="connsiteY66" fmla="*/ 5159119 h 6054551"/>
                <a:gd name="connsiteX67" fmla="*/ 1787816 w 20358094"/>
                <a:gd name="connsiteY67" fmla="*/ 5745273 h 6054551"/>
                <a:gd name="connsiteX68" fmla="*/ 1776093 w 20358094"/>
                <a:gd name="connsiteY68" fmla="*/ 5944565 h 6054551"/>
                <a:gd name="connsiteX69" fmla="*/ 1647139 w 20358094"/>
                <a:gd name="connsiteY69" fmla="*/ 5956288 h 6054551"/>
                <a:gd name="connsiteX70" fmla="*/ 709293 w 20358094"/>
                <a:gd name="connsiteY70" fmla="*/ 5932842 h 6054551"/>
                <a:gd name="connsiteX71" fmla="*/ 556893 w 20358094"/>
                <a:gd name="connsiteY71" fmla="*/ 5909396 h 6054551"/>
                <a:gd name="connsiteX72" fmla="*/ 474831 w 20358094"/>
                <a:gd name="connsiteY72" fmla="*/ 5803888 h 6054551"/>
                <a:gd name="connsiteX73" fmla="*/ 404493 w 20358094"/>
                <a:gd name="connsiteY73" fmla="*/ 5745273 h 6054551"/>
                <a:gd name="connsiteX74" fmla="*/ 263816 w 20358094"/>
                <a:gd name="connsiteY74" fmla="*/ 5581150 h 6054551"/>
                <a:gd name="connsiteX75" fmla="*/ 404493 w 20358094"/>
                <a:gd name="connsiteY75" fmla="*/ 5534257 h 6054551"/>
                <a:gd name="connsiteX76" fmla="*/ 334154 w 20358094"/>
                <a:gd name="connsiteY76" fmla="*/ 5428750 h 6054551"/>
                <a:gd name="connsiteX77" fmla="*/ 240370 w 20358094"/>
                <a:gd name="connsiteY77" fmla="*/ 5030165 h 6054551"/>
                <a:gd name="connsiteX78" fmla="*/ 205201 w 20358094"/>
                <a:gd name="connsiteY78" fmla="*/ 4983273 h 6054551"/>
                <a:gd name="connsiteX79" fmla="*/ 76247 w 20358094"/>
                <a:gd name="connsiteY79" fmla="*/ 4971550 h 6054551"/>
                <a:gd name="connsiteX80" fmla="*/ 52801 w 20358094"/>
                <a:gd name="connsiteY80" fmla="*/ 4842596 h 6054551"/>
                <a:gd name="connsiteX81" fmla="*/ 5908 w 20358094"/>
                <a:gd name="connsiteY81" fmla="*/ 4385396 h 6054551"/>
                <a:gd name="connsiteX82" fmla="*/ 17631 w 20358094"/>
                <a:gd name="connsiteY82" fmla="*/ 4315057 h 6054551"/>
                <a:gd name="connsiteX83" fmla="*/ 158308 w 20358094"/>
                <a:gd name="connsiteY83" fmla="*/ 4279888 h 6054551"/>
                <a:gd name="connsiteX84" fmla="*/ 240370 w 20358094"/>
                <a:gd name="connsiteY84" fmla="*/ 4150934 h 6054551"/>
                <a:gd name="connsiteX85" fmla="*/ 205201 w 20358094"/>
                <a:gd name="connsiteY85" fmla="*/ 3963365 h 6054551"/>
                <a:gd name="connsiteX86" fmla="*/ 193477 w 20358094"/>
                <a:gd name="connsiteY86" fmla="*/ 3623396 h 6054551"/>
                <a:gd name="connsiteX87" fmla="*/ 357601 w 20358094"/>
                <a:gd name="connsiteY87" fmla="*/ 3283427 h 6054551"/>
                <a:gd name="connsiteX88" fmla="*/ 1154770 w 20358094"/>
                <a:gd name="connsiteY88" fmla="*/ 2861396 h 6054551"/>
                <a:gd name="connsiteX89" fmla="*/ 2104339 w 20358094"/>
                <a:gd name="connsiteY89" fmla="*/ 2626934 h 6054551"/>
                <a:gd name="connsiteX90" fmla="*/ 3780739 w 20358094"/>
                <a:gd name="connsiteY90" fmla="*/ 2333857 h 6054551"/>
                <a:gd name="connsiteX91" fmla="*/ 5199231 w 20358094"/>
                <a:gd name="connsiteY91" fmla="*/ 2169734 h 6054551"/>
                <a:gd name="connsiteX92" fmla="*/ 5574370 w 20358094"/>
                <a:gd name="connsiteY92" fmla="*/ 2146288 h 6054551"/>
                <a:gd name="connsiteX93" fmla="*/ 5726770 w 20358094"/>
                <a:gd name="connsiteY93" fmla="*/ 2158011 h 6054551"/>
                <a:gd name="connsiteX94" fmla="*/ 5937785 w 20358094"/>
                <a:gd name="connsiteY94" fmla="*/ 2251796 h 6054551"/>
                <a:gd name="connsiteX95" fmla="*/ 5996401 w 20358094"/>
                <a:gd name="connsiteY95" fmla="*/ 2228350 h 6054551"/>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51631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36308 w 20358094"/>
                <a:gd name="connsiteY50" fmla="*/ 4912934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48994 w 20358094"/>
                <a:gd name="connsiteY26" fmla="*/ 3648974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37785 w 20358094"/>
                <a:gd name="connsiteY0" fmla="*/ 2251796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144 h 6042876"/>
                <a:gd name="connsiteX1" fmla="*/ 6899077 w 20358094"/>
                <a:gd name="connsiteY1" fmla="*/ 1680159 h 6042876"/>
                <a:gd name="connsiteX2" fmla="*/ 8218989 w 20358094"/>
                <a:gd name="connsiteY2" fmla="*/ 929350 h 6042876"/>
                <a:gd name="connsiteX3" fmla="*/ 9032677 w 20358094"/>
                <a:gd name="connsiteY3" fmla="*/ 528634 h 6042876"/>
                <a:gd name="connsiteX4" fmla="*/ 9079570 w 20358094"/>
                <a:gd name="connsiteY4" fmla="*/ 470018 h 6042876"/>
                <a:gd name="connsiteX5" fmla="*/ 9220247 w 20358094"/>
                <a:gd name="connsiteY5" fmla="*/ 411403 h 6042876"/>
                <a:gd name="connsiteX6" fmla="*/ 10022627 w 20358094"/>
                <a:gd name="connsiteY6" fmla="*/ 209830 h 6042876"/>
                <a:gd name="connsiteX7" fmla="*/ 11365570 w 20358094"/>
                <a:gd name="connsiteY7" fmla="*/ 47987 h 6042876"/>
                <a:gd name="connsiteX8" fmla="*/ 12948185 w 20358094"/>
                <a:gd name="connsiteY8" fmla="*/ 1095 h 6042876"/>
                <a:gd name="connsiteX9" fmla="*/ 14565970 w 20358094"/>
                <a:gd name="connsiteY9" fmla="*/ 83157 h 6042876"/>
                <a:gd name="connsiteX10" fmla="*/ 16054801 w 20358094"/>
                <a:gd name="connsiteY10" fmla="*/ 165218 h 6042876"/>
                <a:gd name="connsiteX11" fmla="*/ 17496739 w 20358094"/>
                <a:gd name="connsiteY11" fmla="*/ 364511 h 6042876"/>
                <a:gd name="connsiteX12" fmla="*/ 18036001 w 20358094"/>
                <a:gd name="connsiteY12" fmla="*/ 470018 h 6042876"/>
                <a:gd name="connsiteX13" fmla="*/ 18352524 w 20358094"/>
                <a:gd name="connsiteY13" fmla="*/ 528634 h 6042876"/>
                <a:gd name="connsiteX14" fmla="*/ 18434585 w 20358094"/>
                <a:gd name="connsiteY14" fmla="*/ 575526 h 6042876"/>
                <a:gd name="connsiteX15" fmla="*/ 18469754 w 20358094"/>
                <a:gd name="connsiteY15" fmla="*/ 634141 h 6042876"/>
                <a:gd name="connsiteX16" fmla="*/ 18903508 w 20358094"/>
                <a:gd name="connsiteY16" fmla="*/ 1091341 h 6042876"/>
                <a:gd name="connsiteX17" fmla="*/ 19560001 w 20358094"/>
                <a:gd name="connsiteY17" fmla="*/ 1853341 h 6042876"/>
                <a:gd name="connsiteX18" fmla="*/ 19665508 w 20358094"/>
                <a:gd name="connsiteY18" fmla="*/ 1994018 h 6042876"/>
                <a:gd name="connsiteX19" fmla="*/ 19864801 w 20358094"/>
                <a:gd name="connsiteY19" fmla="*/ 2099526 h 6042876"/>
                <a:gd name="connsiteX20" fmla="*/ 19946862 w 20358094"/>
                <a:gd name="connsiteY20" fmla="*/ 2228480 h 6042876"/>
                <a:gd name="connsiteX21" fmla="*/ 19911693 w 20358094"/>
                <a:gd name="connsiteY21" fmla="*/ 2416049 h 6042876"/>
                <a:gd name="connsiteX22" fmla="*/ 19958052 w 20358094"/>
                <a:gd name="connsiteY22" fmla="*/ 2744828 h 6042876"/>
                <a:gd name="connsiteX23" fmla="*/ 19922884 w 20358094"/>
                <a:gd name="connsiteY23" fmla="*/ 3046963 h 6042876"/>
                <a:gd name="connsiteX24" fmla="*/ 19993754 w 20358094"/>
                <a:gd name="connsiteY24" fmla="*/ 3271834 h 6042876"/>
                <a:gd name="connsiteX25" fmla="*/ 19982031 w 20358094"/>
                <a:gd name="connsiteY25" fmla="*/ 3447680 h 6042876"/>
                <a:gd name="connsiteX26" fmla="*/ 19962849 w 20358094"/>
                <a:gd name="connsiteY26" fmla="*/ 3642177 h 6042876"/>
                <a:gd name="connsiteX27" fmla="*/ 20134431 w 20358094"/>
                <a:gd name="connsiteY27" fmla="*/ 3705587 h 6042876"/>
                <a:gd name="connsiteX28" fmla="*/ 20275108 w 20358094"/>
                <a:gd name="connsiteY28" fmla="*/ 3752480 h 6042876"/>
                <a:gd name="connsiteX29" fmla="*/ 20345447 w 20358094"/>
                <a:gd name="connsiteY29" fmla="*/ 3846264 h 6042876"/>
                <a:gd name="connsiteX30" fmla="*/ 20357170 w 20358094"/>
                <a:gd name="connsiteY30" fmla="*/ 4010387 h 6042876"/>
                <a:gd name="connsiteX31" fmla="*/ 20333725 w 20358094"/>
                <a:gd name="connsiteY31" fmla="*/ 4209680 h 6042876"/>
                <a:gd name="connsiteX32" fmla="*/ 20275108 w 20358094"/>
                <a:gd name="connsiteY32" fmla="*/ 4397249 h 6042876"/>
                <a:gd name="connsiteX33" fmla="*/ 20169601 w 20358094"/>
                <a:gd name="connsiteY33" fmla="*/ 4432418 h 6042876"/>
                <a:gd name="connsiteX34" fmla="*/ 20087539 w 20358094"/>
                <a:gd name="connsiteY34" fmla="*/ 4748941 h 6042876"/>
                <a:gd name="connsiteX35" fmla="*/ 20064093 w 20358094"/>
                <a:gd name="connsiteY35" fmla="*/ 5182695 h 6042876"/>
                <a:gd name="connsiteX36" fmla="*/ 20157877 w 20358094"/>
                <a:gd name="connsiteY36" fmla="*/ 5475772 h 6042876"/>
                <a:gd name="connsiteX37" fmla="*/ 20052370 w 20358094"/>
                <a:gd name="connsiteY37" fmla="*/ 5510941 h 6042876"/>
                <a:gd name="connsiteX38" fmla="*/ 19548277 w 20358094"/>
                <a:gd name="connsiteY38" fmla="*/ 5534387 h 6042876"/>
                <a:gd name="connsiteX39" fmla="*/ 19454493 w 20358094"/>
                <a:gd name="connsiteY39" fmla="*/ 5757126 h 6042876"/>
                <a:gd name="connsiteX40" fmla="*/ 19290370 w 20358094"/>
                <a:gd name="connsiteY40" fmla="*/ 5780572 h 6042876"/>
                <a:gd name="connsiteX41" fmla="*/ 18223570 w 20358094"/>
                <a:gd name="connsiteY41" fmla="*/ 5768849 h 6042876"/>
                <a:gd name="connsiteX42" fmla="*/ 18223570 w 20358094"/>
                <a:gd name="connsiteY42" fmla="*/ 5581280 h 6042876"/>
                <a:gd name="connsiteX43" fmla="*/ 18009890 w 20358094"/>
                <a:gd name="connsiteY43" fmla="*/ 4725495 h 6042876"/>
                <a:gd name="connsiteX44" fmla="*/ 17602247 w 20358094"/>
                <a:gd name="connsiteY44" fmla="*/ 4162787 h 6042876"/>
                <a:gd name="connsiteX45" fmla="*/ 17145047 w 20358094"/>
                <a:gd name="connsiteY45" fmla="*/ 3857987 h 6042876"/>
                <a:gd name="connsiteX46" fmla="*/ 16429939 w 20358094"/>
                <a:gd name="connsiteY46" fmla="*/ 3682141 h 6042876"/>
                <a:gd name="connsiteX47" fmla="*/ 15902401 w 20358094"/>
                <a:gd name="connsiteY47" fmla="*/ 3729034 h 6042876"/>
                <a:gd name="connsiteX48" fmla="*/ 15386585 w 20358094"/>
                <a:gd name="connsiteY48" fmla="*/ 3979481 h 6042876"/>
                <a:gd name="connsiteX49" fmla="*/ 14964554 w 20358094"/>
                <a:gd name="connsiteY49" fmla="*/ 4397249 h 6042876"/>
                <a:gd name="connsiteX50" fmla="*/ 14664550 w 20358094"/>
                <a:gd name="connsiteY50" fmla="*/ 4936510 h 6042876"/>
                <a:gd name="connsiteX51" fmla="*/ 14542524 w 20358094"/>
                <a:gd name="connsiteY51" fmla="*/ 5393711 h 6042876"/>
                <a:gd name="connsiteX52" fmla="*/ 14542524 w 20358094"/>
                <a:gd name="connsiteY52" fmla="*/ 5768849 h 6042876"/>
                <a:gd name="connsiteX53" fmla="*/ 14554247 w 20358094"/>
                <a:gd name="connsiteY53" fmla="*/ 5991587 h 6042876"/>
                <a:gd name="connsiteX54" fmla="*/ 14472185 w 20358094"/>
                <a:gd name="connsiteY54" fmla="*/ 6015034 h 6042876"/>
                <a:gd name="connsiteX55" fmla="*/ 14073601 w 20358094"/>
                <a:gd name="connsiteY55" fmla="*/ 6015034 h 6042876"/>
                <a:gd name="connsiteX56" fmla="*/ 11693816 w 20358094"/>
                <a:gd name="connsiteY56" fmla="*/ 6038480 h 6042876"/>
                <a:gd name="connsiteX57" fmla="*/ 7121816 w 20358094"/>
                <a:gd name="connsiteY57" fmla="*/ 6038480 h 6042876"/>
                <a:gd name="connsiteX58" fmla="*/ 5328185 w 20358094"/>
                <a:gd name="connsiteY58" fmla="*/ 6003311 h 6042876"/>
                <a:gd name="connsiteX59" fmla="*/ 5351631 w 20358094"/>
                <a:gd name="connsiteY59" fmla="*/ 5510941 h 6042876"/>
                <a:gd name="connsiteX60" fmla="*/ 5187508 w 20358094"/>
                <a:gd name="connsiteY60" fmla="*/ 4678603 h 6042876"/>
                <a:gd name="connsiteX61" fmla="*/ 4613077 w 20358094"/>
                <a:gd name="connsiteY61" fmla="*/ 3940050 h 6042876"/>
                <a:gd name="connsiteX62" fmla="*/ 3804185 w 20358094"/>
                <a:gd name="connsiteY62" fmla="*/ 3635249 h 6042876"/>
                <a:gd name="connsiteX63" fmla="*/ 3077355 w 20358094"/>
                <a:gd name="connsiteY63" fmla="*/ 3693864 h 6042876"/>
                <a:gd name="connsiteX64" fmla="*/ 2479477 w 20358094"/>
                <a:gd name="connsiteY64" fmla="*/ 3998664 h 6042876"/>
                <a:gd name="connsiteX65" fmla="*/ 1987108 w 20358094"/>
                <a:gd name="connsiteY65" fmla="*/ 4584818 h 6042876"/>
                <a:gd name="connsiteX66" fmla="*/ 1799539 w 20358094"/>
                <a:gd name="connsiteY66" fmla="*/ 5159249 h 6042876"/>
                <a:gd name="connsiteX67" fmla="*/ 1787816 w 20358094"/>
                <a:gd name="connsiteY67" fmla="*/ 5745403 h 6042876"/>
                <a:gd name="connsiteX68" fmla="*/ 1776093 w 20358094"/>
                <a:gd name="connsiteY68" fmla="*/ 5944695 h 6042876"/>
                <a:gd name="connsiteX69" fmla="*/ 1647139 w 20358094"/>
                <a:gd name="connsiteY69" fmla="*/ 5956418 h 6042876"/>
                <a:gd name="connsiteX70" fmla="*/ 709293 w 20358094"/>
                <a:gd name="connsiteY70" fmla="*/ 5932972 h 6042876"/>
                <a:gd name="connsiteX71" fmla="*/ 556893 w 20358094"/>
                <a:gd name="connsiteY71" fmla="*/ 5909526 h 6042876"/>
                <a:gd name="connsiteX72" fmla="*/ 474831 w 20358094"/>
                <a:gd name="connsiteY72" fmla="*/ 5804018 h 6042876"/>
                <a:gd name="connsiteX73" fmla="*/ 404493 w 20358094"/>
                <a:gd name="connsiteY73" fmla="*/ 5745403 h 6042876"/>
                <a:gd name="connsiteX74" fmla="*/ 263816 w 20358094"/>
                <a:gd name="connsiteY74" fmla="*/ 5581280 h 6042876"/>
                <a:gd name="connsiteX75" fmla="*/ 404493 w 20358094"/>
                <a:gd name="connsiteY75" fmla="*/ 5534387 h 6042876"/>
                <a:gd name="connsiteX76" fmla="*/ 334154 w 20358094"/>
                <a:gd name="connsiteY76" fmla="*/ 5428880 h 6042876"/>
                <a:gd name="connsiteX77" fmla="*/ 240370 w 20358094"/>
                <a:gd name="connsiteY77" fmla="*/ 5030295 h 6042876"/>
                <a:gd name="connsiteX78" fmla="*/ 205201 w 20358094"/>
                <a:gd name="connsiteY78" fmla="*/ 4983403 h 6042876"/>
                <a:gd name="connsiteX79" fmla="*/ 76247 w 20358094"/>
                <a:gd name="connsiteY79" fmla="*/ 4971680 h 6042876"/>
                <a:gd name="connsiteX80" fmla="*/ 52801 w 20358094"/>
                <a:gd name="connsiteY80" fmla="*/ 4842726 h 6042876"/>
                <a:gd name="connsiteX81" fmla="*/ 5908 w 20358094"/>
                <a:gd name="connsiteY81" fmla="*/ 4385526 h 6042876"/>
                <a:gd name="connsiteX82" fmla="*/ 17631 w 20358094"/>
                <a:gd name="connsiteY82" fmla="*/ 4315187 h 6042876"/>
                <a:gd name="connsiteX83" fmla="*/ 158308 w 20358094"/>
                <a:gd name="connsiteY83" fmla="*/ 4280018 h 6042876"/>
                <a:gd name="connsiteX84" fmla="*/ 240370 w 20358094"/>
                <a:gd name="connsiteY84" fmla="*/ 4151064 h 6042876"/>
                <a:gd name="connsiteX85" fmla="*/ 205201 w 20358094"/>
                <a:gd name="connsiteY85" fmla="*/ 3963495 h 6042876"/>
                <a:gd name="connsiteX86" fmla="*/ 193477 w 20358094"/>
                <a:gd name="connsiteY86" fmla="*/ 3623526 h 6042876"/>
                <a:gd name="connsiteX87" fmla="*/ 357601 w 20358094"/>
                <a:gd name="connsiteY87" fmla="*/ 3283557 h 6042876"/>
                <a:gd name="connsiteX88" fmla="*/ 1154770 w 20358094"/>
                <a:gd name="connsiteY88" fmla="*/ 2861526 h 6042876"/>
                <a:gd name="connsiteX89" fmla="*/ 2104339 w 20358094"/>
                <a:gd name="connsiteY89" fmla="*/ 2627064 h 6042876"/>
                <a:gd name="connsiteX90" fmla="*/ 3780739 w 20358094"/>
                <a:gd name="connsiteY90" fmla="*/ 2333987 h 6042876"/>
                <a:gd name="connsiteX91" fmla="*/ 5199231 w 20358094"/>
                <a:gd name="connsiteY91" fmla="*/ 2169864 h 6042876"/>
                <a:gd name="connsiteX92" fmla="*/ 5574370 w 20358094"/>
                <a:gd name="connsiteY92" fmla="*/ 2146418 h 6042876"/>
                <a:gd name="connsiteX93" fmla="*/ 5726770 w 20358094"/>
                <a:gd name="connsiteY93" fmla="*/ 2158141 h 6042876"/>
                <a:gd name="connsiteX94" fmla="*/ 5972421 w 20358094"/>
                <a:gd name="connsiteY94" fmla="*/ 2231144 h 6042876"/>
                <a:gd name="connsiteX0" fmla="*/ 5972421 w 20358094"/>
                <a:gd name="connsiteY0" fmla="*/ 2219181 h 6030913"/>
                <a:gd name="connsiteX1" fmla="*/ 6899077 w 20358094"/>
                <a:gd name="connsiteY1" fmla="*/ 1668196 h 6030913"/>
                <a:gd name="connsiteX2" fmla="*/ 8218989 w 20358094"/>
                <a:gd name="connsiteY2" fmla="*/ 917387 h 6030913"/>
                <a:gd name="connsiteX3" fmla="*/ 9032677 w 20358094"/>
                <a:gd name="connsiteY3" fmla="*/ 516671 h 6030913"/>
                <a:gd name="connsiteX4" fmla="*/ 9079570 w 20358094"/>
                <a:gd name="connsiteY4" fmla="*/ 458055 h 6030913"/>
                <a:gd name="connsiteX5" fmla="*/ 9220247 w 20358094"/>
                <a:gd name="connsiteY5" fmla="*/ 399440 h 6030913"/>
                <a:gd name="connsiteX6" fmla="*/ 10022627 w 20358094"/>
                <a:gd name="connsiteY6" fmla="*/ 197867 h 6030913"/>
                <a:gd name="connsiteX7" fmla="*/ 11365570 w 20358094"/>
                <a:gd name="connsiteY7" fmla="*/ 36024 h 6030913"/>
                <a:gd name="connsiteX8" fmla="*/ 12943952 w 20358094"/>
                <a:gd name="connsiteY8" fmla="*/ 1832 h 6030913"/>
                <a:gd name="connsiteX9" fmla="*/ 14565970 w 20358094"/>
                <a:gd name="connsiteY9" fmla="*/ 71194 h 6030913"/>
                <a:gd name="connsiteX10" fmla="*/ 16054801 w 20358094"/>
                <a:gd name="connsiteY10" fmla="*/ 153255 h 6030913"/>
                <a:gd name="connsiteX11" fmla="*/ 17496739 w 20358094"/>
                <a:gd name="connsiteY11" fmla="*/ 352548 h 6030913"/>
                <a:gd name="connsiteX12" fmla="*/ 18036001 w 20358094"/>
                <a:gd name="connsiteY12" fmla="*/ 458055 h 6030913"/>
                <a:gd name="connsiteX13" fmla="*/ 18352524 w 20358094"/>
                <a:gd name="connsiteY13" fmla="*/ 516671 h 6030913"/>
                <a:gd name="connsiteX14" fmla="*/ 18434585 w 20358094"/>
                <a:gd name="connsiteY14" fmla="*/ 563563 h 6030913"/>
                <a:gd name="connsiteX15" fmla="*/ 18469754 w 20358094"/>
                <a:gd name="connsiteY15" fmla="*/ 622178 h 6030913"/>
                <a:gd name="connsiteX16" fmla="*/ 18903508 w 20358094"/>
                <a:gd name="connsiteY16" fmla="*/ 1079378 h 6030913"/>
                <a:gd name="connsiteX17" fmla="*/ 19560001 w 20358094"/>
                <a:gd name="connsiteY17" fmla="*/ 1841378 h 6030913"/>
                <a:gd name="connsiteX18" fmla="*/ 19665508 w 20358094"/>
                <a:gd name="connsiteY18" fmla="*/ 1982055 h 6030913"/>
                <a:gd name="connsiteX19" fmla="*/ 19864801 w 20358094"/>
                <a:gd name="connsiteY19" fmla="*/ 2087563 h 6030913"/>
                <a:gd name="connsiteX20" fmla="*/ 19946862 w 20358094"/>
                <a:gd name="connsiteY20" fmla="*/ 2216517 h 6030913"/>
                <a:gd name="connsiteX21" fmla="*/ 19911693 w 20358094"/>
                <a:gd name="connsiteY21" fmla="*/ 2404086 h 6030913"/>
                <a:gd name="connsiteX22" fmla="*/ 19958052 w 20358094"/>
                <a:gd name="connsiteY22" fmla="*/ 2732865 h 6030913"/>
                <a:gd name="connsiteX23" fmla="*/ 19922884 w 20358094"/>
                <a:gd name="connsiteY23" fmla="*/ 3035000 h 6030913"/>
                <a:gd name="connsiteX24" fmla="*/ 19993754 w 20358094"/>
                <a:gd name="connsiteY24" fmla="*/ 3259871 h 6030913"/>
                <a:gd name="connsiteX25" fmla="*/ 19982031 w 20358094"/>
                <a:gd name="connsiteY25" fmla="*/ 3435717 h 6030913"/>
                <a:gd name="connsiteX26" fmla="*/ 19962849 w 20358094"/>
                <a:gd name="connsiteY26" fmla="*/ 3630214 h 6030913"/>
                <a:gd name="connsiteX27" fmla="*/ 20134431 w 20358094"/>
                <a:gd name="connsiteY27" fmla="*/ 3693624 h 6030913"/>
                <a:gd name="connsiteX28" fmla="*/ 20275108 w 20358094"/>
                <a:gd name="connsiteY28" fmla="*/ 3740517 h 6030913"/>
                <a:gd name="connsiteX29" fmla="*/ 20345447 w 20358094"/>
                <a:gd name="connsiteY29" fmla="*/ 3834301 h 6030913"/>
                <a:gd name="connsiteX30" fmla="*/ 20357170 w 20358094"/>
                <a:gd name="connsiteY30" fmla="*/ 3998424 h 6030913"/>
                <a:gd name="connsiteX31" fmla="*/ 20333725 w 20358094"/>
                <a:gd name="connsiteY31" fmla="*/ 4197717 h 6030913"/>
                <a:gd name="connsiteX32" fmla="*/ 20275108 w 20358094"/>
                <a:gd name="connsiteY32" fmla="*/ 4385286 h 6030913"/>
                <a:gd name="connsiteX33" fmla="*/ 20169601 w 20358094"/>
                <a:gd name="connsiteY33" fmla="*/ 4420455 h 6030913"/>
                <a:gd name="connsiteX34" fmla="*/ 20087539 w 20358094"/>
                <a:gd name="connsiteY34" fmla="*/ 4736978 h 6030913"/>
                <a:gd name="connsiteX35" fmla="*/ 20064093 w 20358094"/>
                <a:gd name="connsiteY35" fmla="*/ 5170732 h 6030913"/>
                <a:gd name="connsiteX36" fmla="*/ 20157877 w 20358094"/>
                <a:gd name="connsiteY36" fmla="*/ 5463809 h 6030913"/>
                <a:gd name="connsiteX37" fmla="*/ 20052370 w 20358094"/>
                <a:gd name="connsiteY37" fmla="*/ 5498978 h 6030913"/>
                <a:gd name="connsiteX38" fmla="*/ 19548277 w 20358094"/>
                <a:gd name="connsiteY38" fmla="*/ 5522424 h 6030913"/>
                <a:gd name="connsiteX39" fmla="*/ 19454493 w 20358094"/>
                <a:gd name="connsiteY39" fmla="*/ 5745163 h 6030913"/>
                <a:gd name="connsiteX40" fmla="*/ 19290370 w 20358094"/>
                <a:gd name="connsiteY40" fmla="*/ 5768609 h 6030913"/>
                <a:gd name="connsiteX41" fmla="*/ 18223570 w 20358094"/>
                <a:gd name="connsiteY41" fmla="*/ 5756886 h 6030913"/>
                <a:gd name="connsiteX42" fmla="*/ 18223570 w 20358094"/>
                <a:gd name="connsiteY42" fmla="*/ 5569317 h 6030913"/>
                <a:gd name="connsiteX43" fmla="*/ 18009890 w 20358094"/>
                <a:gd name="connsiteY43" fmla="*/ 4713532 h 6030913"/>
                <a:gd name="connsiteX44" fmla="*/ 17602247 w 20358094"/>
                <a:gd name="connsiteY44" fmla="*/ 4150824 h 6030913"/>
                <a:gd name="connsiteX45" fmla="*/ 17145047 w 20358094"/>
                <a:gd name="connsiteY45" fmla="*/ 3846024 h 6030913"/>
                <a:gd name="connsiteX46" fmla="*/ 16429939 w 20358094"/>
                <a:gd name="connsiteY46" fmla="*/ 3670178 h 6030913"/>
                <a:gd name="connsiteX47" fmla="*/ 15902401 w 20358094"/>
                <a:gd name="connsiteY47" fmla="*/ 3717071 h 6030913"/>
                <a:gd name="connsiteX48" fmla="*/ 15386585 w 20358094"/>
                <a:gd name="connsiteY48" fmla="*/ 3967518 h 6030913"/>
                <a:gd name="connsiteX49" fmla="*/ 14964554 w 20358094"/>
                <a:gd name="connsiteY49" fmla="*/ 4385286 h 6030913"/>
                <a:gd name="connsiteX50" fmla="*/ 14664550 w 20358094"/>
                <a:gd name="connsiteY50" fmla="*/ 4924547 h 6030913"/>
                <a:gd name="connsiteX51" fmla="*/ 14542524 w 20358094"/>
                <a:gd name="connsiteY51" fmla="*/ 5381748 h 6030913"/>
                <a:gd name="connsiteX52" fmla="*/ 14542524 w 20358094"/>
                <a:gd name="connsiteY52" fmla="*/ 5756886 h 6030913"/>
                <a:gd name="connsiteX53" fmla="*/ 14554247 w 20358094"/>
                <a:gd name="connsiteY53" fmla="*/ 5979624 h 6030913"/>
                <a:gd name="connsiteX54" fmla="*/ 14472185 w 20358094"/>
                <a:gd name="connsiteY54" fmla="*/ 6003071 h 6030913"/>
                <a:gd name="connsiteX55" fmla="*/ 14073601 w 20358094"/>
                <a:gd name="connsiteY55" fmla="*/ 6003071 h 6030913"/>
                <a:gd name="connsiteX56" fmla="*/ 11693816 w 20358094"/>
                <a:gd name="connsiteY56" fmla="*/ 6026517 h 6030913"/>
                <a:gd name="connsiteX57" fmla="*/ 7121816 w 20358094"/>
                <a:gd name="connsiteY57" fmla="*/ 6026517 h 6030913"/>
                <a:gd name="connsiteX58" fmla="*/ 5328185 w 20358094"/>
                <a:gd name="connsiteY58" fmla="*/ 5991348 h 6030913"/>
                <a:gd name="connsiteX59" fmla="*/ 5351631 w 20358094"/>
                <a:gd name="connsiteY59" fmla="*/ 5498978 h 6030913"/>
                <a:gd name="connsiteX60" fmla="*/ 5187508 w 20358094"/>
                <a:gd name="connsiteY60" fmla="*/ 4666640 h 6030913"/>
                <a:gd name="connsiteX61" fmla="*/ 4613077 w 20358094"/>
                <a:gd name="connsiteY61" fmla="*/ 3928087 h 6030913"/>
                <a:gd name="connsiteX62" fmla="*/ 3804185 w 20358094"/>
                <a:gd name="connsiteY62" fmla="*/ 3623286 h 6030913"/>
                <a:gd name="connsiteX63" fmla="*/ 3077355 w 20358094"/>
                <a:gd name="connsiteY63" fmla="*/ 3681901 h 6030913"/>
                <a:gd name="connsiteX64" fmla="*/ 2479477 w 20358094"/>
                <a:gd name="connsiteY64" fmla="*/ 3986701 h 6030913"/>
                <a:gd name="connsiteX65" fmla="*/ 1987108 w 20358094"/>
                <a:gd name="connsiteY65" fmla="*/ 4572855 h 6030913"/>
                <a:gd name="connsiteX66" fmla="*/ 1799539 w 20358094"/>
                <a:gd name="connsiteY66" fmla="*/ 5147286 h 6030913"/>
                <a:gd name="connsiteX67" fmla="*/ 1787816 w 20358094"/>
                <a:gd name="connsiteY67" fmla="*/ 5733440 h 6030913"/>
                <a:gd name="connsiteX68" fmla="*/ 1776093 w 20358094"/>
                <a:gd name="connsiteY68" fmla="*/ 5932732 h 6030913"/>
                <a:gd name="connsiteX69" fmla="*/ 1647139 w 20358094"/>
                <a:gd name="connsiteY69" fmla="*/ 5944455 h 6030913"/>
                <a:gd name="connsiteX70" fmla="*/ 709293 w 20358094"/>
                <a:gd name="connsiteY70" fmla="*/ 5921009 h 6030913"/>
                <a:gd name="connsiteX71" fmla="*/ 556893 w 20358094"/>
                <a:gd name="connsiteY71" fmla="*/ 5897563 h 6030913"/>
                <a:gd name="connsiteX72" fmla="*/ 474831 w 20358094"/>
                <a:gd name="connsiteY72" fmla="*/ 5792055 h 6030913"/>
                <a:gd name="connsiteX73" fmla="*/ 404493 w 20358094"/>
                <a:gd name="connsiteY73" fmla="*/ 5733440 h 6030913"/>
                <a:gd name="connsiteX74" fmla="*/ 263816 w 20358094"/>
                <a:gd name="connsiteY74" fmla="*/ 5569317 h 6030913"/>
                <a:gd name="connsiteX75" fmla="*/ 404493 w 20358094"/>
                <a:gd name="connsiteY75" fmla="*/ 5522424 h 6030913"/>
                <a:gd name="connsiteX76" fmla="*/ 334154 w 20358094"/>
                <a:gd name="connsiteY76" fmla="*/ 5416917 h 6030913"/>
                <a:gd name="connsiteX77" fmla="*/ 240370 w 20358094"/>
                <a:gd name="connsiteY77" fmla="*/ 5018332 h 6030913"/>
                <a:gd name="connsiteX78" fmla="*/ 205201 w 20358094"/>
                <a:gd name="connsiteY78" fmla="*/ 4971440 h 6030913"/>
                <a:gd name="connsiteX79" fmla="*/ 76247 w 20358094"/>
                <a:gd name="connsiteY79" fmla="*/ 4959717 h 6030913"/>
                <a:gd name="connsiteX80" fmla="*/ 52801 w 20358094"/>
                <a:gd name="connsiteY80" fmla="*/ 4830763 h 6030913"/>
                <a:gd name="connsiteX81" fmla="*/ 5908 w 20358094"/>
                <a:gd name="connsiteY81" fmla="*/ 4373563 h 6030913"/>
                <a:gd name="connsiteX82" fmla="*/ 17631 w 20358094"/>
                <a:gd name="connsiteY82" fmla="*/ 4303224 h 6030913"/>
                <a:gd name="connsiteX83" fmla="*/ 158308 w 20358094"/>
                <a:gd name="connsiteY83" fmla="*/ 4268055 h 6030913"/>
                <a:gd name="connsiteX84" fmla="*/ 240370 w 20358094"/>
                <a:gd name="connsiteY84" fmla="*/ 4139101 h 6030913"/>
                <a:gd name="connsiteX85" fmla="*/ 205201 w 20358094"/>
                <a:gd name="connsiteY85" fmla="*/ 3951532 h 6030913"/>
                <a:gd name="connsiteX86" fmla="*/ 193477 w 20358094"/>
                <a:gd name="connsiteY86" fmla="*/ 3611563 h 6030913"/>
                <a:gd name="connsiteX87" fmla="*/ 357601 w 20358094"/>
                <a:gd name="connsiteY87" fmla="*/ 3271594 h 6030913"/>
                <a:gd name="connsiteX88" fmla="*/ 1154770 w 20358094"/>
                <a:gd name="connsiteY88" fmla="*/ 2849563 h 6030913"/>
                <a:gd name="connsiteX89" fmla="*/ 2104339 w 20358094"/>
                <a:gd name="connsiteY89" fmla="*/ 2615101 h 6030913"/>
                <a:gd name="connsiteX90" fmla="*/ 3780739 w 20358094"/>
                <a:gd name="connsiteY90" fmla="*/ 2322024 h 6030913"/>
                <a:gd name="connsiteX91" fmla="*/ 5199231 w 20358094"/>
                <a:gd name="connsiteY91" fmla="*/ 2157901 h 6030913"/>
                <a:gd name="connsiteX92" fmla="*/ 5574370 w 20358094"/>
                <a:gd name="connsiteY92" fmla="*/ 2134455 h 6030913"/>
                <a:gd name="connsiteX93" fmla="*/ 5726770 w 20358094"/>
                <a:gd name="connsiteY93" fmla="*/ 2146178 h 6030913"/>
                <a:gd name="connsiteX94" fmla="*/ 5972421 w 20358094"/>
                <a:gd name="connsiteY94" fmla="*/ 2219181 h 603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0358094" h="6030913">
                  <a:moveTo>
                    <a:pt x="5972421" y="2219181"/>
                  </a:moveTo>
                  <a:cubicBezTo>
                    <a:pt x="6043114" y="2181081"/>
                    <a:pt x="6524649" y="1885162"/>
                    <a:pt x="6899077" y="1668196"/>
                  </a:cubicBezTo>
                  <a:cubicBezTo>
                    <a:pt x="7273505" y="1451230"/>
                    <a:pt x="7863389" y="1109308"/>
                    <a:pt x="8218989" y="917387"/>
                  </a:cubicBezTo>
                  <a:cubicBezTo>
                    <a:pt x="8574589" y="725466"/>
                    <a:pt x="8889247" y="593226"/>
                    <a:pt x="9032677" y="516671"/>
                  </a:cubicBezTo>
                  <a:cubicBezTo>
                    <a:pt x="9176107" y="440116"/>
                    <a:pt x="9048308" y="477593"/>
                    <a:pt x="9079570" y="458055"/>
                  </a:cubicBezTo>
                  <a:cubicBezTo>
                    <a:pt x="9110832" y="438516"/>
                    <a:pt x="9063071" y="442805"/>
                    <a:pt x="9220247" y="399440"/>
                  </a:cubicBezTo>
                  <a:cubicBezTo>
                    <a:pt x="9377423" y="356075"/>
                    <a:pt x="9665073" y="258436"/>
                    <a:pt x="10022627" y="197867"/>
                  </a:cubicBezTo>
                  <a:cubicBezTo>
                    <a:pt x="10380181" y="137298"/>
                    <a:pt x="10878683" y="68696"/>
                    <a:pt x="11365570" y="36024"/>
                  </a:cubicBezTo>
                  <a:cubicBezTo>
                    <a:pt x="11852457" y="3352"/>
                    <a:pt x="12410552" y="-4030"/>
                    <a:pt x="12943952" y="1832"/>
                  </a:cubicBezTo>
                  <a:cubicBezTo>
                    <a:pt x="13477352" y="7694"/>
                    <a:pt x="14047495" y="45957"/>
                    <a:pt x="14565970" y="71194"/>
                  </a:cubicBezTo>
                  <a:cubicBezTo>
                    <a:pt x="15084445" y="96431"/>
                    <a:pt x="15566340" y="106363"/>
                    <a:pt x="16054801" y="153255"/>
                  </a:cubicBezTo>
                  <a:cubicBezTo>
                    <a:pt x="16543262" y="200147"/>
                    <a:pt x="17166539" y="301748"/>
                    <a:pt x="17496739" y="352548"/>
                  </a:cubicBezTo>
                  <a:cubicBezTo>
                    <a:pt x="17826939" y="403348"/>
                    <a:pt x="17893370" y="430701"/>
                    <a:pt x="18036001" y="458055"/>
                  </a:cubicBezTo>
                  <a:cubicBezTo>
                    <a:pt x="18178632" y="485409"/>
                    <a:pt x="18286093" y="499086"/>
                    <a:pt x="18352524" y="516671"/>
                  </a:cubicBezTo>
                  <a:cubicBezTo>
                    <a:pt x="18418955" y="534256"/>
                    <a:pt x="18415047" y="545978"/>
                    <a:pt x="18434585" y="563563"/>
                  </a:cubicBezTo>
                  <a:cubicBezTo>
                    <a:pt x="18454123" y="581147"/>
                    <a:pt x="18391600" y="536209"/>
                    <a:pt x="18469754" y="622178"/>
                  </a:cubicBezTo>
                  <a:cubicBezTo>
                    <a:pt x="18547908" y="708147"/>
                    <a:pt x="18721800" y="876178"/>
                    <a:pt x="18903508" y="1079378"/>
                  </a:cubicBezTo>
                  <a:cubicBezTo>
                    <a:pt x="19085216" y="1282578"/>
                    <a:pt x="19433001" y="1690932"/>
                    <a:pt x="19560001" y="1841378"/>
                  </a:cubicBezTo>
                  <a:cubicBezTo>
                    <a:pt x="19687001" y="1991824"/>
                    <a:pt x="19614708" y="1941024"/>
                    <a:pt x="19665508" y="1982055"/>
                  </a:cubicBezTo>
                  <a:cubicBezTo>
                    <a:pt x="19716308" y="2023086"/>
                    <a:pt x="19817909" y="2048486"/>
                    <a:pt x="19864801" y="2087563"/>
                  </a:cubicBezTo>
                  <a:cubicBezTo>
                    <a:pt x="19911693" y="2126640"/>
                    <a:pt x="19939047" y="2163763"/>
                    <a:pt x="19946862" y="2216517"/>
                  </a:cubicBezTo>
                  <a:cubicBezTo>
                    <a:pt x="19954677" y="2269271"/>
                    <a:pt x="19909828" y="2318028"/>
                    <a:pt x="19911693" y="2404086"/>
                  </a:cubicBezTo>
                  <a:cubicBezTo>
                    <a:pt x="19913558" y="2490144"/>
                    <a:pt x="19956187" y="2627713"/>
                    <a:pt x="19958052" y="2732865"/>
                  </a:cubicBezTo>
                  <a:cubicBezTo>
                    <a:pt x="19959917" y="2838017"/>
                    <a:pt x="19916934" y="2947166"/>
                    <a:pt x="19922884" y="3035000"/>
                  </a:cubicBezTo>
                  <a:cubicBezTo>
                    <a:pt x="19928834" y="3122834"/>
                    <a:pt x="19983896" y="3193085"/>
                    <a:pt x="19993754" y="3259871"/>
                  </a:cubicBezTo>
                  <a:cubicBezTo>
                    <a:pt x="20003612" y="3326657"/>
                    <a:pt x="19987182" y="3373993"/>
                    <a:pt x="19982031" y="3435717"/>
                  </a:cubicBezTo>
                  <a:cubicBezTo>
                    <a:pt x="19976880" y="3497441"/>
                    <a:pt x="19965157" y="3587230"/>
                    <a:pt x="19962849" y="3630214"/>
                  </a:cubicBezTo>
                  <a:cubicBezTo>
                    <a:pt x="19960541" y="3673198"/>
                    <a:pt x="20082388" y="3675240"/>
                    <a:pt x="20134431" y="3693624"/>
                  </a:cubicBezTo>
                  <a:cubicBezTo>
                    <a:pt x="20186474" y="3712008"/>
                    <a:pt x="20239939" y="3717071"/>
                    <a:pt x="20275108" y="3740517"/>
                  </a:cubicBezTo>
                  <a:cubicBezTo>
                    <a:pt x="20310277" y="3763963"/>
                    <a:pt x="20331770" y="3791317"/>
                    <a:pt x="20345447" y="3834301"/>
                  </a:cubicBezTo>
                  <a:cubicBezTo>
                    <a:pt x="20359124" y="3877285"/>
                    <a:pt x="20359124" y="3937855"/>
                    <a:pt x="20357170" y="3998424"/>
                  </a:cubicBezTo>
                  <a:cubicBezTo>
                    <a:pt x="20355216" y="4058993"/>
                    <a:pt x="20347402" y="4133240"/>
                    <a:pt x="20333725" y="4197717"/>
                  </a:cubicBezTo>
                  <a:cubicBezTo>
                    <a:pt x="20320048" y="4262194"/>
                    <a:pt x="20302462" y="4348163"/>
                    <a:pt x="20275108" y="4385286"/>
                  </a:cubicBezTo>
                  <a:cubicBezTo>
                    <a:pt x="20247754" y="4422409"/>
                    <a:pt x="20200863" y="4361840"/>
                    <a:pt x="20169601" y="4420455"/>
                  </a:cubicBezTo>
                  <a:cubicBezTo>
                    <a:pt x="20138340" y="4479070"/>
                    <a:pt x="20091271" y="4653496"/>
                    <a:pt x="20087539" y="4736978"/>
                  </a:cubicBezTo>
                  <a:cubicBezTo>
                    <a:pt x="20083807" y="4820460"/>
                    <a:pt x="20093933" y="5063448"/>
                    <a:pt x="20064093" y="5170732"/>
                  </a:cubicBezTo>
                  <a:cubicBezTo>
                    <a:pt x="20034253" y="5278016"/>
                    <a:pt x="20159831" y="5409101"/>
                    <a:pt x="20157877" y="5463809"/>
                  </a:cubicBezTo>
                  <a:cubicBezTo>
                    <a:pt x="20155923" y="5518517"/>
                    <a:pt x="20153970" y="5489209"/>
                    <a:pt x="20052370" y="5498978"/>
                  </a:cubicBezTo>
                  <a:cubicBezTo>
                    <a:pt x="19950770" y="5508747"/>
                    <a:pt x="19647923" y="5481393"/>
                    <a:pt x="19548277" y="5522424"/>
                  </a:cubicBezTo>
                  <a:cubicBezTo>
                    <a:pt x="19448631" y="5563455"/>
                    <a:pt x="19497477" y="5704132"/>
                    <a:pt x="19454493" y="5745163"/>
                  </a:cubicBezTo>
                  <a:cubicBezTo>
                    <a:pt x="19411509" y="5786194"/>
                    <a:pt x="19290370" y="5768609"/>
                    <a:pt x="19290370" y="5768609"/>
                  </a:cubicBezTo>
                  <a:cubicBezTo>
                    <a:pt x="19085216" y="5770563"/>
                    <a:pt x="18401370" y="5790101"/>
                    <a:pt x="18223570" y="5756886"/>
                  </a:cubicBezTo>
                  <a:cubicBezTo>
                    <a:pt x="18045770" y="5723671"/>
                    <a:pt x="18238402" y="5777846"/>
                    <a:pt x="18223570" y="5569317"/>
                  </a:cubicBezTo>
                  <a:cubicBezTo>
                    <a:pt x="18208738" y="5360788"/>
                    <a:pt x="18113444" y="4949948"/>
                    <a:pt x="18009890" y="4713532"/>
                  </a:cubicBezTo>
                  <a:cubicBezTo>
                    <a:pt x="17906336" y="4477117"/>
                    <a:pt x="17746387" y="4295409"/>
                    <a:pt x="17602247" y="4150824"/>
                  </a:cubicBezTo>
                  <a:cubicBezTo>
                    <a:pt x="17458107" y="4006239"/>
                    <a:pt x="17326578" y="3933059"/>
                    <a:pt x="17145047" y="3846024"/>
                  </a:cubicBezTo>
                  <a:cubicBezTo>
                    <a:pt x="16963516" y="3758989"/>
                    <a:pt x="16637047" y="3670889"/>
                    <a:pt x="16429939" y="3670178"/>
                  </a:cubicBezTo>
                  <a:cubicBezTo>
                    <a:pt x="16222831" y="3669467"/>
                    <a:pt x="16076293" y="3667514"/>
                    <a:pt x="15902401" y="3717071"/>
                  </a:cubicBezTo>
                  <a:cubicBezTo>
                    <a:pt x="15728509" y="3766628"/>
                    <a:pt x="15542893" y="3856149"/>
                    <a:pt x="15386585" y="3967518"/>
                  </a:cubicBezTo>
                  <a:cubicBezTo>
                    <a:pt x="15230277" y="4078887"/>
                    <a:pt x="15084893" y="4225781"/>
                    <a:pt x="14964554" y="4385286"/>
                  </a:cubicBezTo>
                  <a:cubicBezTo>
                    <a:pt x="14844215" y="4544791"/>
                    <a:pt x="14727961" y="4744615"/>
                    <a:pt x="14664550" y="4924547"/>
                  </a:cubicBezTo>
                  <a:cubicBezTo>
                    <a:pt x="14601139" y="5104479"/>
                    <a:pt x="14562862" y="5243025"/>
                    <a:pt x="14542524" y="5381748"/>
                  </a:cubicBezTo>
                  <a:cubicBezTo>
                    <a:pt x="14522186" y="5520471"/>
                    <a:pt x="14540570" y="5657240"/>
                    <a:pt x="14542524" y="5756886"/>
                  </a:cubicBezTo>
                  <a:cubicBezTo>
                    <a:pt x="14544478" y="5856532"/>
                    <a:pt x="14565970" y="5938593"/>
                    <a:pt x="14554247" y="5979624"/>
                  </a:cubicBezTo>
                  <a:cubicBezTo>
                    <a:pt x="14542524" y="6020655"/>
                    <a:pt x="14552293" y="5999163"/>
                    <a:pt x="14472185" y="6003071"/>
                  </a:cubicBezTo>
                  <a:cubicBezTo>
                    <a:pt x="14392077" y="6006979"/>
                    <a:pt x="14073601" y="6003071"/>
                    <a:pt x="14073601" y="6003071"/>
                  </a:cubicBezTo>
                  <a:lnTo>
                    <a:pt x="11693816" y="6026517"/>
                  </a:lnTo>
                  <a:lnTo>
                    <a:pt x="7121816" y="6026517"/>
                  </a:lnTo>
                  <a:cubicBezTo>
                    <a:pt x="6060878" y="6020656"/>
                    <a:pt x="5318416" y="6055825"/>
                    <a:pt x="5328185" y="5991348"/>
                  </a:cubicBezTo>
                  <a:cubicBezTo>
                    <a:pt x="5337954" y="5926871"/>
                    <a:pt x="5363353" y="5708040"/>
                    <a:pt x="5351631" y="5498978"/>
                  </a:cubicBezTo>
                  <a:cubicBezTo>
                    <a:pt x="5339909" y="5289916"/>
                    <a:pt x="5310600" y="4928455"/>
                    <a:pt x="5187508" y="4666640"/>
                  </a:cubicBezTo>
                  <a:cubicBezTo>
                    <a:pt x="5064416" y="4404825"/>
                    <a:pt x="4843631" y="4101979"/>
                    <a:pt x="4613077" y="3928087"/>
                  </a:cubicBezTo>
                  <a:cubicBezTo>
                    <a:pt x="4382523" y="3754195"/>
                    <a:pt x="4060139" y="3664317"/>
                    <a:pt x="3804185" y="3623286"/>
                  </a:cubicBezTo>
                  <a:cubicBezTo>
                    <a:pt x="3548231" y="3582255"/>
                    <a:pt x="3298140" y="3621332"/>
                    <a:pt x="3077355" y="3681901"/>
                  </a:cubicBezTo>
                  <a:cubicBezTo>
                    <a:pt x="2856570" y="3742470"/>
                    <a:pt x="2661185" y="3838209"/>
                    <a:pt x="2479477" y="3986701"/>
                  </a:cubicBezTo>
                  <a:cubicBezTo>
                    <a:pt x="2297769" y="4135193"/>
                    <a:pt x="2100431" y="4379424"/>
                    <a:pt x="1987108" y="4572855"/>
                  </a:cubicBezTo>
                  <a:cubicBezTo>
                    <a:pt x="1873785" y="4766286"/>
                    <a:pt x="1832754" y="4953855"/>
                    <a:pt x="1799539" y="5147286"/>
                  </a:cubicBezTo>
                  <a:cubicBezTo>
                    <a:pt x="1766324" y="5340717"/>
                    <a:pt x="1791724" y="5602532"/>
                    <a:pt x="1787816" y="5733440"/>
                  </a:cubicBezTo>
                  <a:cubicBezTo>
                    <a:pt x="1783908" y="5864348"/>
                    <a:pt x="1799539" y="5897563"/>
                    <a:pt x="1776093" y="5932732"/>
                  </a:cubicBezTo>
                  <a:cubicBezTo>
                    <a:pt x="1752647" y="5967901"/>
                    <a:pt x="1824939" y="5946409"/>
                    <a:pt x="1647139" y="5944455"/>
                  </a:cubicBezTo>
                  <a:cubicBezTo>
                    <a:pt x="1469339" y="5942501"/>
                    <a:pt x="891001" y="5928824"/>
                    <a:pt x="709293" y="5921009"/>
                  </a:cubicBezTo>
                  <a:cubicBezTo>
                    <a:pt x="527585" y="5913194"/>
                    <a:pt x="595970" y="5919055"/>
                    <a:pt x="556893" y="5897563"/>
                  </a:cubicBezTo>
                  <a:cubicBezTo>
                    <a:pt x="517816" y="5876071"/>
                    <a:pt x="500231" y="5819409"/>
                    <a:pt x="474831" y="5792055"/>
                  </a:cubicBezTo>
                  <a:cubicBezTo>
                    <a:pt x="449431" y="5764701"/>
                    <a:pt x="439662" y="5770563"/>
                    <a:pt x="404493" y="5733440"/>
                  </a:cubicBezTo>
                  <a:cubicBezTo>
                    <a:pt x="369324" y="5696317"/>
                    <a:pt x="263816" y="5604486"/>
                    <a:pt x="263816" y="5569317"/>
                  </a:cubicBezTo>
                  <a:cubicBezTo>
                    <a:pt x="263816" y="5534148"/>
                    <a:pt x="392770" y="5547824"/>
                    <a:pt x="404493" y="5522424"/>
                  </a:cubicBezTo>
                  <a:cubicBezTo>
                    <a:pt x="416216" y="5497024"/>
                    <a:pt x="361508" y="5500932"/>
                    <a:pt x="334154" y="5416917"/>
                  </a:cubicBezTo>
                  <a:cubicBezTo>
                    <a:pt x="306800" y="5332902"/>
                    <a:pt x="240370" y="5018332"/>
                    <a:pt x="240370" y="5018332"/>
                  </a:cubicBezTo>
                  <a:cubicBezTo>
                    <a:pt x="218878" y="4944086"/>
                    <a:pt x="232555" y="4981209"/>
                    <a:pt x="205201" y="4971440"/>
                  </a:cubicBezTo>
                  <a:cubicBezTo>
                    <a:pt x="177847" y="4961671"/>
                    <a:pt x="101647" y="4983163"/>
                    <a:pt x="76247" y="4959717"/>
                  </a:cubicBezTo>
                  <a:cubicBezTo>
                    <a:pt x="50847" y="4936271"/>
                    <a:pt x="64524" y="4928455"/>
                    <a:pt x="52801" y="4830763"/>
                  </a:cubicBezTo>
                  <a:cubicBezTo>
                    <a:pt x="41078" y="4733071"/>
                    <a:pt x="11770" y="4461486"/>
                    <a:pt x="5908" y="4373563"/>
                  </a:cubicBezTo>
                  <a:cubicBezTo>
                    <a:pt x="46" y="4285640"/>
                    <a:pt x="-7769" y="4320809"/>
                    <a:pt x="17631" y="4303224"/>
                  </a:cubicBezTo>
                  <a:cubicBezTo>
                    <a:pt x="43031" y="4285639"/>
                    <a:pt x="121185" y="4295409"/>
                    <a:pt x="158308" y="4268055"/>
                  </a:cubicBezTo>
                  <a:cubicBezTo>
                    <a:pt x="195431" y="4240701"/>
                    <a:pt x="232555" y="4191855"/>
                    <a:pt x="240370" y="4139101"/>
                  </a:cubicBezTo>
                  <a:cubicBezTo>
                    <a:pt x="248185" y="4086347"/>
                    <a:pt x="213016" y="4039455"/>
                    <a:pt x="205201" y="3951532"/>
                  </a:cubicBezTo>
                  <a:cubicBezTo>
                    <a:pt x="197385" y="3863609"/>
                    <a:pt x="168077" y="3724886"/>
                    <a:pt x="193477" y="3611563"/>
                  </a:cubicBezTo>
                  <a:cubicBezTo>
                    <a:pt x="218877" y="3498240"/>
                    <a:pt x="197386" y="3398594"/>
                    <a:pt x="357601" y="3271594"/>
                  </a:cubicBezTo>
                  <a:cubicBezTo>
                    <a:pt x="517816" y="3144594"/>
                    <a:pt x="863647" y="2958978"/>
                    <a:pt x="1154770" y="2849563"/>
                  </a:cubicBezTo>
                  <a:cubicBezTo>
                    <a:pt x="1445893" y="2740148"/>
                    <a:pt x="1666678" y="2703024"/>
                    <a:pt x="2104339" y="2615101"/>
                  </a:cubicBezTo>
                  <a:cubicBezTo>
                    <a:pt x="2542000" y="2527178"/>
                    <a:pt x="3264924" y="2398224"/>
                    <a:pt x="3780739" y="2322024"/>
                  </a:cubicBezTo>
                  <a:cubicBezTo>
                    <a:pt x="4296554" y="2245824"/>
                    <a:pt x="4900293" y="2189162"/>
                    <a:pt x="5199231" y="2157901"/>
                  </a:cubicBezTo>
                  <a:cubicBezTo>
                    <a:pt x="5498169" y="2126640"/>
                    <a:pt x="5486447" y="2136409"/>
                    <a:pt x="5574370" y="2134455"/>
                  </a:cubicBezTo>
                  <a:cubicBezTo>
                    <a:pt x="5662293" y="2132501"/>
                    <a:pt x="5666201" y="2128593"/>
                    <a:pt x="5726770" y="2146178"/>
                  </a:cubicBezTo>
                  <a:cubicBezTo>
                    <a:pt x="5787339" y="2163763"/>
                    <a:pt x="5901728" y="2257281"/>
                    <a:pt x="5972421" y="2219181"/>
                  </a:cubicBezTo>
                  <a:close/>
                </a:path>
              </a:pathLst>
            </a:custGeom>
            <a:solidFill>
              <a:schemeClr val="accent1">
                <a:lumMod val="20000"/>
                <a:lumOff val="80000"/>
              </a:schemeClr>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p:cNvSpPr/>
            <p:nvPr/>
          </p:nvSpPr>
          <p:spPr bwMode="auto">
            <a:xfrm>
              <a:off x="3097263" y="2850856"/>
              <a:ext cx="1033331" cy="1033330"/>
            </a:xfrm>
            <a:prstGeom prst="ellipse">
              <a:avLst/>
            </a:prstGeom>
            <a:solidFill>
              <a:schemeClr val="bg1"/>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7421535" y="2850856"/>
              <a:ext cx="1033331" cy="1033330"/>
            </a:xfrm>
            <a:prstGeom prst="ellipse">
              <a:avLst/>
            </a:prstGeom>
            <a:solidFill>
              <a:schemeClr val="bg1"/>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p:cNvCxnSpPr/>
            <p:nvPr/>
          </p:nvCxnSpPr>
          <p:spPr>
            <a:xfrm flipV="1">
              <a:off x="3020769" y="3524787"/>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3" name="Straight Connector 22"/>
            <p:cNvCxnSpPr/>
            <p:nvPr/>
          </p:nvCxnSpPr>
          <p:spPr>
            <a:xfrm flipV="1">
              <a:off x="4110564" y="3524787"/>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4" name="Straight Connector 23"/>
            <p:cNvCxnSpPr/>
            <p:nvPr/>
          </p:nvCxnSpPr>
          <p:spPr>
            <a:xfrm flipV="1">
              <a:off x="8447117" y="3505005"/>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5" name="Straight Connector 24"/>
            <p:cNvCxnSpPr/>
            <p:nvPr/>
          </p:nvCxnSpPr>
          <p:spPr>
            <a:xfrm flipV="1">
              <a:off x="7318255" y="3516874"/>
              <a:ext cx="111028" cy="4282"/>
            </a:xfrm>
            <a:prstGeom prst="line">
              <a:avLst/>
            </a:prstGeom>
            <a:noFill/>
            <a:ln w="9525" cap="rnd" cmpd="sng" algn="ctr">
              <a:solidFill>
                <a:schemeClr val="bg1">
                  <a:lumMod val="50000"/>
                </a:schemeClr>
              </a:solidFill>
              <a:prstDash val="solid"/>
              <a:headEnd type="none"/>
              <a:tailEnd type="none"/>
            </a:ln>
            <a:effectLst/>
          </p:spPr>
        </p:cxnSp>
        <p:sp>
          <p:nvSpPr>
            <p:cNvPr id="26" name="Freeform: Shape 25"/>
            <p:cNvSpPr/>
            <p:nvPr/>
          </p:nvSpPr>
          <p:spPr bwMode="auto">
            <a:xfrm>
              <a:off x="4224355" y="3283448"/>
              <a:ext cx="3117622" cy="119835"/>
            </a:xfrm>
            <a:custGeom>
              <a:avLst/>
              <a:gdLst>
                <a:gd name="connsiteX0" fmla="*/ 0 w 9237785"/>
                <a:gd name="connsiteY0" fmla="*/ 152400 h 366891"/>
                <a:gd name="connsiteX1" fmla="*/ 4525108 w 9237785"/>
                <a:gd name="connsiteY1" fmla="*/ 363416 h 366891"/>
                <a:gd name="connsiteX2" fmla="*/ 9237785 w 9237785"/>
                <a:gd name="connsiteY2" fmla="*/ 0 h 366891"/>
                <a:gd name="connsiteX0" fmla="*/ 0 w 9237785"/>
                <a:gd name="connsiteY0" fmla="*/ 152400 h 374275"/>
                <a:gd name="connsiteX1" fmla="*/ 4525108 w 9237785"/>
                <a:gd name="connsiteY1" fmla="*/ 363416 h 374275"/>
                <a:gd name="connsiteX2" fmla="*/ 9237785 w 9237785"/>
                <a:gd name="connsiteY2" fmla="*/ 0 h 374275"/>
                <a:gd name="connsiteX0" fmla="*/ 0 w 9237785"/>
                <a:gd name="connsiteY0" fmla="*/ 152400 h 389310"/>
                <a:gd name="connsiteX1" fmla="*/ 4525108 w 9237785"/>
                <a:gd name="connsiteY1" fmla="*/ 363416 h 389310"/>
                <a:gd name="connsiteX2" fmla="*/ 9237785 w 9237785"/>
                <a:gd name="connsiteY2" fmla="*/ 0 h 389310"/>
                <a:gd name="connsiteX0" fmla="*/ 0 w 9237785"/>
                <a:gd name="connsiteY0" fmla="*/ 152400 h 361897"/>
                <a:gd name="connsiteX1" fmla="*/ 4513385 w 9237785"/>
                <a:gd name="connsiteY1" fmla="*/ 328247 h 361897"/>
                <a:gd name="connsiteX2" fmla="*/ 9237785 w 9237785"/>
                <a:gd name="connsiteY2" fmla="*/ 0 h 361897"/>
                <a:gd name="connsiteX0" fmla="*/ 0 w 9237785"/>
                <a:gd name="connsiteY0" fmla="*/ 175846 h 355082"/>
                <a:gd name="connsiteX1" fmla="*/ 4513385 w 9237785"/>
                <a:gd name="connsiteY1" fmla="*/ 328247 h 355082"/>
                <a:gd name="connsiteX2" fmla="*/ 9237785 w 9237785"/>
                <a:gd name="connsiteY2" fmla="*/ 0 h 355082"/>
              </a:gdLst>
              <a:ahLst/>
              <a:cxnLst>
                <a:cxn ang="0">
                  <a:pos x="connsiteX0" y="connsiteY0"/>
                </a:cxn>
                <a:cxn ang="0">
                  <a:pos x="connsiteX1" y="connsiteY1"/>
                </a:cxn>
                <a:cxn ang="0">
                  <a:pos x="connsiteX2" y="connsiteY2"/>
                </a:cxn>
              </a:cxnLst>
              <a:rect l="l" t="t" r="r" b="b"/>
              <a:pathLst>
                <a:path w="9237785" h="355082">
                  <a:moveTo>
                    <a:pt x="0" y="175846"/>
                  </a:moveTo>
                  <a:cubicBezTo>
                    <a:pt x="1445846" y="411285"/>
                    <a:pt x="2973754" y="357555"/>
                    <a:pt x="4513385" y="328247"/>
                  </a:cubicBezTo>
                  <a:cubicBezTo>
                    <a:pt x="6053016" y="298939"/>
                    <a:pt x="7651262" y="169008"/>
                    <a:pt x="9237785"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p:cNvSpPr/>
            <p:nvPr/>
          </p:nvSpPr>
          <p:spPr bwMode="auto">
            <a:xfrm>
              <a:off x="5427700" y="2237027"/>
              <a:ext cx="1339388" cy="1086482"/>
            </a:xfrm>
            <a:custGeom>
              <a:avLst/>
              <a:gdLst>
                <a:gd name="connsiteX0" fmla="*/ 2757283 w 3969686"/>
                <a:gd name="connsiteY0" fmla="*/ 2967952 h 3226746"/>
                <a:gd name="connsiteX1" fmla="*/ 2978956 w 3969686"/>
                <a:gd name="connsiteY1" fmla="*/ 2386061 h 3226746"/>
                <a:gd name="connsiteX2" fmla="*/ 3269901 w 3969686"/>
                <a:gd name="connsiteY2" fmla="*/ 1630988 h 3226746"/>
                <a:gd name="connsiteX3" fmla="*/ 3740956 w 3969686"/>
                <a:gd name="connsiteY3" fmla="*/ 785861 h 3226746"/>
                <a:gd name="connsiteX4" fmla="*/ 3782519 w 3969686"/>
                <a:gd name="connsiteY4" fmla="*/ 688879 h 3226746"/>
                <a:gd name="connsiteX5" fmla="*/ 3837937 w 3969686"/>
                <a:gd name="connsiteY5" fmla="*/ 640388 h 3226746"/>
                <a:gd name="connsiteX6" fmla="*/ 3921065 w 3969686"/>
                <a:gd name="connsiteY6" fmla="*/ 404861 h 3226746"/>
                <a:gd name="connsiteX7" fmla="*/ 3969556 w 3969686"/>
                <a:gd name="connsiteY7" fmla="*/ 93133 h 3226746"/>
                <a:gd name="connsiteX8" fmla="*/ 3907210 w 3969686"/>
                <a:gd name="connsiteY8" fmla="*/ 51570 h 3226746"/>
                <a:gd name="connsiteX9" fmla="*/ 3692465 w 3969686"/>
                <a:gd name="connsiteY9" fmla="*/ 3079 h 3226746"/>
                <a:gd name="connsiteX10" fmla="*/ 3477719 w 3969686"/>
                <a:gd name="connsiteY10" fmla="*/ 16933 h 3226746"/>
                <a:gd name="connsiteX11" fmla="*/ 3401519 w 3969686"/>
                <a:gd name="connsiteY11" fmla="*/ 113915 h 3226746"/>
                <a:gd name="connsiteX12" fmla="*/ 3304537 w 3969686"/>
                <a:gd name="connsiteY12" fmla="*/ 377152 h 3226746"/>
                <a:gd name="connsiteX13" fmla="*/ 3159065 w 3969686"/>
                <a:gd name="connsiteY13" fmla="*/ 605752 h 3226746"/>
                <a:gd name="connsiteX14" fmla="*/ 2888901 w 3969686"/>
                <a:gd name="connsiteY14" fmla="*/ 979824 h 3226746"/>
                <a:gd name="connsiteX15" fmla="*/ 2549465 w 3969686"/>
                <a:gd name="connsiteY15" fmla="*/ 1360824 h 3226746"/>
                <a:gd name="connsiteX16" fmla="*/ 2320865 w 3969686"/>
                <a:gd name="connsiteY16" fmla="*/ 1644842 h 3226746"/>
                <a:gd name="connsiteX17" fmla="*/ 2168465 w 3969686"/>
                <a:gd name="connsiteY17" fmla="*/ 2102042 h 3226746"/>
                <a:gd name="connsiteX18" fmla="*/ 2196174 w 3969686"/>
                <a:gd name="connsiteY18" fmla="*/ 2531533 h 3226746"/>
                <a:gd name="connsiteX19" fmla="*/ 2272374 w 3969686"/>
                <a:gd name="connsiteY19" fmla="*/ 2767061 h 3226746"/>
                <a:gd name="connsiteX20" fmla="*/ 2272374 w 3969686"/>
                <a:gd name="connsiteY20" fmla="*/ 2787842 h 3226746"/>
                <a:gd name="connsiteX21" fmla="*/ 2230810 w 3969686"/>
                <a:gd name="connsiteY21" fmla="*/ 2760133 h 3226746"/>
                <a:gd name="connsiteX22" fmla="*/ 1856737 w 3969686"/>
                <a:gd name="connsiteY22" fmla="*/ 2621588 h 3226746"/>
                <a:gd name="connsiteX23" fmla="*/ 1420319 w 3969686"/>
                <a:gd name="connsiteY23" fmla="*/ 2427624 h 3226746"/>
                <a:gd name="connsiteX24" fmla="*/ 1032392 w 3969686"/>
                <a:gd name="connsiteY24" fmla="*/ 2275224 h 3226746"/>
                <a:gd name="connsiteX25" fmla="*/ 727592 w 3969686"/>
                <a:gd name="connsiteY25" fmla="*/ 2219806 h 3226746"/>
                <a:gd name="connsiteX26" fmla="*/ 443574 w 3969686"/>
                <a:gd name="connsiteY26" fmla="*/ 2233661 h 3226746"/>
                <a:gd name="connsiteX27" fmla="*/ 249610 w 3969686"/>
                <a:gd name="connsiteY27" fmla="*/ 2302933 h 3226746"/>
                <a:gd name="connsiteX28" fmla="*/ 173410 w 3969686"/>
                <a:gd name="connsiteY28" fmla="*/ 2309861 h 3226746"/>
                <a:gd name="connsiteX29" fmla="*/ 83356 w 3969686"/>
                <a:gd name="connsiteY29" fmla="*/ 2302933 h 3226746"/>
                <a:gd name="connsiteX30" fmla="*/ 7156 w 3969686"/>
                <a:gd name="connsiteY30" fmla="*/ 2358352 h 3226746"/>
                <a:gd name="connsiteX31" fmla="*/ 7156 w 3969686"/>
                <a:gd name="connsiteY31" fmla="*/ 2573097 h 3226746"/>
                <a:gd name="connsiteX32" fmla="*/ 41792 w 3969686"/>
                <a:gd name="connsiteY32" fmla="*/ 2780915 h 3226746"/>
                <a:gd name="connsiteX33" fmla="*/ 48719 w 3969686"/>
                <a:gd name="connsiteY33" fmla="*/ 2850188 h 3226746"/>
                <a:gd name="connsiteX34" fmla="*/ 152628 w 3969686"/>
                <a:gd name="connsiteY34" fmla="*/ 2870970 h 3226746"/>
                <a:gd name="connsiteX35" fmla="*/ 803792 w 3969686"/>
                <a:gd name="connsiteY35" fmla="*/ 2954097 h 3226746"/>
                <a:gd name="connsiteX36" fmla="*/ 1822101 w 3969686"/>
                <a:gd name="connsiteY36" fmla="*/ 3099570 h 3226746"/>
                <a:gd name="connsiteX37" fmla="*/ 2376283 w 3969686"/>
                <a:gd name="connsiteY37" fmla="*/ 3189624 h 3226746"/>
                <a:gd name="connsiteX38" fmla="*/ 2701865 w 3969686"/>
                <a:gd name="connsiteY38" fmla="*/ 3224261 h 3226746"/>
                <a:gd name="connsiteX39" fmla="*/ 2743428 w 3969686"/>
                <a:gd name="connsiteY39" fmla="*/ 3127279 h 3226746"/>
                <a:gd name="connsiteX40" fmla="*/ 2757283 w 3969686"/>
                <a:gd name="connsiteY40" fmla="*/ 2967952 h 3226746"/>
                <a:gd name="connsiteX0" fmla="*/ 2756944 w 3969347"/>
                <a:gd name="connsiteY0" fmla="*/ 2967952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56944 w 3969347"/>
                <a:gd name="connsiteY40" fmla="*/ 2967952 h 3226746"/>
                <a:gd name="connsiteX0" fmla="*/ 2770799 w 3969347"/>
                <a:gd name="connsiteY0" fmla="*/ 2961024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70799 w 3969347"/>
                <a:gd name="connsiteY40" fmla="*/ 2961024 h 3226746"/>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88562 w 3969347"/>
                <a:gd name="connsiteY14" fmla="*/ 979824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42466 w 3968724"/>
                <a:gd name="connsiteY39" fmla="*/ 3127279 h 3220325"/>
                <a:gd name="connsiteX40" fmla="*/ 2770176 w 3968724"/>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18836"/>
                <a:gd name="connsiteX1" fmla="*/ 2971067 w 3968724"/>
                <a:gd name="connsiteY1" fmla="*/ 2392988 h 3218836"/>
                <a:gd name="connsiteX2" fmla="*/ 3268939 w 3968724"/>
                <a:gd name="connsiteY2" fmla="*/ 1630988 h 3218836"/>
                <a:gd name="connsiteX3" fmla="*/ 3739994 w 3968724"/>
                <a:gd name="connsiteY3" fmla="*/ 785861 h 3218836"/>
                <a:gd name="connsiteX4" fmla="*/ 3781557 w 3968724"/>
                <a:gd name="connsiteY4" fmla="*/ 688879 h 3218836"/>
                <a:gd name="connsiteX5" fmla="*/ 3836975 w 3968724"/>
                <a:gd name="connsiteY5" fmla="*/ 640388 h 3218836"/>
                <a:gd name="connsiteX6" fmla="*/ 3920103 w 3968724"/>
                <a:gd name="connsiteY6" fmla="*/ 404861 h 3218836"/>
                <a:gd name="connsiteX7" fmla="*/ 3968594 w 3968724"/>
                <a:gd name="connsiteY7" fmla="*/ 93133 h 3218836"/>
                <a:gd name="connsiteX8" fmla="*/ 3906248 w 3968724"/>
                <a:gd name="connsiteY8" fmla="*/ 51570 h 3218836"/>
                <a:gd name="connsiteX9" fmla="*/ 3691503 w 3968724"/>
                <a:gd name="connsiteY9" fmla="*/ 3079 h 3218836"/>
                <a:gd name="connsiteX10" fmla="*/ 3476757 w 3968724"/>
                <a:gd name="connsiteY10" fmla="*/ 16933 h 3218836"/>
                <a:gd name="connsiteX11" fmla="*/ 3400557 w 3968724"/>
                <a:gd name="connsiteY11" fmla="*/ 113915 h 3218836"/>
                <a:gd name="connsiteX12" fmla="*/ 3289720 w 3968724"/>
                <a:gd name="connsiteY12" fmla="*/ 370225 h 3218836"/>
                <a:gd name="connsiteX13" fmla="*/ 3158103 w 3968724"/>
                <a:gd name="connsiteY13" fmla="*/ 605752 h 3218836"/>
                <a:gd name="connsiteX14" fmla="*/ 2867157 w 3968724"/>
                <a:gd name="connsiteY14" fmla="*/ 972897 h 3218836"/>
                <a:gd name="connsiteX15" fmla="*/ 2548503 w 3968724"/>
                <a:gd name="connsiteY15" fmla="*/ 1360824 h 3218836"/>
                <a:gd name="connsiteX16" fmla="*/ 2319903 w 3968724"/>
                <a:gd name="connsiteY16" fmla="*/ 1644842 h 3218836"/>
                <a:gd name="connsiteX17" fmla="*/ 2167503 w 3968724"/>
                <a:gd name="connsiteY17" fmla="*/ 2102042 h 3218836"/>
                <a:gd name="connsiteX18" fmla="*/ 2195212 w 3968724"/>
                <a:gd name="connsiteY18" fmla="*/ 2531533 h 3218836"/>
                <a:gd name="connsiteX19" fmla="*/ 2271412 w 3968724"/>
                <a:gd name="connsiteY19" fmla="*/ 2767061 h 3218836"/>
                <a:gd name="connsiteX20" fmla="*/ 2271412 w 3968724"/>
                <a:gd name="connsiteY20" fmla="*/ 2787842 h 3218836"/>
                <a:gd name="connsiteX21" fmla="*/ 2229848 w 3968724"/>
                <a:gd name="connsiteY21" fmla="*/ 2760133 h 3218836"/>
                <a:gd name="connsiteX22" fmla="*/ 1855775 w 3968724"/>
                <a:gd name="connsiteY22" fmla="*/ 2621588 h 3218836"/>
                <a:gd name="connsiteX23" fmla="*/ 1419357 w 3968724"/>
                <a:gd name="connsiteY23" fmla="*/ 2427624 h 3218836"/>
                <a:gd name="connsiteX24" fmla="*/ 1031430 w 3968724"/>
                <a:gd name="connsiteY24" fmla="*/ 2275224 h 3218836"/>
                <a:gd name="connsiteX25" fmla="*/ 726630 w 3968724"/>
                <a:gd name="connsiteY25" fmla="*/ 2219806 h 3218836"/>
                <a:gd name="connsiteX26" fmla="*/ 442612 w 3968724"/>
                <a:gd name="connsiteY26" fmla="*/ 2233661 h 3218836"/>
                <a:gd name="connsiteX27" fmla="*/ 248648 w 3968724"/>
                <a:gd name="connsiteY27" fmla="*/ 2302933 h 3218836"/>
                <a:gd name="connsiteX28" fmla="*/ 172448 w 3968724"/>
                <a:gd name="connsiteY28" fmla="*/ 2309861 h 3218836"/>
                <a:gd name="connsiteX29" fmla="*/ 82394 w 3968724"/>
                <a:gd name="connsiteY29" fmla="*/ 2302933 h 3218836"/>
                <a:gd name="connsiteX30" fmla="*/ 6194 w 3968724"/>
                <a:gd name="connsiteY30" fmla="*/ 2358352 h 3218836"/>
                <a:gd name="connsiteX31" fmla="*/ 6194 w 3968724"/>
                <a:gd name="connsiteY31" fmla="*/ 2573097 h 3218836"/>
                <a:gd name="connsiteX32" fmla="*/ 20047 w 3968724"/>
                <a:gd name="connsiteY32" fmla="*/ 2746279 h 3218836"/>
                <a:gd name="connsiteX33" fmla="*/ 47757 w 3968724"/>
                <a:gd name="connsiteY33" fmla="*/ 2850188 h 3218836"/>
                <a:gd name="connsiteX34" fmla="*/ 151666 w 3968724"/>
                <a:gd name="connsiteY34" fmla="*/ 2870970 h 3218836"/>
                <a:gd name="connsiteX35" fmla="*/ 802830 w 3968724"/>
                <a:gd name="connsiteY35" fmla="*/ 2954097 h 3218836"/>
                <a:gd name="connsiteX36" fmla="*/ 1821139 w 3968724"/>
                <a:gd name="connsiteY36" fmla="*/ 3099570 h 3218836"/>
                <a:gd name="connsiteX37" fmla="*/ 2375321 w 3968724"/>
                <a:gd name="connsiteY37" fmla="*/ 3161915 h 3218836"/>
                <a:gd name="connsiteX38" fmla="*/ 2680121 w 3968724"/>
                <a:gd name="connsiteY38" fmla="*/ 3217333 h 3218836"/>
                <a:gd name="connsiteX39" fmla="*/ 2770176 w 3968724"/>
                <a:gd name="connsiteY39" fmla="*/ 2961024 h 3218836"/>
                <a:gd name="connsiteX0" fmla="*/ 2770176 w 3968724"/>
                <a:gd name="connsiteY0" fmla="*/ 2961024 h 3219342"/>
                <a:gd name="connsiteX1" fmla="*/ 2971067 w 3968724"/>
                <a:gd name="connsiteY1" fmla="*/ 2392988 h 3219342"/>
                <a:gd name="connsiteX2" fmla="*/ 3268939 w 3968724"/>
                <a:gd name="connsiteY2" fmla="*/ 1630988 h 3219342"/>
                <a:gd name="connsiteX3" fmla="*/ 3739994 w 3968724"/>
                <a:gd name="connsiteY3" fmla="*/ 785861 h 3219342"/>
                <a:gd name="connsiteX4" fmla="*/ 3781557 w 3968724"/>
                <a:gd name="connsiteY4" fmla="*/ 688879 h 3219342"/>
                <a:gd name="connsiteX5" fmla="*/ 3836975 w 3968724"/>
                <a:gd name="connsiteY5" fmla="*/ 640388 h 3219342"/>
                <a:gd name="connsiteX6" fmla="*/ 3920103 w 3968724"/>
                <a:gd name="connsiteY6" fmla="*/ 404861 h 3219342"/>
                <a:gd name="connsiteX7" fmla="*/ 3968594 w 3968724"/>
                <a:gd name="connsiteY7" fmla="*/ 93133 h 3219342"/>
                <a:gd name="connsiteX8" fmla="*/ 3906248 w 3968724"/>
                <a:gd name="connsiteY8" fmla="*/ 51570 h 3219342"/>
                <a:gd name="connsiteX9" fmla="*/ 3691503 w 3968724"/>
                <a:gd name="connsiteY9" fmla="*/ 3079 h 3219342"/>
                <a:gd name="connsiteX10" fmla="*/ 3476757 w 3968724"/>
                <a:gd name="connsiteY10" fmla="*/ 16933 h 3219342"/>
                <a:gd name="connsiteX11" fmla="*/ 3400557 w 3968724"/>
                <a:gd name="connsiteY11" fmla="*/ 113915 h 3219342"/>
                <a:gd name="connsiteX12" fmla="*/ 3289720 w 3968724"/>
                <a:gd name="connsiteY12" fmla="*/ 370225 h 3219342"/>
                <a:gd name="connsiteX13" fmla="*/ 3158103 w 3968724"/>
                <a:gd name="connsiteY13" fmla="*/ 605752 h 3219342"/>
                <a:gd name="connsiteX14" fmla="*/ 2867157 w 3968724"/>
                <a:gd name="connsiteY14" fmla="*/ 972897 h 3219342"/>
                <a:gd name="connsiteX15" fmla="*/ 2548503 w 3968724"/>
                <a:gd name="connsiteY15" fmla="*/ 1360824 h 3219342"/>
                <a:gd name="connsiteX16" fmla="*/ 2319903 w 3968724"/>
                <a:gd name="connsiteY16" fmla="*/ 1644842 h 3219342"/>
                <a:gd name="connsiteX17" fmla="*/ 2167503 w 3968724"/>
                <a:gd name="connsiteY17" fmla="*/ 2102042 h 3219342"/>
                <a:gd name="connsiteX18" fmla="*/ 2195212 w 3968724"/>
                <a:gd name="connsiteY18" fmla="*/ 2531533 h 3219342"/>
                <a:gd name="connsiteX19" fmla="*/ 2271412 w 3968724"/>
                <a:gd name="connsiteY19" fmla="*/ 2767061 h 3219342"/>
                <a:gd name="connsiteX20" fmla="*/ 2271412 w 3968724"/>
                <a:gd name="connsiteY20" fmla="*/ 2787842 h 3219342"/>
                <a:gd name="connsiteX21" fmla="*/ 2229848 w 3968724"/>
                <a:gd name="connsiteY21" fmla="*/ 2760133 h 3219342"/>
                <a:gd name="connsiteX22" fmla="*/ 1855775 w 3968724"/>
                <a:gd name="connsiteY22" fmla="*/ 2621588 h 3219342"/>
                <a:gd name="connsiteX23" fmla="*/ 1419357 w 3968724"/>
                <a:gd name="connsiteY23" fmla="*/ 2427624 h 3219342"/>
                <a:gd name="connsiteX24" fmla="*/ 1031430 w 3968724"/>
                <a:gd name="connsiteY24" fmla="*/ 2275224 h 3219342"/>
                <a:gd name="connsiteX25" fmla="*/ 726630 w 3968724"/>
                <a:gd name="connsiteY25" fmla="*/ 2219806 h 3219342"/>
                <a:gd name="connsiteX26" fmla="*/ 442612 w 3968724"/>
                <a:gd name="connsiteY26" fmla="*/ 2233661 h 3219342"/>
                <a:gd name="connsiteX27" fmla="*/ 248648 w 3968724"/>
                <a:gd name="connsiteY27" fmla="*/ 2302933 h 3219342"/>
                <a:gd name="connsiteX28" fmla="*/ 172448 w 3968724"/>
                <a:gd name="connsiteY28" fmla="*/ 2309861 h 3219342"/>
                <a:gd name="connsiteX29" fmla="*/ 82394 w 3968724"/>
                <a:gd name="connsiteY29" fmla="*/ 2302933 h 3219342"/>
                <a:gd name="connsiteX30" fmla="*/ 6194 w 3968724"/>
                <a:gd name="connsiteY30" fmla="*/ 2358352 h 3219342"/>
                <a:gd name="connsiteX31" fmla="*/ 6194 w 3968724"/>
                <a:gd name="connsiteY31" fmla="*/ 2573097 h 3219342"/>
                <a:gd name="connsiteX32" fmla="*/ 20047 w 3968724"/>
                <a:gd name="connsiteY32" fmla="*/ 2746279 h 3219342"/>
                <a:gd name="connsiteX33" fmla="*/ 47757 w 3968724"/>
                <a:gd name="connsiteY33" fmla="*/ 2850188 h 3219342"/>
                <a:gd name="connsiteX34" fmla="*/ 151666 w 3968724"/>
                <a:gd name="connsiteY34" fmla="*/ 2870970 h 3219342"/>
                <a:gd name="connsiteX35" fmla="*/ 802830 w 3968724"/>
                <a:gd name="connsiteY35" fmla="*/ 2954097 h 3219342"/>
                <a:gd name="connsiteX36" fmla="*/ 1821139 w 3968724"/>
                <a:gd name="connsiteY36" fmla="*/ 3099570 h 3219342"/>
                <a:gd name="connsiteX37" fmla="*/ 2368394 w 3968724"/>
                <a:gd name="connsiteY37" fmla="*/ 3175770 h 3219342"/>
                <a:gd name="connsiteX38" fmla="*/ 2680121 w 3968724"/>
                <a:gd name="connsiteY38" fmla="*/ 3217333 h 3219342"/>
                <a:gd name="connsiteX39" fmla="*/ 2770176 w 3968724"/>
                <a:gd name="connsiteY39" fmla="*/ 2961024 h 321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968724" h="3219342">
                  <a:moveTo>
                    <a:pt x="2770176" y="2961024"/>
                  </a:moveTo>
                  <a:cubicBezTo>
                    <a:pt x="2825595" y="2809779"/>
                    <a:pt x="2887940" y="2614661"/>
                    <a:pt x="2971067" y="2392988"/>
                  </a:cubicBezTo>
                  <a:cubicBezTo>
                    <a:pt x="3054194" y="2171315"/>
                    <a:pt x="3140785" y="1898842"/>
                    <a:pt x="3268939" y="1630988"/>
                  </a:cubicBezTo>
                  <a:cubicBezTo>
                    <a:pt x="3397093" y="1363134"/>
                    <a:pt x="3654558" y="942879"/>
                    <a:pt x="3739994" y="785861"/>
                  </a:cubicBezTo>
                  <a:cubicBezTo>
                    <a:pt x="3825430" y="628843"/>
                    <a:pt x="3765394" y="713124"/>
                    <a:pt x="3781557" y="688879"/>
                  </a:cubicBezTo>
                  <a:cubicBezTo>
                    <a:pt x="3797720" y="664634"/>
                    <a:pt x="3813884" y="687724"/>
                    <a:pt x="3836975" y="640388"/>
                  </a:cubicBezTo>
                  <a:cubicBezTo>
                    <a:pt x="3860066" y="593052"/>
                    <a:pt x="3898166" y="496070"/>
                    <a:pt x="3920103" y="404861"/>
                  </a:cubicBezTo>
                  <a:cubicBezTo>
                    <a:pt x="3942040" y="313652"/>
                    <a:pt x="3970903" y="152015"/>
                    <a:pt x="3968594" y="93133"/>
                  </a:cubicBezTo>
                  <a:cubicBezTo>
                    <a:pt x="3966285" y="34251"/>
                    <a:pt x="3952430" y="66579"/>
                    <a:pt x="3906248" y="51570"/>
                  </a:cubicBezTo>
                  <a:cubicBezTo>
                    <a:pt x="3860066" y="36561"/>
                    <a:pt x="3763085" y="8852"/>
                    <a:pt x="3691503" y="3079"/>
                  </a:cubicBezTo>
                  <a:cubicBezTo>
                    <a:pt x="3619921" y="-2694"/>
                    <a:pt x="3525248" y="-1540"/>
                    <a:pt x="3476757" y="16933"/>
                  </a:cubicBezTo>
                  <a:cubicBezTo>
                    <a:pt x="3428266" y="35406"/>
                    <a:pt x="3431730" y="55033"/>
                    <a:pt x="3400557" y="113915"/>
                  </a:cubicBezTo>
                  <a:cubicBezTo>
                    <a:pt x="3369384" y="172797"/>
                    <a:pt x="3330129" y="288252"/>
                    <a:pt x="3289720" y="370225"/>
                  </a:cubicBezTo>
                  <a:cubicBezTo>
                    <a:pt x="3249311" y="452198"/>
                    <a:pt x="3228530" y="505307"/>
                    <a:pt x="3158103" y="605752"/>
                  </a:cubicBezTo>
                  <a:cubicBezTo>
                    <a:pt x="3087676" y="706197"/>
                    <a:pt x="2968757" y="847052"/>
                    <a:pt x="2867157" y="972897"/>
                  </a:cubicBezTo>
                  <a:cubicBezTo>
                    <a:pt x="2765557" y="1098742"/>
                    <a:pt x="2639712" y="1248833"/>
                    <a:pt x="2548503" y="1360824"/>
                  </a:cubicBezTo>
                  <a:cubicBezTo>
                    <a:pt x="2457294" y="1472815"/>
                    <a:pt x="2383403" y="1521306"/>
                    <a:pt x="2319903" y="1644842"/>
                  </a:cubicBezTo>
                  <a:cubicBezTo>
                    <a:pt x="2256403" y="1768378"/>
                    <a:pt x="2188285" y="1954260"/>
                    <a:pt x="2167503" y="2102042"/>
                  </a:cubicBezTo>
                  <a:cubicBezTo>
                    <a:pt x="2146721" y="2249824"/>
                    <a:pt x="2164040" y="2441478"/>
                    <a:pt x="2195212" y="2531533"/>
                  </a:cubicBezTo>
                  <a:cubicBezTo>
                    <a:pt x="2226384" y="2621588"/>
                    <a:pt x="2271412" y="2767061"/>
                    <a:pt x="2271412" y="2767061"/>
                  </a:cubicBezTo>
                  <a:cubicBezTo>
                    <a:pt x="2284112" y="2809779"/>
                    <a:pt x="2278339" y="2788997"/>
                    <a:pt x="2271412" y="2787842"/>
                  </a:cubicBezTo>
                  <a:cubicBezTo>
                    <a:pt x="2264485" y="2786687"/>
                    <a:pt x="2299121" y="2787842"/>
                    <a:pt x="2229848" y="2760133"/>
                  </a:cubicBezTo>
                  <a:cubicBezTo>
                    <a:pt x="2160575" y="2732424"/>
                    <a:pt x="1990857" y="2677006"/>
                    <a:pt x="1855775" y="2621588"/>
                  </a:cubicBezTo>
                  <a:cubicBezTo>
                    <a:pt x="1720693" y="2566170"/>
                    <a:pt x="1556748" y="2485351"/>
                    <a:pt x="1419357" y="2427624"/>
                  </a:cubicBezTo>
                  <a:cubicBezTo>
                    <a:pt x="1281966" y="2369897"/>
                    <a:pt x="1146884" y="2309860"/>
                    <a:pt x="1031430" y="2275224"/>
                  </a:cubicBezTo>
                  <a:cubicBezTo>
                    <a:pt x="915975" y="2240588"/>
                    <a:pt x="824766" y="2226733"/>
                    <a:pt x="726630" y="2219806"/>
                  </a:cubicBezTo>
                  <a:cubicBezTo>
                    <a:pt x="628494" y="2212879"/>
                    <a:pt x="522276" y="2219806"/>
                    <a:pt x="442612" y="2233661"/>
                  </a:cubicBezTo>
                  <a:cubicBezTo>
                    <a:pt x="362948" y="2247515"/>
                    <a:pt x="293675" y="2290233"/>
                    <a:pt x="248648" y="2302933"/>
                  </a:cubicBezTo>
                  <a:cubicBezTo>
                    <a:pt x="203621" y="2315633"/>
                    <a:pt x="200157" y="2309861"/>
                    <a:pt x="172448" y="2309861"/>
                  </a:cubicBezTo>
                  <a:cubicBezTo>
                    <a:pt x="144739" y="2309861"/>
                    <a:pt x="110103" y="2294851"/>
                    <a:pt x="82394" y="2302933"/>
                  </a:cubicBezTo>
                  <a:cubicBezTo>
                    <a:pt x="54685" y="2311015"/>
                    <a:pt x="18894" y="2313325"/>
                    <a:pt x="6194" y="2358352"/>
                  </a:cubicBezTo>
                  <a:cubicBezTo>
                    <a:pt x="-6506" y="2403379"/>
                    <a:pt x="3885" y="2508443"/>
                    <a:pt x="6194" y="2573097"/>
                  </a:cubicBezTo>
                  <a:cubicBezTo>
                    <a:pt x="8503" y="2637751"/>
                    <a:pt x="13120" y="2700097"/>
                    <a:pt x="20047" y="2746279"/>
                  </a:cubicBezTo>
                  <a:cubicBezTo>
                    <a:pt x="26974" y="2792461"/>
                    <a:pt x="25821" y="2829406"/>
                    <a:pt x="47757" y="2850188"/>
                  </a:cubicBezTo>
                  <a:cubicBezTo>
                    <a:pt x="69694" y="2870970"/>
                    <a:pt x="151666" y="2870970"/>
                    <a:pt x="151666" y="2870970"/>
                  </a:cubicBezTo>
                  <a:lnTo>
                    <a:pt x="802830" y="2954097"/>
                  </a:lnTo>
                  <a:lnTo>
                    <a:pt x="1821139" y="3099570"/>
                  </a:lnTo>
                  <a:lnTo>
                    <a:pt x="2368394" y="3175770"/>
                  </a:lnTo>
                  <a:cubicBezTo>
                    <a:pt x="2511558" y="3195397"/>
                    <a:pt x="2618930" y="3227724"/>
                    <a:pt x="2680121" y="3217333"/>
                  </a:cubicBezTo>
                  <a:cubicBezTo>
                    <a:pt x="2745930" y="3179233"/>
                    <a:pt x="2714757" y="3112269"/>
                    <a:pt x="2770176" y="296102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p:cNvGrpSpPr/>
            <p:nvPr/>
          </p:nvGrpSpPr>
          <p:grpSpPr>
            <a:xfrm>
              <a:off x="5241576" y="2140897"/>
              <a:ext cx="277053" cy="700727"/>
              <a:chOff x="8676358" y="4152459"/>
              <a:chExt cx="820933" cy="2076317"/>
            </a:xfrm>
          </p:grpSpPr>
          <p:sp>
            <p:nvSpPr>
              <p:cNvPr id="143" name="Rectangle: Rounded Corners 142"/>
              <p:cNvSpPr/>
              <p:nvPr/>
            </p:nvSpPr>
            <p:spPr bwMode="auto">
              <a:xfrm rot="20416543">
                <a:off x="9290794" y="4152459"/>
                <a:ext cx="161827" cy="1795600"/>
              </a:xfrm>
              <a:prstGeom prst="roundRect">
                <a:avLst>
                  <a:gd name="adj" fmla="val 50000"/>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4" name="Straight Connector 143"/>
              <p:cNvCxnSpPr/>
              <p:nvPr/>
            </p:nvCxnSpPr>
            <p:spPr>
              <a:xfrm flipV="1">
                <a:off x="8676358" y="5475393"/>
                <a:ext cx="418036" cy="175499"/>
              </a:xfrm>
              <a:prstGeom prst="line">
                <a:avLst/>
              </a:prstGeom>
              <a:noFill/>
              <a:ln w="9525" cap="rnd" cmpd="sng" algn="ctr">
                <a:solidFill>
                  <a:schemeClr val="bg1">
                    <a:lumMod val="50000"/>
                  </a:schemeClr>
                </a:solidFill>
                <a:prstDash val="solid"/>
                <a:headEnd type="none"/>
                <a:tailEnd type="none"/>
              </a:ln>
              <a:effectLst/>
            </p:spPr>
          </p:cxnSp>
          <p:cxnSp>
            <p:nvCxnSpPr>
              <p:cNvPr id="145" name="Straight Connector 144"/>
              <p:cNvCxnSpPr/>
              <p:nvPr/>
            </p:nvCxnSpPr>
            <p:spPr>
              <a:xfrm flipV="1">
                <a:off x="8915400" y="4738861"/>
                <a:ext cx="235466" cy="148404"/>
              </a:xfrm>
              <a:prstGeom prst="line">
                <a:avLst/>
              </a:prstGeom>
              <a:noFill/>
              <a:ln w="9525" cap="rnd" cmpd="sng" algn="ctr">
                <a:solidFill>
                  <a:schemeClr val="bg1">
                    <a:lumMod val="50000"/>
                  </a:schemeClr>
                </a:solidFill>
                <a:prstDash val="solid"/>
                <a:headEnd type="none"/>
                <a:tailEnd type="none"/>
              </a:ln>
              <a:effectLst/>
            </p:spPr>
          </p:cxnSp>
          <p:sp>
            <p:nvSpPr>
              <p:cNvPr id="146" name="Freeform: Shape 145"/>
              <p:cNvSpPr/>
              <p:nvPr/>
            </p:nvSpPr>
            <p:spPr bwMode="auto">
              <a:xfrm>
                <a:off x="8676400" y="5639958"/>
                <a:ext cx="124857" cy="588818"/>
              </a:xfrm>
              <a:custGeom>
                <a:avLst/>
                <a:gdLst>
                  <a:gd name="connsiteX0" fmla="*/ 0 w 136814"/>
                  <a:gd name="connsiteY0" fmla="*/ 0 h 588819"/>
                  <a:gd name="connsiteX1" fmla="*/ 96982 w 136814"/>
                  <a:gd name="connsiteY1" fmla="*/ 284019 h 588819"/>
                  <a:gd name="connsiteX2" fmla="*/ 131619 w 136814"/>
                  <a:gd name="connsiteY2" fmla="*/ 450273 h 588819"/>
                  <a:gd name="connsiteX3" fmla="*/ 124691 w 136814"/>
                  <a:gd name="connsiteY3" fmla="*/ 526473 h 588819"/>
                  <a:gd name="connsiteX4" fmla="*/ 20782 w 136814"/>
                  <a:gd name="connsiteY4" fmla="*/ 588819 h 588819"/>
                  <a:gd name="connsiteX0" fmla="*/ 0 w 132167"/>
                  <a:gd name="connsiteY0" fmla="*/ 0 h 588819"/>
                  <a:gd name="connsiteX1" fmla="*/ 96982 w 132167"/>
                  <a:gd name="connsiteY1" fmla="*/ 284019 h 588819"/>
                  <a:gd name="connsiteX2" fmla="*/ 131619 w 132167"/>
                  <a:gd name="connsiteY2" fmla="*/ 450273 h 588819"/>
                  <a:gd name="connsiteX3" fmla="*/ 110837 w 132167"/>
                  <a:gd name="connsiteY3" fmla="*/ 519546 h 588819"/>
                  <a:gd name="connsiteX4" fmla="*/ 20782 w 132167"/>
                  <a:gd name="connsiteY4" fmla="*/ 588819 h 588819"/>
                  <a:gd name="connsiteX0" fmla="*/ 0 w 131706"/>
                  <a:gd name="connsiteY0" fmla="*/ 0 h 588819"/>
                  <a:gd name="connsiteX1" fmla="*/ 96982 w 131706"/>
                  <a:gd name="connsiteY1" fmla="*/ 284019 h 588819"/>
                  <a:gd name="connsiteX2" fmla="*/ 131619 w 131706"/>
                  <a:gd name="connsiteY2" fmla="*/ 450273 h 588819"/>
                  <a:gd name="connsiteX3" fmla="*/ 103910 w 131706"/>
                  <a:gd name="connsiteY3" fmla="*/ 512619 h 588819"/>
                  <a:gd name="connsiteX4" fmla="*/ 20782 w 131706"/>
                  <a:gd name="connsiteY4" fmla="*/ 588819 h 588819"/>
                  <a:gd name="connsiteX0" fmla="*/ 0 w 124858"/>
                  <a:gd name="connsiteY0" fmla="*/ 0 h 588819"/>
                  <a:gd name="connsiteX1" fmla="*/ 96982 w 124858"/>
                  <a:gd name="connsiteY1" fmla="*/ 284019 h 588819"/>
                  <a:gd name="connsiteX2" fmla="*/ 124692 w 124858"/>
                  <a:gd name="connsiteY2" fmla="*/ 436418 h 588819"/>
                  <a:gd name="connsiteX3" fmla="*/ 103910 w 124858"/>
                  <a:gd name="connsiteY3" fmla="*/ 512619 h 588819"/>
                  <a:gd name="connsiteX4" fmla="*/ 20782 w 124858"/>
                  <a:gd name="connsiteY4" fmla="*/ 588819 h 588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58" h="588819">
                    <a:moveTo>
                      <a:pt x="0" y="0"/>
                    </a:moveTo>
                    <a:cubicBezTo>
                      <a:pt x="37523" y="104487"/>
                      <a:pt x="76200" y="211283"/>
                      <a:pt x="96982" y="284019"/>
                    </a:cubicBezTo>
                    <a:cubicBezTo>
                      <a:pt x="117764" y="356755"/>
                      <a:pt x="123537" y="398318"/>
                      <a:pt x="124692" y="436418"/>
                    </a:cubicBezTo>
                    <a:cubicBezTo>
                      <a:pt x="125847" y="474518"/>
                      <a:pt x="121228" y="487219"/>
                      <a:pt x="103910" y="512619"/>
                    </a:cubicBezTo>
                    <a:cubicBezTo>
                      <a:pt x="86592" y="538019"/>
                      <a:pt x="63500" y="569191"/>
                      <a:pt x="20782" y="58881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p:cNvSpPr/>
              <p:nvPr/>
            </p:nvSpPr>
            <p:spPr bwMode="auto">
              <a:xfrm>
                <a:off x="8894618" y="4883727"/>
                <a:ext cx="602673" cy="782782"/>
              </a:xfrm>
              <a:custGeom>
                <a:avLst/>
                <a:gdLst>
                  <a:gd name="connsiteX0" fmla="*/ 0 w 602673"/>
                  <a:gd name="connsiteY0" fmla="*/ 0 h 782782"/>
                  <a:gd name="connsiteX1" fmla="*/ 145473 w 602673"/>
                  <a:gd name="connsiteY1" fmla="*/ 381000 h 782782"/>
                  <a:gd name="connsiteX2" fmla="*/ 221673 w 602673"/>
                  <a:gd name="connsiteY2" fmla="*/ 602673 h 782782"/>
                  <a:gd name="connsiteX3" fmla="*/ 290946 w 602673"/>
                  <a:gd name="connsiteY3" fmla="*/ 671945 h 782782"/>
                  <a:gd name="connsiteX4" fmla="*/ 408709 w 602673"/>
                  <a:gd name="connsiteY4" fmla="*/ 699655 h 782782"/>
                  <a:gd name="connsiteX5" fmla="*/ 519546 w 602673"/>
                  <a:gd name="connsiteY5" fmla="*/ 734291 h 782782"/>
                  <a:gd name="connsiteX6" fmla="*/ 602673 w 602673"/>
                  <a:gd name="connsiteY6" fmla="*/ 782782 h 78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673" h="782782">
                    <a:moveTo>
                      <a:pt x="0" y="0"/>
                    </a:moveTo>
                    <a:cubicBezTo>
                      <a:pt x="54264" y="140277"/>
                      <a:pt x="108528" y="280555"/>
                      <a:pt x="145473" y="381000"/>
                    </a:cubicBezTo>
                    <a:cubicBezTo>
                      <a:pt x="182418" y="481445"/>
                      <a:pt x="197428" y="554182"/>
                      <a:pt x="221673" y="602673"/>
                    </a:cubicBezTo>
                    <a:cubicBezTo>
                      <a:pt x="245918" y="651164"/>
                      <a:pt x="259773" y="655781"/>
                      <a:pt x="290946" y="671945"/>
                    </a:cubicBezTo>
                    <a:cubicBezTo>
                      <a:pt x="322119" y="688109"/>
                      <a:pt x="370609" y="689264"/>
                      <a:pt x="408709" y="699655"/>
                    </a:cubicBezTo>
                    <a:cubicBezTo>
                      <a:pt x="446809" y="710046"/>
                      <a:pt x="487219" y="720437"/>
                      <a:pt x="519546" y="734291"/>
                    </a:cubicBezTo>
                    <a:cubicBezTo>
                      <a:pt x="551873" y="748145"/>
                      <a:pt x="577273" y="765463"/>
                      <a:pt x="602673" y="782782"/>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29" name="Freeform: Shape 28"/>
            <p:cNvSpPr/>
            <p:nvPr/>
          </p:nvSpPr>
          <p:spPr bwMode="auto">
            <a:xfrm>
              <a:off x="8555505" y="3174074"/>
              <a:ext cx="628884" cy="195515"/>
            </a:xfrm>
            <a:custGeom>
              <a:avLst/>
              <a:gdLst>
                <a:gd name="connsiteX0" fmla="*/ 0 w 1863437"/>
                <a:gd name="connsiteY0" fmla="*/ 579328 h 579328"/>
                <a:gd name="connsiteX1" fmla="*/ 713509 w 1863437"/>
                <a:gd name="connsiteY1" fmla="*/ 364582 h 579328"/>
                <a:gd name="connsiteX2" fmla="*/ 1281546 w 1863437"/>
                <a:gd name="connsiteY2" fmla="*/ 149837 h 579328"/>
                <a:gd name="connsiteX3" fmla="*/ 1745673 w 1863437"/>
                <a:gd name="connsiteY3" fmla="*/ 18219 h 579328"/>
                <a:gd name="connsiteX4" fmla="*/ 1863437 w 1863437"/>
                <a:gd name="connsiteY4" fmla="*/ 4364 h 579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437" h="579328">
                  <a:moveTo>
                    <a:pt x="0" y="579328"/>
                  </a:moveTo>
                  <a:cubicBezTo>
                    <a:pt x="249959" y="507746"/>
                    <a:pt x="499918" y="436164"/>
                    <a:pt x="713509" y="364582"/>
                  </a:cubicBezTo>
                  <a:cubicBezTo>
                    <a:pt x="927100" y="293000"/>
                    <a:pt x="1109519" y="207564"/>
                    <a:pt x="1281546" y="149837"/>
                  </a:cubicBezTo>
                  <a:cubicBezTo>
                    <a:pt x="1453573" y="92110"/>
                    <a:pt x="1648691" y="42464"/>
                    <a:pt x="1745673" y="18219"/>
                  </a:cubicBezTo>
                  <a:cubicBezTo>
                    <a:pt x="1842655" y="-6026"/>
                    <a:pt x="1853046" y="-831"/>
                    <a:pt x="1863437" y="43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p:cNvSpPr/>
            <p:nvPr/>
          </p:nvSpPr>
          <p:spPr bwMode="auto">
            <a:xfrm>
              <a:off x="8590573" y="2207675"/>
              <a:ext cx="558747" cy="477301"/>
            </a:xfrm>
            <a:custGeom>
              <a:avLst/>
              <a:gdLst>
                <a:gd name="connsiteX0" fmla="*/ 332509 w 1641763"/>
                <a:gd name="connsiteY0" fmla="*/ 0 h 1435067"/>
                <a:gd name="connsiteX1" fmla="*/ 193963 w 1641763"/>
                <a:gd name="connsiteY1" fmla="*/ 221673 h 1435067"/>
                <a:gd name="connsiteX2" fmla="*/ 48491 w 1641763"/>
                <a:gd name="connsiteY2" fmla="*/ 429491 h 1435067"/>
                <a:gd name="connsiteX3" fmla="*/ 0 w 1641763"/>
                <a:gd name="connsiteY3" fmla="*/ 519546 h 1435067"/>
                <a:gd name="connsiteX4" fmla="*/ 48491 w 1641763"/>
                <a:gd name="connsiteY4" fmla="*/ 699655 h 1435067"/>
                <a:gd name="connsiteX5" fmla="*/ 235527 w 1641763"/>
                <a:gd name="connsiteY5" fmla="*/ 914400 h 1435067"/>
                <a:gd name="connsiteX6" fmla="*/ 540327 w 1641763"/>
                <a:gd name="connsiteY6" fmla="*/ 1149928 h 1435067"/>
                <a:gd name="connsiteX7" fmla="*/ 886691 w 1641763"/>
                <a:gd name="connsiteY7" fmla="*/ 1330037 h 1435067"/>
                <a:gd name="connsiteX8" fmla="*/ 1184563 w 1641763"/>
                <a:gd name="connsiteY8" fmla="*/ 1406237 h 1435067"/>
                <a:gd name="connsiteX9" fmla="*/ 1406236 w 1641763"/>
                <a:gd name="connsiteY9" fmla="*/ 1433946 h 1435067"/>
                <a:gd name="connsiteX10" fmla="*/ 1641763 w 1641763"/>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699655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720437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53290 w 1655617"/>
                <a:gd name="connsiteY0" fmla="*/ 0 h 1414285"/>
                <a:gd name="connsiteX1" fmla="*/ 207817 w 1655617"/>
                <a:gd name="connsiteY1" fmla="*/ 200891 h 1414285"/>
                <a:gd name="connsiteX2" fmla="*/ 62345 w 1655617"/>
                <a:gd name="connsiteY2" fmla="*/ 408709 h 1414285"/>
                <a:gd name="connsiteX3" fmla="*/ 0 w 1655617"/>
                <a:gd name="connsiteY3" fmla="*/ 526473 h 1414285"/>
                <a:gd name="connsiteX4" fmla="*/ 62345 w 1655617"/>
                <a:gd name="connsiteY4" fmla="*/ 699655 h 1414285"/>
                <a:gd name="connsiteX5" fmla="*/ 249381 w 1655617"/>
                <a:gd name="connsiteY5" fmla="*/ 893618 h 1414285"/>
                <a:gd name="connsiteX6" fmla="*/ 554181 w 1655617"/>
                <a:gd name="connsiteY6" fmla="*/ 1129146 h 1414285"/>
                <a:gd name="connsiteX7" fmla="*/ 900545 w 1655617"/>
                <a:gd name="connsiteY7" fmla="*/ 1309255 h 1414285"/>
                <a:gd name="connsiteX8" fmla="*/ 1198417 w 1655617"/>
                <a:gd name="connsiteY8" fmla="*/ 1385455 h 1414285"/>
                <a:gd name="connsiteX9" fmla="*/ 1420090 w 1655617"/>
                <a:gd name="connsiteY9" fmla="*/ 1413164 h 1414285"/>
                <a:gd name="connsiteX10" fmla="*/ 1655617 w 1655617"/>
                <a:gd name="connsiteY10" fmla="*/ 1406237 h 141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5617" h="1414285">
                  <a:moveTo>
                    <a:pt x="353290" y="0"/>
                  </a:moveTo>
                  <a:cubicBezTo>
                    <a:pt x="307685" y="75045"/>
                    <a:pt x="256308" y="132773"/>
                    <a:pt x="207817" y="200891"/>
                  </a:cubicBezTo>
                  <a:cubicBezTo>
                    <a:pt x="159326" y="269009"/>
                    <a:pt x="96981" y="354445"/>
                    <a:pt x="62345" y="408709"/>
                  </a:cubicBezTo>
                  <a:cubicBezTo>
                    <a:pt x="27709" y="462973"/>
                    <a:pt x="0" y="477982"/>
                    <a:pt x="0" y="526473"/>
                  </a:cubicBezTo>
                  <a:cubicBezTo>
                    <a:pt x="0" y="574964"/>
                    <a:pt x="20782" y="638464"/>
                    <a:pt x="62345" y="699655"/>
                  </a:cubicBezTo>
                  <a:cubicBezTo>
                    <a:pt x="103908" y="760846"/>
                    <a:pt x="167408" y="822036"/>
                    <a:pt x="249381" y="893618"/>
                  </a:cubicBezTo>
                  <a:cubicBezTo>
                    <a:pt x="331354" y="965200"/>
                    <a:pt x="445654" y="1059873"/>
                    <a:pt x="554181" y="1129146"/>
                  </a:cubicBezTo>
                  <a:cubicBezTo>
                    <a:pt x="662708" y="1198419"/>
                    <a:pt x="793172" y="1266537"/>
                    <a:pt x="900545" y="1309255"/>
                  </a:cubicBezTo>
                  <a:cubicBezTo>
                    <a:pt x="1007918" y="1351973"/>
                    <a:pt x="1111826" y="1368137"/>
                    <a:pt x="1198417" y="1385455"/>
                  </a:cubicBezTo>
                  <a:cubicBezTo>
                    <a:pt x="1285008" y="1402773"/>
                    <a:pt x="1343890" y="1409700"/>
                    <a:pt x="1420090" y="1413164"/>
                  </a:cubicBezTo>
                  <a:cubicBezTo>
                    <a:pt x="1496290" y="1416628"/>
                    <a:pt x="1575953" y="1411432"/>
                    <a:pt x="1655617" y="140623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p:cNvSpPr/>
            <p:nvPr/>
          </p:nvSpPr>
          <p:spPr bwMode="auto">
            <a:xfrm>
              <a:off x="8207165" y="2605110"/>
              <a:ext cx="596153" cy="257164"/>
            </a:xfrm>
            <a:custGeom>
              <a:avLst/>
              <a:gdLst>
                <a:gd name="connsiteX0" fmla="*/ 0 w 1766454"/>
                <a:gd name="connsiteY0" fmla="*/ 762000 h 762000"/>
                <a:gd name="connsiteX1" fmla="*/ 616527 w 1766454"/>
                <a:gd name="connsiteY1" fmla="*/ 665018 h 762000"/>
                <a:gd name="connsiteX2" fmla="*/ 1357745 w 1766454"/>
                <a:gd name="connsiteY2" fmla="*/ 554181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86345 w 1766454"/>
                <a:gd name="connsiteY4" fmla="*/ 346363 h 762000"/>
                <a:gd name="connsiteX5" fmla="*/ 1766454 w 1766454"/>
                <a:gd name="connsiteY5"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6454" h="762000">
                  <a:moveTo>
                    <a:pt x="0" y="762000"/>
                  </a:moveTo>
                  <a:lnTo>
                    <a:pt x="616527" y="665018"/>
                  </a:lnTo>
                  <a:cubicBezTo>
                    <a:pt x="849745" y="625763"/>
                    <a:pt x="1169554" y="578426"/>
                    <a:pt x="1316181" y="547253"/>
                  </a:cubicBezTo>
                  <a:cubicBezTo>
                    <a:pt x="1462808" y="516080"/>
                    <a:pt x="1451263" y="511464"/>
                    <a:pt x="1496290" y="477982"/>
                  </a:cubicBezTo>
                  <a:cubicBezTo>
                    <a:pt x="1541317" y="444500"/>
                    <a:pt x="1541318" y="426027"/>
                    <a:pt x="1586345" y="346363"/>
                  </a:cubicBezTo>
                  <a:cubicBezTo>
                    <a:pt x="1631372" y="266699"/>
                    <a:pt x="1704109" y="115454"/>
                    <a:pt x="1766454"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p:cNvSpPr/>
            <p:nvPr/>
          </p:nvSpPr>
          <p:spPr bwMode="auto">
            <a:xfrm>
              <a:off x="8852413" y="2630827"/>
              <a:ext cx="70136" cy="170664"/>
            </a:xfrm>
            <a:custGeom>
              <a:avLst/>
              <a:gdLst>
                <a:gd name="connsiteX0" fmla="*/ 0 w 207818"/>
                <a:gd name="connsiteY0" fmla="*/ 0 h 505691"/>
                <a:gd name="connsiteX1" fmla="*/ 69273 w 207818"/>
                <a:gd name="connsiteY1" fmla="*/ 256309 h 505691"/>
                <a:gd name="connsiteX2" fmla="*/ 207818 w 207818"/>
                <a:gd name="connsiteY2" fmla="*/ 505691 h 505691"/>
              </a:gdLst>
              <a:ahLst/>
              <a:cxnLst>
                <a:cxn ang="0">
                  <a:pos x="connsiteX0" y="connsiteY0"/>
                </a:cxn>
                <a:cxn ang="0">
                  <a:pos x="connsiteX1" y="connsiteY1"/>
                </a:cxn>
                <a:cxn ang="0">
                  <a:pos x="connsiteX2" y="connsiteY2"/>
                </a:cxn>
              </a:cxnLst>
              <a:rect l="l" t="t" r="r" b="b"/>
              <a:pathLst>
                <a:path w="207818" h="505691">
                  <a:moveTo>
                    <a:pt x="0" y="0"/>
                  </a:moveTo>
                  <a:cubicBezTo>
                    <a:pt x="17318" y="86013"/>
                    <a:pt x="34637" y="172027"/>
                    <a:pt x="69273" y="256309"/>
                  </a:cubicBezTo>
                  <a:cubicBezTo>
                    <a:pt x="103909" y="340591"/>
                    <a:pt x="155863" y="423141"/>
                    <a:pt x="207818" y="505691"/>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cxnSp>
          <p:nvCxnSpPr>
            <p:cNvPr id="33" name="Straight Connector 32"/>
            <p:cNvCxnSpPr/>
            <p:nvPr/>
          </p:nvCxnSpPr>
          <p:spPr>
            <a:xfrm>
              <a:off x="7831031" y="2380676"/>
              <a:ext cx="724474" cy="0"/>
            </a:xfrm>
            <a:prstGeom prst="line">
              <a:avLst/>
            </a:prstGeom>
            <a:noFill/>
            <a:ln w="9525" cap="rnd" cmpd="sng" algn="ctr">
              <a:solidFill>
                <a:schemeClr val="bg1">
                  <a:lumMod val="50000"/>
                </a:schemeClr>
              </a:solidFill>
              <a:prstDash val="solid"/>
              <a:headEnd type="none"/>
              <a:tailEnd type="none"/>
            </a:ln>
            <a:effectLst/>
            <a:scene3d>
              <a:camera prst="orthographicFront">
                <a:rot lat="0" lon="0" rev="18000"/>
              </a:camera>
              <a:lightRig rig="threePt" dir="t"/>
            </a:scene3d>
          </p:spPr>
        </p:cxnSp>
        <p:cxnSp>
          <p:nvCxnSpPr>
            <p:cNvPr id="34" name="Straight Connector 33"/>
            <p:cNvCxnSpPr/>
            <p:nvPr/>
          </p:nvCxnSpPr>
          <p:spPr>
            <a:xfrm>
              <a:off x="7969626" y="2238326"/>
              <a:ext cx="652092" cy="0"/>
            </a:xfrm>
            <a:prstGeom prst="line">
              <a:avLst/>
            </a:prstGeom>
            <a:noFill/>
            <a:ln w="9525" cap="rnd" cmpd="sng" algn="ctr">
              <a:solidFill>
                <a:schemeClr val="bg1">
                  <a:lumMod val="50000"/>
                </a:schemeClr>
              </a:solidFill>
              <a:prstDash val="solid"/>
              <a:headEnd type="none"/>
              <a:tailEnd type="none"/>
            </a:ln>
            <a:effectLst/>
            <a:scene3d>
              <a:camera prst="orthographicFront">
                <a:rot lat="0" lon="0" rev="36000"/>
              </a:camera>
              <a:lightRig rig="threePt" dir="t"/>
            </a:scene3d>
          </p:spPr>
        </p:cxnSp>
        <p:sp>
          <p:nvSpPr>
            <p:cNvPr id="35" name="Freeform: Shape 34"/>
            <p:cNvSpPr/>
            <p:nvPr/>
          </p:nvSpPr>
          <p:spPr bwMode="auto">
            <a:xfrm>
              <a:off x="8286077" y="1693346"/>
              <a:ext cx="774405" cy="575754"/>
            </a:xfrm>
            <a:custGeom>
              <a:avLst/>
              <a:gdLst>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72412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697348"/>
                <a:gd name="connsiteX1" fmla="*/ 8630 w 2294630"/>
                <a:gd name="connsiteY1" fmla="*/ 152400 h 1697348"/>
                <a:gd name="connsiteX2" fmla="*/ 119466 w 2294630"/>
                <a:gd name="connsiteY2" fmla="*/ 284018 h 1697348"/>
                <a:gd name="connsiteX3" fmla="*/ 576666 w 2294630"/>
                <a:gd name="connsiteY3" fmla="*/ 748146 h 1697348"/>
                <a:gd name="connsiteX4" fmla="*/ 1144703 w 2294630"/>
                <a:gd name="connsiteY4" fmla="*/ 1385455 h 1697348"/>
                <a:gd name="connsiteX5" fmla="*/ 1248612 w 2294630"/>
                <a:gd name="connsiteY5" fmla="*/ 1503218 h 1697348"/>
                <a:gd name="connsiteX6" fmla="*/ 1435648 w 2294630"/>
                <a:gd name="connsiteY6" fmla="*/ 1593273 h 1697348"/>
                <a:gd name="connsiteX7" fmla="*/ 1858212 w 2294630"/>
                <a:gd name="connsiteY7" fmla="*/ 1676401 h 1697348"/>
                <a:gd name="connsiteX8" fmla="*/ 2072957 w 2294630"/>
                <a:gd name="connsiteY8" fmla="*/ 1697182 h 1697348"/>
                <a:gd name="connsiteX9" fmla="*/ 2294630 w 2294630"/>
                <a:gd name="connsiteY9" fmla="*/ 1669473 h 1697348"/>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9884 w 2294630"/>
                <a:gd name="connsiteY8" fmla="*/ 1697182 h 1706011"/>
                <a:gd name="connsiteX9" fmla="*/ 2294630 w 2294630"/>
                <a:gd name="connsiteY9" fmla="*/ 1669473 h 170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4630" h="1706011">
                  <a:moveTo>
                    <a:pt x="15557" y="0"/>
                  </a:moveTo>
                  <a:cubicBezTo>
                    <a:pt x="3434" y="42141"/>
                    <a:pt x="-8688" y="105064"/>
                    <a:pt x="8630" y="152400"/>
                  </a:cubicBezTo>
                  <a:cubicBezTo>
                    <a:pt x="25948" y="199736"/>
                    <a:pt x="24793" y="184727"/>
                    <a:pt x="119466" y="284018"/>
                  </a:cubicBezTo>
                  <a:cubicBezTo>
                    <a:pt x="214139" y="383309"/>
                    <a:pt x="405793" y="564573"/>
                    <a:pt x="576666" y="748146"/>
                  </a:cubicBezTo>
                  <a:cubicBezTo>
                    <a:pt x="747539" y="931719"/>
                    <a:pt x="1032712" y="1259610"/>
                    <a:pt x="1144703" y="1385455"/>
                  </a:cubicBezTo>
                  <a:cubicBezTo>
                    <a:pt x="1256694" y="1511300"/>
                    <a:pt x="1200121" y="1468582"/>
                    <a:pt x="1248612" y="1503218"/>
                  </a:cubicBezTo>
                  <a:cubicBezTo>
                    <a:pt x="1297103" y="1537854"/>
                    <a:pt x="1334048" y="1560946"/>
                    <a:pt x="1435648" y="1593273"/>
                  </a:cubicBezTo>
                  <a:cubicBezTo>
                    <a:pt x="1537248" y="1625600"/>
                    <a:pt x="1750839" y="1679864"/>
                    <a:pt x="1858212" y="1697182"/>
                  </a:cubicBezTo>
                  <a:cubicBezTo>
                    <a:pt x="1965585" y="1714500"/>
                    <a:pt x="2007148" y="1701800"/>
                    <a:pt x="2079884" y="1697182"/>
                  </a:cubicBezTo>
                  <a:cubicBezTo>
                    <a:pt x="2152620" y="1692564"/>
                    <a:pt x="2220161" y="1681018"/>
                    <a:pt x="2294630" y="166947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p:cNvSpPr/>
            <p:nvPr/>
          </p:nvSpPr>
          <p:spPr bwMode="auto">
            <a:xfrm>
              <a:off x="8607563" y="1812576"/>
              <a:ext cx="403823" cy="397494"/>
            </a:xfrm>
            <a:custGeom>
              <a:avLst/>
              <a:gdLst>
                <a:gd name="connsiteX0" fmla="*/ 1185130 w 1185130"/>
                <a:gd name="connsiteY0" fmla="*/ 1136073 h 1157026"/>
                <a:gd name="connsiteX1" fmla="*/ 1032730 w 1185130"/>
                <a:gd name="connsiteY1" fmla="*/ 1156855 h 1157026"/>
                <a:gd name="connsiteX2" fmla="*/ 928821 w 1185130"/>
                <a:gd name="connsiteY2" fmla="*/ 1136073 h 1157026"/>
                <a:gd name="connsiteX3" fmla="*/ 734858 w 1185130"/>
                <a:gd name="connsiteY3" fmla="*/ 1011382 h 1157026"/>
                <a:gd name="connsiteX4" fmla="*/ 249949 w 1185130"/>
                <a:gd name="connsiteY4" fmla="*/ 526473 h 1157026"/>
                <a:gd name="connsiteX5" fmla="*/ 28276 w 1185130"/>
                <a:gd name="connsiteY5" fmla="*/ 242455 h 1157026"/>
                <a:gd name="connsiteX6" fmla="*/ 7494 w 1185130"/>
                <a:gd name="connsiteY6" fmla="*/ 131618 h 1157026"/>
                <a:gd name="connsiteX7" fmla="*/ 69839 w 1185130"/>
                <a:gd name="connsiteY7" fmla="*/ 34636 h 1157026"/>
                <a:gd name="connsiteX8" fmla="*/ 180676 w 1185130"/>
                <a:gd name="connsiteY8" fmla="*/ 0 h 1157026"/>
                <a:gd name="connsiteX0" fmla="*/ 1188932 w 1188932"/>
                <a:gd name="connsiteY0" fmla="*/ 1136073 h 1157026"/>
                <a:gd name="connsiteX1" fmla="*/ 1036532 w 1188932"/>
                <a:gd name="connsiteY1" fmla="*/ 1156855 h 1157026"/>
                <a:gd name="connsiteX2" fmla="*/ 932623 w 1188932"/>
                <a:gd name="connsiteY2" fmla="*/ 1136073 h 1157026"/>
                <a:gd name="connsiteX3" fmla="*/ 738660 w 1188932"/>
                <a:gd name="connsiteY3" fmla="*/ 1011382 h 1157026"/>
                <a:gd name="connsiteX4" fmla="*/ 253751 w 1188932"/>
                <a:gd name="connsiteY4" fmla="*/ 526473 h 1157026"/>
                <a:gd name="connsiteX5" fmla="*/ 25151 w 1188932"/>
                <a:gd name="connsiteY5" fmla="*/ 249382 h 1157026"/>
                <a:gd name="connsiteX6" fmla="*/ 11296 w 1188932"/>
                <a:gd name="connsiteY6" fmla="*/ 131618 h 1157026"/>
                <a:gd name="connsiteX7" fmla="*/ 73641 w 1188932"/>
                <a:gd name="connsiteY7" fmla="*/ 34636 h 1157026"/>
                <a:gd name="connsiteX8" fmla="*/ 184478 w 1188932"/>
                <a:gd name="connsiteY8" fmla="*/ 0 h 1157026"/>
                <a:gd name="connsiteX0" fmla="*/ 1189347 w 1189347"/>
                <a:gd name="connsiteY0" fmla="*/ 1136073 h 1157026"/>
                <a:gd name="connsiteX1" fmla="*/ 1036947 w 1189347"/>
                <a:gd name="connsiteY1" fmla="*/ 1156855 h 1157026"/>
                <a:gd name="connsiteX2" fmla="*/ 933038 w 1189347"/>
                <a:gd name="connsiteY2" fmla="*/ 1136073 h 1157026"/>
                <a:gd name="connsiteX3" fmla="*/ 739075 w 1189347"/>
                <a:gd name="connsiteY3" fmla="*/ 1011382 h 1157026"/>
                <a:gd name="connsiteX4" fmla="*/ 254166 w 1189347"/>
                <a:gd name="connsiteY4" fmla="*/ 526473 h 1157026"/>
                <a:gd name="connsiteX5" fmla="*/ 25566 w 1189347"/>
                <a:gd name="connsiteY5" fmla="*/ 249382 h 1157026"/>
                <a:gd name="connsiteX6" fmla="*/ 11711 w 1189347"/>
                <a:gd name="connsiteY6" fmla="*/ 131618 h 1157026"/>
                <a:gd name="connsiteX7" fmla="*/ 80983 w 1189347"/>
                <a:gd name="connsiteY7" fmla="*/ 48490 h 1157026"/>
                <a:gd name="connsiteX8" fmla="*/ 184893 w 1189347"/>
                <a:gd name="connsiteY8" fmla="*/ 0 h 1157026"/>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087583 h 1108536"/>
                <a:gd name="connsiteX1" fmla="*/ 1036947 w 1189347"/>
                <a:gd name="connsiteY1" fmla="*/ 1108365 h 1108536"/>
                <a:gd name="connsiteX2" fmla="*/ 933038 w 1189347"/>
                <a:gd name="connsiteY2" fmla="*/ 1087583 h 1108536"/>
                <a:gd name="connsiteX3" fmla="*/ 739075 w 1189347"/>
                <a:gd name="connsiteY3" fmla="*/ 962892 h 1108536"/>
                <a:gd name="connsiteX4" fmla="*/ 254166 w 1189347"/>
                <a:gd name="connsiteY4" fmla="*/ 477983 h 1108536"/>
                <a:gd name="connsiteX5" fmla="*/ 25566 w 1189347"/>
                <a:gd name="connsiteY5" fmla="*/ 200892 h 1108536"/>
                <a:gd name="connsiteX6" fmla="*/ 11711 w 1189347"/>
                <a:gd name="connsiteY6" fmla="*/ 83128 h 1108536"/>
                <a:gd name="connsiteX7" fmla="*/ 80983 w 1189347"/>
                <a:gd name="connsiteY7" fmla="*/ 0 h 1108536"/>
                <a:gd name="connsiteX0" fmla="*/ 1196564 w 1196564"/>
                <a:gd name="connsiteY0" fmla="*/ 1156856 h 1177809"/>
                <a:gd name="connsiteX1" fmla="*/ 1044164 w 1196564"/>
                <a:gd name="connsiteY1" fmla="*/ 1177638 h 1177809"/>
                <a:gd name="connsiteX2" fmla="*/ 940255 w 1196564"/>
                <a:gd name="connsiteY2" fmla="*/ 1156856 h 1177809"/>
                <a:gd name="connsiteX3" fmla="*/ 746292 w 1196564"/>
                <a:gd name="connsiteY3" fmla="*/ 1032165 h 1177809"/>
                <a:gd name="connsiteX4" fmla="*/ 261383 w 1196564"/>
                <a:gd name="connsiteY4" fmla="*/ 547256 h 1177809"/>
                <a:gd name="connsiteX5" fmla="*/ 32783 w 1196564"/>
                <a:gd name="connsiteY5" fmla="*/ 270165 h 1177809"/>
                <a:gd name="connsiteX6" fmla="*/ 18928 w 1196564"/>
                <a:gd name="connsiteY6" fmla="*/ 152401 h 1177809"/>
                <a:gd name="connsiteX7" fmla="*/ 199036 w 1196564"/>
                <a:gd name="connsiteY7" fmla="*/ 0 h 117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564" h="1177809">
                  <a:moveTo>
                    <a:pt x="1196564" y="1156856"/>
                  </a:moveTo>
                  <a:cubicBezTo>
                    <a:pt x="1141723" y="1167247"/>
                    <a:pt x="1086882" y="1177638"/>
                    <a:pt x="1044164" y="1177638"/>
                  </a:cubicBezTo>
                  <a:cubicBezTo>
                    <a:pt x="1001446" y="1177638"/>
                    <a:pt x="989900" y="1181102"/>
                    <a:pt x="940255" y="1156856"/>
                  </a:cubicBezTo>
                  <a:cubicBezTo>
                    <a:pt x="890610" y="1132610"/>
                    <a:pt x="859437" y="1133765"/>
                    <a:pt x="746292" y="1032165"/>
                  </a:cubicBezTo>
                  <a:cubicBezTo>
                    <a:pt x="633147" y="930565"/>
                    <a:pt x="380301" y="674256"/>
                    <a:pt x="261383" y="547256"/>
                  </a:cubicBezTo>
                  <a:cubicBezTo>
                    <a:pt x="142465" y="420256"/>
                    <a:pt x="73192" y="335974"/>
                    <a:pt x="32783" y="270165"/>
                  </a:cubicBezTo>
                  <a:cubicBezTo>
                    <a:pt x="-7626" y="204356"/>
                    <a:pt x="-8781" y="197428"/>
                    <a:pt x="18928" y="152401"/>
                  </a:cubicBezTo>
                  <a:cubicBezTo>
                    <a:pt x="46637" y="107374"/>
                    <a:pt x="172482" y="23091"/>
                    <a:pt x="199036"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p:cNvSpPr/>
            <p:nvPr/>
          </p:nvSpPr>
          <p:spPr bwMode="auto">
            <a:xfrm>
              <a:off x="6673636" y="2160565"/>
              <a:ext cx="1248310" cy="1031347"/>
            </a:xfrm>
            <a:custGeom>
              <a:avLst/>
              <a:gdLst>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03782 w 3703782"/>
                <a:gd name="connsiteY0" fmla="*/ 1044 h 3055971"/>
                <a:gd name="connsiteX1" fmla="*/ 3537528 w 3703782"/>
                <a:gd name="connsiteY1" fmla="*/ 14898 h 3055971"/>
                <a:gd name="connsiteX2" fmla="*/ 3405910 w 3703782"/>
                <a:gd name="connsiteY2" fmla="*/ 104953 h 3055971"/>
                <a:gd name="connsiteX3" fmla="*/ 3295073 w 3703782"/>
                <a:gd name="connsiteY3" fmla="*/ 298917 h 3055971"/>
                <a:gd name="connsiteX4" fmla="*/ 3184237 w 3703782"/>
                <a:gd name="connsiteY4" fmla="*/ 513662 h 3055971"/>
                <a:gd name="connsiteX5" fmla="*/ 2990273 w 3703782"/>
                <a:gd name="connsiteY5" fmla="*/ 776898 h 3055971"/>
                <a:gd name="connsiteX6" fmla="*/ 2678546 w 3703782"/>
                <a:gd name="connsiteY6" fmla="*/ 1116335 h 3055971"/>
                <a:gd name="connsiteX7" fmla="*/ 2387600 w 3703782"/>
                <a:gd name="connsiteY7" fmla="*/ 1511189 h 3055971"/>
                <a:gd name="connsiteX8" fmla="*/ 2165928 w 3703782"/>
                <a:gd name="connsiteY8" fmla="*/ 1836771 h 3055971"/>
                <a:gd name="connsiteX9" fmla="*/ 1985819 w 3703782"/>
                <a:gd name="connsiteY9" fmla="*/ 2176207 h 3055971"/>
                <a:gd name="connsiteX10" fmla="*/ 1833419 w 3703782"/>
                <a:gd name="connsiteY10" fmla="*/ 2411735 h 3055971"/>
                <a:gd name="connsiteX11" fmla="*/ 1798782 w 3703782"/>
                <a:gd name="connsiteY11" fmla="*/ 2487935 h 3055971"/>
                <a:gd name="connsiteX12" fmla="*/ 1708728 w 3703782"/>
                <a:gd name="connsiteY12" fmla="*/ 2487935 h 3055971"/>
                <a:gd name="connsiteX13" fmla="*/ 1099128 w 3703782"/>
                <a:gd name="connsiteY13" fmla="*/ 2460226 h 3055971"/>
                <a:gd name="connsiteX14" fmla="*/ 496455 w 3703782"/>
                <a:gd name="connsiteY14" fmla="*/ 2460226 h 3055971"/>
                <a:gd name="connsiteX15" fmla="*/ 260928 w 3703782"/>
                <a:gd name="connsiteY15" fmla="*/ 2474080 h 3055971"/>
                <a:gd name="connsiteX16" fmla="*/ 73891 w 3703782"/>
                <a:gd name="connsiteY16" fmla="*/ 2591844 h 3055971"/>
                <a:gd name="connsiteX17" fmla="*/ 4619 w 3703782"/>
                <a:gd name="connsiteY17" fmla="*/ 2744244 h 3055971"/>
                <a:gd name="connsiteX18" fmla="*/ 18473 w 3703782"/>
                <a:gd name="connsiteY18" fmla="*/ 2889717 h 3055971"/>
                <a:gd name="connsiteX19" fmla="*/ 115455 w 3703782"/>
                <a:gd name="connsiteY19" fmla="*/ 2910498 h 3055971"/>
                <a:gd name="connsiteX20" fmla="*/ 988291 w 3703782"/>
                <a:gd name="connsiteY20" fmla="*/ 2993626 h 3055971"/>
                <a:gd name="connsiteX21" fmla="*/ 1362364 w 3703782"/>
                <a:gd name="connsiteY21" fmla="*/ 3035189 h 3055971"/>
                <a:gd name="connsiteX22" fmla="*/ 1639455 w 3703782"/>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160996 w 3698850"/>
                <a:gd name="connsiteY7" fmla="*/ 1836771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49269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98850" h="3055971">
                  <a:moveTo>
                    <a:pt x="3698850" y="1044"/>
                  </a:moveTo>
                  <a:cubicBezTo>
                    <a:pt x="3640545" y="-688"/>
                    <a:pt x="3582241" y="-2420"/>
                    <a:pt x="3532596" y="14898"/>
                  </a:cubicBezTo>
                  <a:cubicBezTo>
                    <a:pt x="3482951" y="32216"/>
                    <a:pt x="3441387" y="57616"/>
                    <a:pt x="3400978" y="104953"/>
                  </a:cubicBezTo>
                  <a:cubicBezTo>
                    <a:pt x="3360569" y="152290"/>
                    <a:pt x="3327086" y="230799"/>
                    <a:pt x="3290141" y="298917"/>
                  </a:cubicBezTo>
                  <a:cubicBezTo>
                    <a:pt x="3253196" y="367035"/>
                    <a:pt x="3223178" y="427071"/>
                    <a:pt x="3179305" y="513662"/>
                  </a:cubicBezTo>
                  <a:cubicBezTo>
                    <a:pt x="3135432" y="600253"/>
                    <a:pt x="3069623" y="676453"/>
                    <a:pt x="2985341" y="776898"/>
                  </a:cubicBezTo>
                  <a:cubicBezTo>
                    <a:pt x="2901059" y="877343"/>
                    <a:pt x="2786759" y="976635"/>
                    <a:pt x="2673614" y="1116335"/>
                  </a:cubicBezTo>
                  <a:cubicBezTo>
                    <a:pt x="2560469" y="1256035"/>
                    <a:pt x="2421922" y="1438453"/>
                    <a:pt x="2306468" y="1615098"/>
                  </a:cubicBezTo>
                  <a:cubicBezTo>
                    <a:pt x="2191014" y="1791743"/>
                    <a:pt x="2057087" y="2043434"/>
                    <a:pt x="1980887" y="2176207"/>
                  </a:cubicBezTo>
                  <a:cubicBezTo>
                    <a:pt x="1904687" y="2308980"/>
                    <a:pt x="1880442" y="2359780"/>
                    <a:pt x="1849269" y="2411735"/>
                  </a:cubicBezTo>
                  <a:cubicBezTo>
                    <a:pt x="1818096" y="2463690"/>
                    <a:pt x="1818095" y="2475235"/>
                    <a:pt x="1793850" y="2487935"/>
                  </a:cubicBezTo>
                  <a:cubicBezTo>
                    <a:pt x="1769605" y="2500635"/>
                    <a:pt x="1703796" y="2487935"/>
                    <a:pt x="1703796" y="2487935"/>
                  </a:cubicBezTo>
                  <a:cubicBezTo>
                    <a:pt x="1587187" y="2483317"/>
                    <a:pt x="1296241" y="2464844"/>
                    <a:pt x="1094196" y="2460226"/>
                  </a:cubicBezTo>
                  <a:cubicBezTo>
                    <a:pt x="892151" y="2455608"/>
                    <a:pt x="631223" y="2457917"/>
                    <a:pt x="491523" y="2460226"/>
                  </a:cubicBezTo>
                  <a:cubicBezTo>
                    <a:pt x="351823" y="2462535"/>
                    <a:pt x="326423" y="2452144"/>
                    <a:pt x="255996" y="2474080"/>
                  </a:cubicBezTo>
                  <a:cubicBezTo>
                    <a:pt x="185569" y="2496016"/>
                    <a:pt x="110523" y="2546817"/>
                    <a:pt x="68959" y="2591844"/>
                  </a:cubicBezTo>
                  <a:cubicBezTo>
                    <a:pt x="27395" y="2636871"/>
                    <a:pt x="15850" y="2694599"/>
                    <a:pt x="6614" y="2744244"/>
                  </a:cubicBezTo>
                  <a:cubicBezTo>
                    <a:pt x="-2622" y="2793889"/>
                    <a:pt x="-3777" y="2862008"/>
                    <a:pt x="13541" y="2889717"/>
                  </a:cubicBezTo>
                  <a:cubicBezTo>
                    <a:pt x="30859" y="2917426"/>
                    <a:pt x="-51113" y="2893180"/>
                    <a:pt x="110523" y="2910498"/>
                  </a:cubicBezTo>
                  <a:cubicBezTo>
                    <a:pt x="272159" y="2927816"/>
                    <a:pt x="775541" y="2972844"/>
                    <a:pt x="983359" y="2993626"/>
                  </a:cubicBezTo>
                  <a:cubicBezTo>
                    <a:pt x="1191177" y="3014408"/>
                    <a:pt x="1248905" y="3024798"/>
                    <a:pt x="1357432" y="3035189"/>
                  </a:cubicBezTo>
                  <a:cubicBezTo>
                    <a:pt x="1465959" y="3045580"/>
                    <a:pt x="1550241" y="3050775"/>
                    <a:pt x="1634523" y="3055971"/>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p:cNvSpPr/>
            <p:nvPr/>
          </p:nvSpPr>
          <p:spPr bwMode="auto">
            <a:xfrm>
              <a:off x="6584045" y="1928341"/>
              <a:ext cx="186929" cy="298376"/>
            </a:xfrm>
            <a:custGeom>
              <a:avLst/>
              <a:gdLst>
                <a:gd name="connsiteX0" fmla="*/ 42145 w 552240"/>
                <a:gd name="connsiteY0" fmla="*/ 820135 h 884678"/>
                <a:gd name="connsiteX1" fmla="*/ 312309 w 552240"/>
                <a:gd name="connsiteY1" fmla="*/ 875553 h 884678"/>
                <a:gd name="connsiteX2" fmla="*/ 492418 w 552240"/>
                <a:gd name="connsiteY2" fmla="*/ 868626 h 884678"/>
                <a:gd name="connsiteX3" fmla="*/ 547836 w 552240"/>
                <a:gd name="connsiteY3" fmla="*/ 723153 h 884678"/>
                <a:gd name="connsiteX4" fmla="*/ 540909 w 552240"/>
                <a:gd name="connsiteY4" fmla="*/ 418353 h 884678"/>
                <a:gd name="connsiteX5" fmla="*/ 478563 w 552240"/>
                <a:gd name="connsiteY5" fmla="*/ 85844 h 884678"/>
                <a:gd name="connsiteX6" fmla="*/ 388509 w 552240"/>
                <a:gd name="connsiteY6" fmla="*/ 16571 h 884678"/>
                <a:gd name="connsiteX7" fmla="*/ 215327 w 552240"/>
                <a:gd name="connsiteY7" fmla="*/ 2717 h 884678"/>
                <a:gd name="connsiteX8" fmla="*/ 152981 w 552240"/>
                <a:gd name="connsiteY8" fmla="*/ 58135 h 884678"/>
                <a:gd name="connsiteX9" fmla="*/ 97563 w 552240"/>
                <a:gd name="connsiteY9" fmla="*/ 286735 h 884678"/>
                <a:gd name="connsiteX10" fmla="*/ 7509 w 552240"/>
                <a:gd name="connsiteY10" fmla="*/ 640026 h 884678"/>
                <a:gd name="connsiteX11" fmla="*/ 7509 w 552240"/>
                <a:gd name="connsiteY11" fmla="*/ 771644 h 884678"/>
                <a:gd name="connsiteX12" fmla="*/ 42145 w 552240"/>
                <a:gd name="connsiteY12" fmla="*/ 820135 h 884678"/>
                <a:gd name="connsiteX0" fmla="*/ 42145 w 552550"/>
                <a:gd name="connsiteY0" fmla="*/ 820762 h 885305"/>
                <a:gd name="connsiteX1" fmla="*/ 312309 w 552550"/>
                <a:gd name="connsiteY1" fmla="*/ 876180 h 885305"/>
                <a:gd name="connsiteX2" fmla="*/ 492418 w 552550"/>
                <a:gd name="connsiteY2" fmla="*/ 869253 h 885305"/>
                <a:gd name="connsiteX3" fmla="*/ 547836 w 552550"/>
                <a:gd name="connsiteY3" fmla="*/ 723780 h 885305"/>
                <a:gd name="connsiteX4" fmla="*/ 540909 w 552550"/>
                <a:gd name="connsiteY4" fmla="*/ 418980 h 885305"/>
                <a:gd name="connsiteX5" fmla="*/ 471635 w 552550"/>
                <a:gd name="connsiteY5" fmla="*/ 107252 h 885305"/>
                <a:gd name="connsiteX6" fmla="*/ 388509 w 552550"/>
                <a:gd name="connsiteY6" fmla="*/ 17198 h 885305"/>
                <a:gd name="connsiteX7" fmla="*/ 215327 w 552550"/>
                <a:gd name="connsiteY7" fmla="*/ 3344 h 885305"/>
                <a:gd name="connsiteX8" fmla="*/ 152981 w 552550"/>
                <a:gd name="connsiteY8" fmla="*/ 58762 h 885305"/>
                <a:gd name="connsiteX9" fmla="*/ 97563 w 552550"/>
                <a:gd name="connsiteY9" fmla="*/ 287362 h 885305"/>
                <a:gd name="connsiteX10" fmla="*/ 7509 w 552550"/>
                <a:gd name="connsiteY10" fmla="*/ 640653 h 885305"/>
                <a:gd name="connsiteX11" fmla="*/ 7509 w 552550"/>
                <a:gd name="connsiteY11" fmla="*/ 772271 h 885305"/>
                <a:gd name="connsiteX12" fmla="*/ 42145 w 552550"/>
                <a:gd name="connsiteY12" fmla="*/ 820762 h 885305"/>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98899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85044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886" h="884114">
                  <a:moveTo>
                    <a:pt x="57336" y="841544"/>
                  </a:moveTo>
                  <a:cubicBezTo>
                    <a:pt x="108136" y="858862"/>
                    <a:pt x="240909" y="871562"/>
                    <a:pt x="313645" y="876180"/>
                  </a:cubicBezTo>
                  <a:cubicBezTo>
                    <a:pt x="386381" y="880798"/>
                    <a:pt x="454500" y="894653"/>
                    <a:pt x="493754" y="869253"/>
                  </a:cubicBezTo>
                  <a:cubicBezTo>
                    <a:pt x="533009" y="843853"/>
                    <a:pt x="541090" y="798825"/>
                    <a:pt x="549172" y="723780"/>
                  </a:cubicBezTo>
                  <a:cubicBezTo>
                    <a:pt x="557254" y="648735"/>
                    <a:pt x="554945" y="521735"/>
                    <a:pt x="542245" y="418980"/>
                  </a:cubicBezTo>
                  <a:cubicBezTo>
                    <a:pt x="529545" y="316225"/>
                    <a:pt x="498371" y="174216"/>
                    <a:pt x="472971" y="107252"/>
                  </a:cubicBezTo>
                  <a:cubicBezTo>
                    <a:pt x="447571" y="40288"/>
                    <a:pt x="432563" y="34516"/>
                    <a:pt x="389845" y="17198"/>
                  </a:cubicBezTo>
                  <a:cubicBezTo>
                    <a:pt x="347127" y="-120"/>
                    <a:pt x="255918" y="-3583"/>
                    <a:pt x="216663" y="3344"/>
                  </a:cubicBezTo>
                  <a:cubicBezTo>
                    <a:pt x="177408" y="10271"/>
                    <a:pt x="176253" y="11426"/>
                    <a:pt x="154317" y="58762"/>
                  </a:cubicBezTo>
                  <a:cubicBezTo>
                    <a:pt x="132381" y="106098"/>
                    <a:pt x="109289" y="190380"/>
                    <a:pt x="85044" y="287362"/>
                  </a:cubicBezTo>
                  <a:cubicBezTo>
                    <a:pt x="60799" y="384344"/>
                    <a:pt x="23854" y="559835"/>
                    <a:pt x="8845" y="640653"/>
                  </a:cubicBezTo>
                  <a:cubicBezTo>
                    <a:pt x="-6164" y="721471"/>
                    <a:pt x="763" y="738789"/>
                    <a:pt x="8845" y="772271"/>
                  </a:cubicBezTo>
                  <a:cubicBezTo>
                    <a:pt x="16927" y="805753"/>
                    <a:pt x="6536" y="824226"/>
                    <a:pt x="57336" y="84154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Freeform: Shape 38"/>
            <p:cNvSpPr/>
            <p:nvPr/>
          </p:nvSpPr>
          <p:spPr bwMode="auto">
            <a:xfrm>
              <a:off x="7761944" y="1965528"/>
              <a:ext cx="206759" cy="193090"/>
            </a:xfrm>
            <a:custGeom>
              <a:avLst/>
              <a:gdLst>
                <a:gd name="connsiteX0" fmla="*/ 457897 w 589515"/>
                <a:gd name="connsiteY0" fmla="*/ 557554 h 571523"/>
                <a:gd name="connsiteX1" fmla="*/ 153097 w 589515"/>
                <a:gd name="connsiteY1" fmla="*/ 571409 h 571523"/>
                <a:gd name="connsiteX2" fmla="*/ 49187 w 589515"/>
                <a:gd name="connsiteY2" fmla="*/ 557554 h 571523"/>
                <a:gd name="connsiteX3" fmla="*/ 697 w 589515"/>
                <a:gd name="connsiteY3" fmla="*/ 474427 h 571523"/>
                <a:gd name="connsiteX4" fmla="*/ 21478 w 589515"/>
                <a:gd name="connsiteY4" fmla="*/ 183481 h 571523"/>
                <a:gd name="connsiteX5" fmla="*/ 35333 w 589515"/>
                <a:gd name="connsiteY5" fmla="*/ 24154 h 571523"/>
                <a:gd name="connsiteX6" fmla="*/ 180806 w 589515"/>
                <a:gd name="connsiteY6" fmla="*/ 3372 h 571523"/>
                <a:gd name="connsiteX7" fmla="*/ 402478 w 589515"/>
                <a:gd name="connsiteY7" fmla="*/ 51863 h 571523"/>
                <a:gd name="connsiteX8" fmla="*/ 513315 w 589515"/>
                <a:gd name="connsiteY8" fmla="*/ 218118 h 571523"/>
                <a:gd name="connsiteX9" fmla="*/ 589515 w 589515"/>
                <a:gd name="connsiteY9" fmla="*/ 377445 h 571523"/>
                <a:gd name="connsiteX0" fmla="*/ 466950 w 598568"/>
                <a:gd name="connsiteY0" fmla="*/ 558173 h 572142"/>
                <a:gd name="connsiteX1" fmla="*/ 162150 w 598568"/>
                <a:gd name="connsiteY1" fmla="*/ 572028 h 572142"/>
                <a:gd name="connsiteX2" fmla="*/ 58240 w 598568"/>
                <a:gd name="connsiteY2" fmla="*/ 558173 h 572142"/>
                <a:gd name="connsiteX3" fmla="*/ 9750 w 598568"/>
                <a:gd name="connsiteY3" fmla="*/ 475046 h 572142"/>
                <a:gd name="connsiteX4" fmla="*/ 2822 w 598568"/>
                <a:gd name="connsiteY4" fmla="*/ 197954 h 572142"/>
                <a:gd name="connsiteX5" fmla="*/ 44386 w 598568"/>
                <a:gd name="connsiteY5" fmla="*/ 24773 h 572142"/>
                <a:gd name="connsiteX6" fmla="*/ 189859 w 598568"/>
                <a:gd name="connsiteY6" fmla="*/ 3991 h 572142"/>
                <a:gd name="connsiteX7" fmla="*/ 411531 w 598568"/>
                <a:gd name="connsiteY7" fmla="*/ 52482 h 572142"/>
                <a:gd name="connsiteX8" fmla="*/ 522368 w 598568"/>
                <a:gd name="connsiteY8" fmla="*/ 218737 h 572142"/>
                <a:gd name="connsiteX9" fmla="*/ 598568 w 598568"/>
                <a:gd name="connsiteY9" fmla="*/ 378064 h 572142"/>
                <a:gd name="connsiteX0" fmla="*/ 481027 w 612645"/>
                <a:gd name="connsiteY0" fmla="*/ 558173 h 572142"/>
                <a:gd name="connsiteX1" fmla="*/ 176227 w 612645"/>
                <a:gd name="connsiteY1" fmla="*/ 572028 h 572142"/>
                <a:gd name="connsiteX2" fmla="*/ 72317 w 612645"/>
                <a:gd name="connsiteY2" fmla="*/ 558173 h 572142"/>
                <a:gd name="connsiteX3" fmla="*/ 3045 w 612645"/>
                <a:gd name="connsiteY3" fmla="*/ 475046 h 572142"/>
                <a:gd name="connsiteX4" fmla="*/ 16899 w 612645"/>
                <a:gd name="connsiteY4" fmla="*/ 197954 h 572142"/>
                <a:gd name="connsiteX5" fmla="*/ 58463 w 612645"/>
                <a:gd name="connsiteY5" fmla="*/ 24773 h 572142"/>
                <a:gd name="connsiteX6" fmla="*/ 203936 w 612645"/>
                <a:gd name="connsiteY6" fmla="*/ 3991 h 572142"/>
                <a:gd name="connsiteX7" fmla="*/ 425608 w 612645"/>
                <a:gd name="connsiteY7" fmla="*/ 52482 h 572142"/>
                <a:gd name="connsiteX8" fmla="*/ 536445 w 612645"/>
                <a:gd name="connsiteY8" fmla="*/ 218737 h 572142"/>
                <a:gd name="connsiteX9" fmla="*/ 612645 w 612645"/>
                <a:gd name="connsiteY9" fmla="*/ 378064 h 57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2645" h="572142">
                  <a:moveTo>
                    <a:pt x="481027" y="558173"/>
                  </a:moveTo>
                  <a:cubicBezTo>
                    <a:pt x="362686" y="565100"/>
                    <a:pt x="244345" y="572028"/>
                    <a:pt x="176227" y="572028"/>
                  </a:cubicBezTo>
                  <a:cubicBezTo>
                    <a:pt x="108109" y="572028"/>
                    <a:pt x="101181" y="574337"/>
                    <a:pt x="72317" y="558173"/>
                  </a:cubicBezTo>
                  <a:cubicBezTo>
                    <a:pt x="43453" y="542009"/>
                    <a:pt x="12281" y="535082"/>
                    <a:pt x="3045" y="475046"/>
                  </a:cubicBezTo>
                  <a:cubicBezTo>
                    <a:pt x="-6191" y="415010"/>
                    <a:pt x="7663" y="273000"/>
                    <a:pt x="16899" y="197954"/>
                  </a:cubicBezTo>
                  <a:cubicBezTo>
                    <a:pt x="26135" y="122909"/>
                    <a:pt x="27290" y="57100"/>
                    <a:pt x="58463" y="24773"/>
                  </a:cubicBezTo>
                  <a:cubicBezTo>
                    <a:pt x="89636" y="-7554"/>
                    <a:pt x="142745" y="-627"/>
                    <a:pt x="203936" y="3991"/>
                  </a:cubicBezTo>
                  <a:cubicBezTo>
                    <a:pt x="265127" y="8609"/>
                    <a:pt x="370190" y="16691"/>
                    <a:pt x="425608" y="52482"/>
                  </a:cubicBezTo>
                  <a:cubicBezTo>
                    <a:pt x="481026" y="88273"/>
                    <a:pt x="505272" y="164473"/>
                    <a:pt x="536445" y="218737"/>
                  </a:cubicBezTo>
                  <a:cubicBezTo>
                    <a:pt x="567618" y="273001"/>
                    <a:pt x="590131" y="325532"/>
                    <a:pt x="612645" y="3780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p:cNvSpPr/>
            <p:nvPr/>
          </p:nvSpPr>
          <p:spPr bwMode="auto">
            <a:xfrm>
              <a:off x="4385028" y="3499088"/>
              <a:ext cx="2848808" cy="43502"/>
            </a:xfrm>
            <a:custGeom>
              <a:avLst/>
              <a:gdLst>
                <a:gd name="connsiteX0" fmla="*/ 0 w 8458200"/>
                <a:gd name="connsiteY0" fmla="*/ 110095 h 110095"/>
                <a:gd name="connsiteX1" fmla="*/ 3953933 w 8458200"/>
                <a:gd name="connsiteY1" fmla="*/ 28 h 110095"/>
                <a:gd name="connsiteX2" fmla="*/ 8458200 w 8458200"/>
                <a:gd name="connsiteY2" fmla="*/ 101628 h 110095"/>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41266"/>
                <a:gd name="connsiteY0" fmla="*/ 147705 h 147705"/>
                <a:gd name="connsiteX1" fmla="*/ 3936999 w 8441266"/>
                <a:gd name="connsiteY1" fmla="*/ 3772 h 147705"/>
                <a:gd name="connsiteX2" fmla="*/ 8441266 w 8441266"/>
                <a:gd name="connsiteY2" fmla="*/ 105372 h 147705"/>
                <a:gd name="connsiteX0" fmla="*/ 0 w 8441266"/>
                <a:gd name="connsiteY0" fmla="*/ 128901 h 128901"/>
                <a:gd name="connsiteX1" fmla="*/ 3936999 w 8441266"/>
                <a:gd name="connsiteY1" fmla="*/ 10368 h 128901"/>
                <a:gd name="connsiteX2" fmla="*/ 8441266 w 8441266"/>
                <a:gd name="connsiteY2" fmla="*/ 86568 h 128901"/>
              </a:gdLst>
              <a:ahLst/>
              <a:cxnLst>
                <a:cxn ang="0">
                  <a:pos x="connsiteX0" y="connsiteY0"/>
                </a:cxn>
                <a:cxn ang="0">
                  <a:pos x="connsiteX1" y="connsiteY1"/>
                </a:cxn>
                <a:cxn ang="0">
                  <a:pos x="connsiteX2" y="connsiteY2"/>
                </a:cxn>
              </a:cxnLst>
              <a:rect l="l" t="t" r="r" b="b"/>
              <a:pathLst>
                <a:path w="8441266" h="128901">
                  <a:moveTo>
                    <a:pt x="0" y="128901"/>
                  </a:moveTo>
                  <a:cubicBezTo>
                    <a:pt x="1272116" y="74573"/>
                    <a:pt x="2530121" y="17424"/>
                    <a:pt x="3936999" y="10368"/>
                  </a:cubicBezTo>
                  <a:cubicBezTo>
                    <a:pt x="5343877" y="3312"/>
                    <a:pt x="6939844" y="-31966"/>
                    <a:pt x="8441266" y="8656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cxnSp>
          <p:nvCxnSpPr>
            <p:cNvPr id="41" name="Straight Connector 40"/>
            <p:cNvCxnSpPr/>
            <p:nvPr/>
          </p:nvCxnSpPr>
          <p:spPr>
            <a:xfrm flipV="1">
              <a:off x="4323776" y="3542590"/>
              <a:ext cx="2952922" cy="25717"/>
            </a:xfrm>
            <a:prstGeom prst="line">
              <a:avLst/>
            </a:prstGeom>
            <a:noFill/>
            <a:ln w="9525" cap="rnd" cmpd="sng" algn="ctr">
              <a:solidFill>
                <a:schemeClr val="bg1">
                  <a:lumMod val="50000"/>
                </a:schemeClr>
              </a:solidFill>
              <a:prstDash val="solid"/>
              <a:headEnd type="none"/>
              <a:tailEnd type="none"/>
            </a:ln>
            <a:effectLst/>
          </p:spPr>
        </p:cxnSp>
        <p:sp>
          <p:nvSpPr>
            <p:cNvPr id="42" name="Freeform: Shape 41"/>
            <p:cNvSpPr/>
            <p:nvPr/>
          </p:nvSpPr>
          <p:spPr bwMode="auto">
            <a:xfrm>
              <a:off x="4639335" y="2730282"/>
              <a:ext cx="4006055" cy="706585"/>
            </a:xfrm>
            <a:custGeom>
              <a:avLst/>
              <a:gdLst>
                <a:gd name="connsiteX0" fmla="*/ 0 w 11870537"/>
                <a:gd name="connsiteY0" fmla="*/ 1585830 h 2093830"/>
                <a:gd name="connsiteX1" fmla="*/ 1617133 w 11870537"/>
                <a:gd name="connsiteY1" fmla="*/ 1645097 h 2093830"/>
                <a:gd name="connsiteX2" fmla="*/ 3843866 w 11870537"/>
                <a:gd name="connsiteY2" fmla="*/ 1585830 h 2093830"/>
                <a:gd name="connsiteX3" fmla="*/ 5190066 w 11870537"/>
                <a:gd name="connsiteY3" fmla="*/ 1501164 h 2093830"/>
                <a:gd name="connsiteX4" fmla="*/ 6663266 w 11870537"/>
                <a:gd name="connsiteY4" fmla="*/ 1382630 h 2093830"/>
                <a:gd name="connsiteX5" fmla="*/ 7704666 w 11870537"/>
                <a:gd name="connsiteY5" fmla="*/ 1289497 h 2093830"/>
                <a:gd name="connsiteX6" fmla="*/ 7806266 w 11870537"/>
                <a:gd name="connsiteY6" fmla="*/ 1272564 h 2093830"/>
                <a:gd name="connsiteX7" fmla="*/ 7924800 w 11870537"/>
                <a:gd name="connsiteY7" fmla="*/ 1137097 h 2093830"/>
                <a:gd name="connsiteX8" fmla="*/ 8161866 w 11870537"/>
                <a:gd name="connsiteY8" fmla="*/ 798430 h 2093830"/>
                <a:gd name="connsiteX9" fmla="*/ 8525933 w 11870537"/>
                <a:gd name="connsiteY9" fmla="*/ 476697 h 2093830"/>
                <a:gd name="connsiteX10" fmla="*/ 9110133 w 11870537"/>
                <a:gd name="connsiteY10" fmla="*/ 112630 h 2093830"/>
                <a:gd name="connsiteX11" fmla="*/ 9787466 w 11870537"/>
                <a:gd name="connsiteY11" fmla="*/ 2564 h 2093830"/>
                <a:gd name="connsiteX12" fmla="*/ 10718800 w 11870537"/>
                <a:gd name="connsiteY12" fmla="*/ 197297 h 2093830"/>
                <a:gd name="connsiteX13" fmla="*/ 11125200 w 11870537"/>
                <a:gd name="connsiteY13" fmla="*/ 493630 h 2093830"/>
                <a:gd name="connsiteX14" fmla="*/ 11557000 w 11870537"/>
                <a:gd name="connsiteY14" fmla="*/ 967764 h 2093830"/>
                <a:gd name="connsiteX15" fmla="*/ 11760200 w 11870537"/>
                <a:gd name="connsiteY15" fmla="*/ 1416497 h 2093830"/>
                <a:gd name="connsiteX16" fmla="*/ 11853333 w 11870537"/>
                <a:gd name="connsiteY16" fmla="*/ 1763630 h 2093830"/>
                <a:gd name="connsiteX17" fmla="*/ 11870266 w 11870537"/>
                <a:gd name="connsiteY17" fmla="*/ 2093830 h 2093830"/>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718800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8534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70288" h="2093673">
                  <a:moveTo>
                    <a:pt x="0" y="1585673"/>
                  </a:moveTo>
                  <a:cubicBezTo>
                    <a:pt x="488244" y="1615306"/>
                    <a:pt x="976489" y="1644940"/>
                    <a:pt x="1617133" y="1644940"/>
                  </a:cubicBezTo>
                  <a:cubicBezTo>
                    <a:pt x="2257777" y="1644940"/>
                    <a:pt x="3248377" y="1609662"/>
                    <a:pt x="3843866" y="1585673"/>
                  </a:cubicBezTo>
                  <a:cubicBezTo>
                    <a:pt x="4439355" y="1561684"/>
                    <a:pt x="5190066" y="1501007"/>
                    <a:pt x="5190066" y="1501007"/>
                  </a:cubicBezTo>
                  <a:lnTo>
                    <a:pt x="6663266" y="1382473"/>
                  </a:lnTo>
                  <a:lnTo>
                    <a:pt x="7704666" y="1289340"/>
                  </a:lnTo>
                  <a:cubicBezTo>
                    <a:pt x="7895166" y="1270996"/>
                    <a:pt x="7769577" y="1297807"/>
                    <a:pt x="7806266" y="1272407"/>
                  </a:cubicBezTo>
                  <a:cubicBezTo>
                    <a:pt x="7842955" y="1247007"/>
                    <a:pt x="7865533" y="1215962"/>
                    <a:pt x="7924800" y="1136940"/>
                  </a:cubicBezTo>
                  <a:cubicBezTo>
                    <a:pt x="7984067" y="1057918"/>
                    <a:pt x="8063088" y="912573"/>
                    <a:pt x="8161866" y="798273"/>
                  </a:cubicBezTo>
                  <a:cubicBezTo>
                    <a:pt x="8260644" y="683973"/>
                    <a:pt x="8359422" y="565440"/>
                    <a:pt x="8517466" y="451140"/>
                  </a:cubicBezTo>
                  <a:cubicBezTo>
                    <a:pt x="8675510" y="336840"/>
                    <a:pt x="8898466" y="187262"/>
                    <a:pt x="9110133" y="112473"/>
                  </a:cubicBezTo>
                  <a:cubicBezTo>
                    <a:pt x="9321800" y="37684"/>
                    <a:pt x="9526410" y="-11704"/>
                    <a:pt x="9787466" y="2407"/>
                  </a:cubicBezTo>
                  <a:cubicBezTo>
                    <a:pt x="10048522" y="16518"/>
                    <a:pt x="10461978" y="98363"/>
                    <a:pt x="10676467" y="197140"/>
                  </a:cubicBezTo>
                  <a:cubicBezTo>
                    <a:pt x="10890956" y="295917"/>
                    <a:pt x="10981267" y="365062"/>
                    <a:pt x="11125200" y="493473"/>
                  </a:cubicBezTo>
                  <a:cubicBezTo>
                    <a:pt x="11269133" y="621884"/>
                    <a:pt x="11434234" y="813796"/>
                    <a:pt x="11540067" y="967607"/>
                  </a:cubicBezTo>
                  <a:cubicBezTo>
                    <a:pt x="11645900" y="1121418"/>
                    <a:pt x="11710811" y="1285107"/>
                    <a:pt x="11760200" y="1416340"/>
                  </a:cubicBezTo>
                  <a:cubicBezTo>
                    <a:pt x="11809589" y="1547573"/>
                    <a:pt x="11818056" y="1642117"/>
                    <a:pt x="11836400" y="1755006"/>
                  </a:cubicBezTo>
                  <a:cubicBezTo>
                    <a:pt x="11854744" y="1867895"/>
                    <a:pt x="11870971" y="1985017"/>
                    <a:pt x="11870266" y="209367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p:cNvSpPr/>
            <p:nvPr/>
          </p:nvSpPr>
          <p:spPr bwMode="auto">
            <a:xfrm>
              <a:off x="8879688" y="3308091"/>
              <a:ext cx="288595" cy="40197"/>
            </a:xfrm>
            <a:custGeom>
              <a:avLst/>
              <a:gdLst>
                <a:gd name="connsiteX0" fmla="*/ 0 w 855133"/>
                <a:gd name="connsiteY0" fmla="*/ 116336 h 116336"/>
                <a:gd name="connsiteX1" fmla="*/ 448733 w 855133"/>
                <a:gd name="connsiteY1" fmla="*/ 6269 h 116336"/>
                <a:gd name="connsiteX2" fmla="*/ 855133 w 855133"/>
                <a:gd name="connsiteY2" fmla="*/ 23202 h 116336"/>
                <a:gd name="connsiteX0" fmla="*/ 0 w 855133"/>
                <a:gd name="connsiteY0" fmla="*/ 119108 h 119108"/>
                <a:gd name="connsiteX1" fmla="*/ 448733 w 855133"/>
                <a:gd name="connsiteY1" fmla="*/ 9041 h 119108"/>
                <a:gd name="connsiteX2" fmla="*/ 855133 w 855133"/>
                <a:gd name="connsiteY2" fmla="*/ 17507 h 119108"/>
              </a:gdLst>
              <a:ahLst/>
              <a:cxnLst>
                <a:cxn ang="0">
                  <a:pos x="connsiteX0" y="connsiteY0"/>
                </a:cxn>
                <a:cxn ang="0">
                  <a:pos x="connsiteX1" y="connsiteY1"/>
                </a:cxn>
                <a:cxn ang="0">
                  <a:pos x="connsiteX2" y="connsiteY2"/>
                </a:cxn>
              </a:cxnLst>
              <a:rect l="l" t="t" r="r" b="b"/>
              <a:pathLst>
                <a:path w="855133" h="119108">
                  <a:moveTo>
                    <a:pt x="0" y="119108"/>
                  </a:moveTo>
                  <a:cubicBezTo>
                    <a:pt x="153105" y="71835"/>
                    <a:pt x="306211" y="25974"/>
                    <a:pt x="448733" y="9041"/>
                  </a:cubicBezTo>
                  <a:cubicBezTo>
                    <a:pt x="591255" y="-7892"/>
                    <a:pt x="723194" y="1279"/>
                    <a:pt x="855133" y="1750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4" name="Oval 43"/>
            <p:cNvSpPr/>
            <p:nvPr/>
          </p:nvSpPr>
          <p:spPr bwMode="auto">
            <a:xfrm>
              <a:off x="7547029" y="2975359"/>
              <a:ext cx="776357" cy="776356"/>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Shape 44"/>
            <p:cNvSpPr/>
            <p:nvPr/>
          </p:nvSpPr>
          <p:spPr bwMode="auto">
            <a:xfrm>
              <a:off x="7640607" y="3077565"/>
              <a:ext cx="589122" cy="579980"/>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Shape 45"/>
            <p:cNvSpPr/>
            <p:nvPr/>
          </p:nvSpPr>
          <p:spPr bwMode="auto">
            <a:xfrm>
              <a:off x="7566244" y="2986778"/>
              <a:ext cx="738326" cy="711139"/>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p:cNvSpPr/>
            <p:nvPr/>
          </p:nvSpPr>
          <p:spPr bwMode="auto">
            <a:xfrm>
              <a:off x="7851929"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p:cNvSpPr/>
            <p:nvPr/>
          </p:nvSpPr>
          <p:spPr bwMode="auto">
            <a:xfrm>
              <a:off x="8002797"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Oval 48"/>
            <p:cNvSpPr/>
            <p:nvPr/>
          </p:nvSpPr>
          <p:spPr bwMode="auto">
            <a:xfrm>
              <a:off x="7817239"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p:cNvSpPr/>
            <p:nvPr/>
          </p:nvSpPr>
          <p:spPr bwMode="auto">
            <a:xfrm>
              <a:off x="7968703"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p:cNvSpPr/>
            <p:nvPr/>
          </p:nvSpPr>
          <p:spPr bwMode="auto">
            <a:xfrm>
              <a:off x="7910949" y="3240503"/>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p:cNvSpPr/>
            <p:nvPr/>
          </p:nvSpPr>
          <p:spPr bwMode="auto">
            <a:xfrm>
              <a:off x="7604243" y="3012020"/>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p:cNvSpPr/>
            <p:nvPr/>
          </p:nvSpPr>
          <p:spPr bwMode="auto">
            <a:xfrm rot="4374466">
              <a:off x="7933937" y="2996944"/>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p:cNvSpPr/>
            <p:nvPr/>
          </p:nvSpPr>
          <p:spPr bwMode="auto">
            <a:xfrm rot="17319209">
              <a:off x="7518808" y="333295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p:cNvSpPr/>
            <p:nvPr/>
          </p:nvSpPr>
          <p:spPr bwMode="auto">
            <a:xfrm rot="8698688">
              <a:off x="8052533" y="3303658"/>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p:cNvSpPr/>
            <p:nvPr/>
          </p:nvSpPr>
          <p:spPr bwMode="auto">
            <a:xfrm rot="12956291">
              <a:off x="7796038" y="351074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nvGrpSpPr>
            <p:cNvPr id="57" name="Group 56"/>
            <p:cNvGrpSpPr/>
            <p:nvPr/>
          </p:nvGrpSpPr>
          <p:grpSpPr>
            <a:xfrm>
              <a:off x="7574467" y="3164176"/>
              <a:ext cx="119666" cy="202459"/>
              <a:chOff x="15588916" y="7188536"/>
              <a:chExt cx="354582" cy="599905"/>
            </a:xfrm>
          </p:grpSpPr>
          <p:sp>
            <p:nvSpPr>
              <p:cNvPr id="141" name="Freeform: Shape 140"/>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8" name="Group 57"/>
            <p:cNvGrpSpPr/>
            <p:nvPr/>
          </p:nvGrpSpPr>
          <p:grpSpPr>
            <a:xfrm rot="4323909">
              <a:off x="7876283" y="2944917"/>
              <a:ext cx="119666" cy="202459"/>
              <a:chOff x="15588916" y="7188536"/>
              <a:chExt cx="354582" cy="599905"/>
            </a:xfrm>
          </p:grpSpPr>
          <p:sp>
            <p:nvSpPr>
              <p:cNvPr id="139" name="Freeform: Shape 138"/>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9" name="Group 58"/>
            <p:cNvGrpSpPr/>
            <p:nvPr/>
          </p:nvGrpSpPr>
          <p:grpSpPr>
            <a:xfrm rot="8686591" flipH="1">
              <a:off x="7686147" y="3521466"/>
              <a:ext cx="127761" cy="198470"/>
              <a:chOff x="15588916" y="7188536"/>
              <a:chExt cx="354582" cy="599905"/>
            </a:xfrm>
          </p:grpSpPr>
          <p:sp>
            <p:nvSpPr>
              <p:cNvPr id="137" name="Freeform: Shape 136"/>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60" name="Freeform: Shape 59"/>
            <p:cNvSpPr/>
            <p:nvPr/>
          </p:nvSpPr>
          <p:spPr bwMode="auto">
            <a:xfrm rot="4398861" flipV="1">
              <a:off x="8025316" y="3647622"/>
              <a:ext cx="56576" cy="41687"/>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p:cNvSpPr/>
            <p:nvPr/>
          </p:nvSpPr>
          <p:spPr bwMode="auto">
            <a:xfrm rot="17414756" flipV="1">
              <a:off x="8156490" y="3540962"/>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2" name="Oval 61"/>
            <p:cNvSpPr/>
            <p:nvPr/>
          </p:nvSpPr>
          <p:spPr bwMode="auto">
            <a:xfrm>
              <a:off x="7896717" y="3323557"/>
              <a:ext cx="79608" cy="79608"/>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Shape 62"/>
            <p:cNvSpPr/>
            <p:nvPr/>
          </p:nvSpPr>
          <p:spPr bwMode="auto">
            <a:xfrm rot="12965245" flipV="1">
              <a:off x="8181489" y="315098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p:cNvSpPr/>
            <p:nvPr/>
          </p:nvSpPr>
          <p:spPr bwMode="auto">
            <a:xfrm rot="6683114">
              <a:off x="8231228" y="332125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5" name="Oval 64"/>
            <p:cNvSpPr/>
            <p:nvPr/>
          </p:nvSpPr>
          <p:spPr bwMode="auto">
            <a:xfrm>
              <a:off x="3225828" y="2975359"/>
              <a:ext cx="776357" cy="776356"/>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Shape 65"/>
            <p:cNvSpPr/>
            <p:nvPr/>
          </p:nvSpPr>
          <p:spPr bwMode="auto">
            <a:xfrm>
              <a:off x="3319406" y="3077565"/>
              <a:ext cx="589122" cy="579980"/>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Shape 66"/>
            <p:cNvSpPr/>
            <p:nvPr/>
          </p:nvSpPr>
          <p:spPr bwMode="auto">
            <a:xfrm>
              <a:off x="3245043" y="2986778"/>
              <a:ext cx="738326" cy="711139"/>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p:cNvSpPr/>
            <p:nvPr/>
          </p:nvSpPr>
          <p:spPr bwMode="auto">
            <a:xfrm>
              <a:off x="3530728"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p:cNvSpPr/>
            <p:nvPr/>
          </p:nvSpPr>
          <p:spPr bwMode="auto">
            <a:xfrm>
              <a:off x="3681596"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p:cNvSpPr/>
            <p:nvPr/>
          </p:nvSpPr>
          <p:spPr bwMode="auto">
            <a:xfrm>
              <a:off x="3496037"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p:cNvSpPr/>
            <p:nvPr/>
          </p:nvSpPr>
          <p:spPr bwMode="auto">
            <a:xfrm>
              <a:off x="3647501"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p:cNvSpPr/>
            <p:nvPr/>
          </p:nvSpPr>
          <p:spPr bwMode="auto">
            <a:xfrm>
              <a:off x="3589748" y="3240503"/>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Freeform: Shape 72"/>
            <p:cNvSpPr/>
            <p:nvPr/>
          </p:nvSpPr>
          <p:spPr bwMode="auto">
            <a:xfrm>
              <a:off x="3283042" y="3012020"/>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p:cNvSpPr/>
            <p:nvPr/>
          </p:nvSpPr>
          <p:spPr bwMode="auto">
            <a:xfrm rot="4374466">
              <a:off x="3612735" y="2996944"/>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p:cNvSpPr/>
            <p:nvPr/>
          </p:nvSpPr>
          <p:spPr bwMode="auto">
            <a:xfrm rot="17319209">
              <a:off x="3197607" y="333295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p:cNvSpPr/>
            <p:nvPr/>
          </p:nvSpPr>
          <p:spPr bwMode="auto">
            <a:xfrm rot="8698688">
              <a:off x="3731331" y="3303658"/>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p:cNvSpPr/>
            <p:nvPr/>
          </p:nvSpPr>
          <p:spPr bwMode="auto">
            <a:xfrm rot="12956291">
              <a:off x="3474837" y="351074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nvGrpSpPr>
            <p:cNvPr id="78" name="Group 77"/>
            <p:cNvGrpSpPr/>
            <p:nvPr/>
          </p:nvGrpSpPr>
          <p:grpSpPr>
            <a:xfrm>
              <a:off x="3253265" y="3164176"/>
              <a:ext cx="119666" cy="202459"/>
              <a:chOff x="15588916" y="7188536"/>
              <a:chExt cx="354582" cy="599905"/>
            </a:xfrm>
          </p:grpSpPr>
          <p:sp>
            <p:nvSpPr>
              <p:cNvPr id="135" name="Freeform: Shape 134"/>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9" name="Group 78"/>
            <p:cNvGrpSpPr/>
            <p:nvPr/>
          </p:nvGrpSpPr>
          <p:grpSpPr>
            <a:xfrm rot="4323909">
              <a:off x="3555082" y="2944917"/>
              <a:ext cx="119666" cy="202459"/>
              <a:chOff x="15588916" y="7188536"/>
              <a:chExt cx="354582" cy="599905"/>
            </a:xfrm>
          </p:grpSpPr>
          <p:sp>
            <p:nvSpPr>
              <p:cNvPr id="133" name="Freeform: Shape 132"/>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4" name="Freeform: Shape 133"/>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80" name="Group 79"/>
            <p:cNvGrpSpPr/>
            <p:nvPr/>
          </p:nvGrpSpPr>
          <p:grpSpPr>
            <a:xfrm rot="8686591" flipH="1">
              <a:off x="3364946" y="3521466"/>
              <a:ext cx="127761" cy="198470"/>
              <a:chOff x="15588916" y="7188536"/>
              <a:chExt cx="354582" cy="599905"/>
            </a:xfrm>
          </p:grpSpPr>
          <p:sp>
            <p:nvSpPr>
              <p:cNvPr id="131" name="Freeform: Shape 130"/>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2" name="Freeform: Shape 131"/>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81" name="Freeform: Shape 80"/>
            <p:cNvSpPr/>
            <p:nvPr/>
          </p:nvSpPr>
          <p:spPr bwMode="auto">
            <a:xfrm rot="4398861" flipV="1">
              <a:off x="3704115" y="3647622"/>
              <a:ext cx="56576" cy="41687"/>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p:cNvSpPr/>
            <p:nvPr/>
          </p:nvSpPr>
          <p:spPr bwMode="auto">
            <a:xfrm rot="17414756" flipV="1">
              <a:off x="3835288" y="3540962"/>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3" name="Oval 82"/>
            <p:cNvSpPr/>
            <p:nvPr/>
          </p:nvSpPr>
          <p:spPr bwMode="auto">
            <a:xfrm>
              <a:off x="3575516" y="3323557"/>
              <a:ext cx="79608" cy="79608"/>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Freeform: Shape 83"/>
            <p:cNvSpPr/>
            <p:nvPr/>
          </p:nvSpPr>
          <p:spPr bwMode="auto">
            <a:xfrm rot="12965245" flipV="1">
              <a:off x="3860287" y="315098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p:cNvSpPr/>
            <p:nvPr/>
          </p:nvSpPr>
          <p:spPr bwMode="auto">
            <a:xfrm rot="6683114">
              <a:off x="3910027" y="332125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p:cNvSpPr/>
            <p:nvPr/>
          </p:nvSpPr>
          <p:spPr bwMode="auto">
            <a:xfrm>
              <a:off x="2570591" y="2702513"/>
              <a:ext cx="1713649" cy="812098"/>
            </a:xfrm>
            <a:custGeom>
              <a:avLst/>
              <a:gdLst>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77691"/>
                <a:gd name="connsiteY0" fmla="*/ 2392240 h 2406318"/>
                <a:gd name="connsiteX1" fmla="*/ 526473 w 5077691"/>
                <a:gd name="connsiteY1" fmla="*/ 2406095 h 2406318"/>
                <a:gd name="connsiteX2" fmla="*/ 921327 w 5077691"/>
                <a:gd name="connsiteY2" fmla="*/ 2399167 h 2406318"/>
                <a:gd name="connsiteX3" fmla="*/ 1025236 w 5077691"/>
                <a:gd name="connsiteY3" fmla="*/ 2378386 h 2406318"/>
                <a:gd name="connsiteX4" fmla="*/ 1101436 w 5077691"/>
                <a:gd name="connsiteY4" fmla="*/ 2239840 h 2406318"/>
                <a:gd name="connsiteX5" fmla="*/ 1129145 w 5077691"/>
                <a:gd name="connsiteY5" fmla="*/ 1713367 h 2406318"/>
                <a:gd name="connsiteX6" fmla="*/ 1253836 w 5077691"/>
                <a:gd name="connsiteY6" fmla="*/ 1221531 h 2406318"/>
                <a:gd name="connsiteX7" fmla="*/ 1551709 w 5077691"/>
                <a:gd name="connsiteY7" fmla="*/ 701986 h 2406318"/>
                <a:gd name="connsiteX8" fmla="*/ 2105891 w 5077691"/>
                <a:gd name="connsiteY8" fmla="*/ 244786 h 2406318"/>
                <a:gd name="connsiteX9" fmla="*/ 2646218 w 5077691"/>
                <a:gd name="connsiteY9" fmla="*/ 57750 h 2406318"/>
                <a:gd name="connsiteX10" fmla="*/ 3241964 w 5077691"/>
                <a:gd name="connsiteY10" fmla="*/ 2331 h 2406318"/>
                <a:gd name="connsiteX11" fmla="*/ 3837709 w 5077691"/>
                <a:gd name="connsiteY11" fmla="*/ 120094 h 2406318"/>
                <a:gd name="connsiteX12" fmla="*/ 4281055 w 5077691"/>
                <a:gd name="connsiteY12" fmla="*/ 341767 h 2406318"/>
                <a:gd name="connsiteX13" fmla="*/ 4717473 w 5077691"/>
                <a:gd name="connsiteY13" fmla="*/ 764331 h 2406318"/>
                <a:gd name="connsiteX14" fmla="*/ 4925291 w 5077691"/>
                <a:gd name="connsiteY14" fmla="*/ 1103767 h 2406318"/>
                <a:gd name="connsiteX15" fmla="*/ 5036127 w 5077691"/>
                <a:gd name="connsiteY15" fmla="*/ 1387786 h 2406318"/>
                <a:gd name="connsiteX16" fmla="*/ 5077691 w 5077691"/>
                <a:gd name="connsiteY16" fmla="*/ 1554040 h 240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77691" h="2406318">
                  <a:moveTo>
                    <a:pt x="0" y="2392240"/>
                  </a:moveTo>
                  <a:lnTo>
                    <a:pt x="526473" y="2406095"/>
                  </a:lnTo>
                  <a:cubicBezTo>
                    <a:pt x="680027" y="2407249"/>
                    <a:pt x="838200" y="2403785"/>
                    <a:pt x="921327" y="2399167"/>
                  </a:cubicBezTo>
                  <a:cubicBezTo>
                    <a:pt x="1004454" y="2394549"/>
                    <a:pt x="995218" y="2404940"/>
                    <a:pt x="1025236" y="2378386"/>
                  </a:cubicBezTo>
                  <a:cubicBezTo>
                    <a:pt x="1055254" y="2351832"/>
                    <a:pt x="1104900" y="2364532"/>
                    <a:pt x="1101436" y="2239840"/>
                  </a:cubicBezTo>
                  <a:cubicBezTo>
                    <a:pt x="1097972" y="2115148"/>
                    <a:pt x="1103745" y="1883085"/>
                    <a:pt x="1129145" y="1713367"/>
                  </a:cubicBezTo>
                  <a:cubicBezTo>
                    <a:pt x="1154545" y="1543649"/>
                    <a:pt x="1183409" y="1390094"/>
                    <a:pt x="1253836" y="1221531"/>
                  </a:cubicBezTo>
                  <a:cubicBezTo>
                    <a:pt x="1324263" y="1052968"/>
                    <a:pt x="1409700" y="864777"/>
                    <a:pt x="1551709" y="701986"/>
                  </a:cubicBezTo>
                  <a:cubicBezTo>
                    <a:pt x="1693718" y="539195"/>
                    <a:pt x="1923473" y="352159"/>
                    <a:pt x="2105891" y="244786"/>
                  </a:cubicBezTo>
                  <a:cubicBezTo>
                    <a:pt x="2288309" y="137413"/>
                    <a:pt x="2456873" y="98159"/>
                    <a:pt x="2646218" y="57750"/>
                  </a:cubicBezTo>
                  <a:cubicBezTo>
                    <a:pt x="2835564" y="17341"/>
                    <a:pt x="3043382" y="-8060"/>
                    <a:pt x="3241964" y="2331"/>
                  </a:cubicBezTo>
                  <a:cubicBezTo>
                    <a:pt x="3440546" y="12722"/>
                    <a:pt x="3664527" y="63521"/>
                    <a:pt x="3837709" y="120094"/>
                  </a:cubicBezTo>
                  <a:cubicBezTo>
                    <a:pt x="4010891" y="176667"/>
                    <a:pt x="4120574" y="241321"/>
                    <a:pt x="4281055" y="341767"/>
                  </a:cubicBezTo>
                  <a:cubicBezTo>
                    <a:pt x="4441536" y="442213"/>
                    <a:pt x="4610100" y="637331"/>
                    <a:pt x="4717473" y="764331"/>
                  </a:cubicBezTo>
                  <a:cubicBezTo>
                    <a:pt x="4824846" y="891331"/>
                    <a:pt x="4872182" y="999858"/>
                    <a:pt x="4925291" y="1103767"/>
                  </a:cubicBezTo>
                  <a:cubicBezTo>
                    <a:pt x="4978400" y="1207676"/>
                    <a:pt x="5010727" y="1312741"/>
                    <a:pt x="5036127" y="1387786"/>
                  </a:cubicBezTo>
                  <a:cubicBezTo>
                    <a:pt x="5061527" y="1462831"/>
                    <a:pt x="5069609" y="1508435"/>
                    <a:pt x="5077691" y="155404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p:cNvSpPr/>
            <p:nvPr/>
          </p:nvSpPr>
          <p:spPr bwMode="auto">
            <a:xfrm>
              <a:off x="2699161" y="3234492"/>
              <a:ext cx="121941" cy="163758"/>
            </a:xfrm>
            <a:custGeom>
              <a:avLst/>
              <a:gdLst>
                <a:gd name="connsiteX0" fmla="*/ 104438 w 376383"/>
                <a:gd name="connsiteY0" fmla="*/ 7725 h 508285"/>
                <a:gd name="connsiteX1" fmla="*/ 528 w 376383"/>
                <a:gd name="connsiteY1" fmla="*/ 194762 h 508285"/>
                <a:gd name="connsiteX2" fmla="*/ 69801 w 376383"/>
                <a:gd name="connsiteY2" fmla="*/ 388725 h 508285"/>
                <a:gd name="connsiteX3" fmla="*/ 194492 w 376383"/>
                <a:gd name="connsiteY3" fmla="*/ 485707 h 508285"/>
                <a:gd name="connsiteX4" fmla="*/ 291474 w 376383"/>
                <a:gd name="connsiteY4" fmla="*/ 499562 h 508285"/>
                <a:gd name="connsiteX5" fmla="*/ 374601 w 376383"/>
                <a:gd name="connsiteY5" fmla="*/ 374871 h 508285"/>
                <a:gd name="connsiteX6" fmla="*/ 339965 w 376383"/>
                <a:gd name="connsiteY6" fmla="*/ 173980 h 508285"/>
                <a:gd name="connsiteX7" fmla="*/ 242983 w 376383"/>
                <a:gd name="connsiteY7" fmla="*/ 49289 h 508285"/>
                <a:gd name="connsiteX8" fmla="*/ 104438 w 376383"/>
                <a:gd name="connsiteY8" fmla="*/ 7725 h 508285"/>
                <a:gd name="connsiteX0" fmla="*/ 97336 w 376209"/>
                <a:gd name="connsiteY0" fmla="*/ 10808 h 490586"/>
                <a:gd name="connsiteX1" fmla="*/ 354 w 376209"/>
                <a:gd name="connsiteY1" fmla="*/ 177063 h 490586"/>
                <a:gd name="connsiteX2" fmla="*/ 69627 w 376209"/>
                <a:gd name="connsiteY2" fmla="*/ 371026 h 490586"/>
                <a:gd name="connsiteX3" fmla="*/ 194318 w 376209"/>
                <a:gd name="connsiteY3" fmla="*/ 468008 h 490586"/>
                <a:gd name="connsiteX4" fmla="*/ 291300 w 376209"/>
                <a:gd name="connsiteY4" fmla="*/ 481863 h 490586"/>
                <a:gd name="connsiteX5" fmla="*/ 374427 w 376209"/>
                <a:gd name="connsiteY5" fmla="*/ 357172 h 490586"/>
                <a:gd name="connsiteX6" fmla="*/ 339791 w 376209"/>
                <a:gd name="connsiteY6" fmla="*/ 156281 h 490586"/>
                <a:gd name="connsiteX7" fmla="*/ 242809 w 376209"/>
                <a:gd name="connsiteY7" fmla="*/ 31590 h 490586"/>
                <a:gd name="connsiteX8" fmla="*/ 97336 w 376209"/>
                <a:gd name="connsiteY8" fmla="*/ 10808 h 490586"/>
                <a:gd name="connsiteX0" fmla="*/ 83600 w 362473"/>
                <a:gd name="connsiteY0" fmla="*/ 10808 h 490586"/>
                <a:gd name="connsiteX1" fmla="*/ 473 w 362473"/>
                <a:gd name="connsiteY1" fmla="*/ 177063 h 490586"/>
                <a:gd name="connsiteX2" fmla="*/ 55891 w 362473"/>
                <a:gd name="connsiteY2" fmla="*/ 371026 h 490586"/>
                <a:gd name="connsiteX3" fmla="*/ 180582 w 362473"/>
                <a:gd name="connsiteY3" fmla="*/ 468008 h 490586"/>
                <a:gd name="connsiteX4" fmla="*/ 277564 w 362473"/>
                <a:gd name="connsiteY4" fmla="*/ 481863 h 490586"/>
                <a:gd name="connsiteX5" fmla="*/ 360691 w 362473"/>
                <a:gd name="connsiteY5" fmla="*/ 357172 h 490586"/>
                <a:gd name="connsiteX6" fmla="*/ 326055 w 362473"/>
                <a:gd name="connsiteY6" fmla="*/ 156281 h 490586"/>
                <a:gd name="connsiteX7" fmla="*/ 229073 w 362473"/>
                <a:gd name="connsiteY7" fmla="*/ 31590 h 490586"/>
                <a:gd name="connsiteX8" fmla="*/ 83600 w 362473"/>
                <a:gd name="connsiteY8" fmla="*/ 10808 h 490586"/>
                <a:gd name="connsiteX0" fmla="*/ 83600 w 361759"/>
                <a:gd name="connsiteY0" fmla="*/ 10808 h 490586"/>
                <a:gd name="connsiteX1" fmla="*/ 473 w 361759"/>
                <a:gd name="connsiteY1" fmla="*/ 177063 h 490586"/>
                <a:gd name="connsiteX2" fmla="*/ 55891 w 361759"/>
                <a:gd name="connsiteY2" fmla="*/ 371026 h 490586"/>
                <a:gd name="connsiteX3" fmla="*/ 180582 w 361759"/>
                <a:gd name="connsiteY3" fmla="*/ 468008 h 490586"/>
                <a:gd name="connsiteX4" fmla="*/ 291418 w 361759"/>
                <a:gd name="connsiteY4" fmla="*/ 481863 h 490586"/>
                <a:gd name="connsiteX5" fmla="*/ 360691 w 361759"/>
                <a:gd name="connsiteY5" fmla="*/ 357172 h 490586"/>
                <a:gd name="connsiteX6" fmla="*/ 326055 w 361759"/>
                <a:gd name="connsiteY6" fmla="*/ 156281 h 490586"/>
                <a:gd name="connsiteX7" fmla="*/ 229073 w 361759"/>
                <a:gd name="connsiteY7" fmla="*/ 31590 h 490586"/>
                <a:gd name="connsiteX8" fmla="*/ 83600 w 361759"/>
                <a:gd name="connsiteY8" fmla="*/ 10808 h 490586"/>
                <a:gd name="connsiteX0" fmla="*/ 85293 w 363452"/>
                <a:gd name="connsiteY0" fmla="*/ 10808 h 490586"/>
                <a:gd name="connsiteX1" fmla="*/ 2166 w 363452"/>
                <a:gd name="connsiteY1" fmla="*/ 177063 h 490586"/>
                <a:gd name="connsiteX2" fmla="*/ 57584 w 363452"/>
                <a:gd name="connsiteY2" fmla="*/ 371026 h 490586"/>
                <a:gd name="connsiteX3" fmla="*/ 182275 w 363452"/>
                <a:gd name="connsiteY3" fmla="*/ 468008 h 490586"/>
                <a:gd name="connsiteX4" fmla="*/ 293111 w 363452"/>
                <a:gd name="connsiteY4" fmla="*/ 481863 h 490586"/>
                <a:gd name="connsiteX5" fmla="*/ 362384 w 363452"/>
                <a:gd name="connsiteY5" fmla="*/ 357172 h 490586"/>
                <a:gd name="connsiteX6" fmla="*/ 327748 w 363452"/>
                <a:gd name="connsiteY6" fmla="*/ 156281 h 490586"/>
                <a:gd name="connsiteX7" fmla="*/ 230766 w 363452"/>
                <a:gd name="connsiteY7" fmla="*/ 31590 h 490586"/>
                <a:gd name="connsiteX8" fmla="*/ 85293 w 363452"/>
                <a:gd name="connsiteY8" fmla="*/ 10808 h 490586"/>
                <a:gd name="connsiteX0" fmla="*/ 62382 w 361323"/>
                <a:gd name="connsiteY0" fmla="*/ 12378 h 485229"/>
                <a:gd name="connsiteX1" fmla="*/ 37 w 361323"/>
                <a:gd name="connsiteY1" fmla="*/ 171706 h 485229"/>
                <a:gd name="connsiteX2" fmla="*/ 55455 w 361323"/>
                <a:gd name="connsiteY2" fmla="*/ 365669 h 485229"/>
                <a:gd name="connsiteX3" fmla="*/ 180146 w 361323"/>
                <a:gd name="connsiteY3" fmla="*/ 462651 h 485229"/>
                <a:gd name="connsiteX4" fmla="*/ 290982 w 361323"/>
                <a:gd name="connsiteY4" fmla="*/ 476506 h 485229"/>
                <a:gd name="connsiteX5" fmla="*/ 360255 w 361323"/>
                <a:gd name="connsiteY5" fmla="*/ 351815 h 485229"/>
                <a:gd name="connsiteX6" fmla="*/ 325619 w 361323"/>
                <a:gd name="connsiteY6" fmla="*/ 150924 h 485229"/>
                <a:gd name="connsiteX7" fmla="*/ 228637 w 361323"/>
                <a:gd name="connsiteY7" fmla="*/ 26233 h 485229"/>
                <a:gd name="connsiteX8" fmla="*/ 62382 w 361323"/>
                <a:gd name="connsiteY8" fmla="*/ 12378 h 48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3" h="485229">
                  <a:moveTo>
                    <a:pt x="62382" y="12378"/>
                  </a:moveTo>
                  <a:cubicBezTo>
                    <a:pt x="24282" y="36623"/>
                    <a:pt x="1191" y="112824"/>
                    <a:pt x="37" y="171706"/>
                  </a:cubicBezTo>
                  <a:cubicBezTo>
                    <a:pt x="-1117" y="230588"/>
                    <a:pt x="25437" y="317178"/>
                    <a:pt x="55455" y="365669"/>
                  </a:cubicBezTo>
                  <a:cubicBezTo>
                    <a:pt x="85473" y="414160"/>
                    <a:pt x="140892" y="444178"/>
                    <a:pt x="180146" y="462651"/>
                  </a:cubicBezTo>
                  <a:cubicBezTo>
                    <a:pt x="219401" y="481124"/>
                    <a:pt x="260964" y="494979"/>
                    <a:pt x="290982" y="476506"/>
                  </a:cubicBezTo>
                  <a:cubicBezTo>
                    <a:pt x="321000" y="458033"/>
                    <a:pt x="354482" y="406079"/>
                    <a:pt x="360255" y="351815"/>
                  </a:cubicBezTo>
                  <a:cubicBezTo>
                    <a:pt x="366028" y="297551"/>
                    <a:pt x="347555" y="205188"/>
                    <a:pt x="325619" y="150924"/>
                  </a:cubicBezTo>
                  <a:cubicBezTo>
                    <a:pt x="303683" y="96660"/>
                    <a:pt x="272510" y="49324"/>
                    <a:pt x="228637" y="26233"/>
                  </a:cubicBezTo>
                  <a:cubicBezTo>
                    <a:pt x="184764" y="3142"/>
                    <a:pt x="100482" y="-11867"/>
                    <a:pt x="62382" y="1237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Freeform: Shape 87"/>
            <p:cNvSpPr/>
            <p:nvPr/>
          </p:nvSpPr>
          <p:spPr bwMode="auto">
            <a:xfrm>
              <a:off x="2746898" y="3252696"/>
              <a:ext cx="59817" cy="128846"/>
            </a:xfrm>
            <a:custGeom>
              <a:avLst/>
              <a:gdLst>
                <a:gd name="connsiteX0" fmla="*/ 79417 w 155617"/>
                <a:gd name="connsiteY0" fmla="*/ 0 h 381782"/>
                <a:gd name="connsiteX1" fmla="*/ 10144 w 155617"/>
                <a:gd name="connsiteY1" fmla="*/ 90055 h 381782"/>
                <a:gd name="connsiteX2" fmla="*/ 3217 w 155617"/>
                <a:gd name="connsiteY2" fmla="*/ 207818 h 381782"/>
                <a:gd name="connsiteX3" fmla="*/ 37853 w 155617"/>
                <a:gd name="connsiteY3" fmla="*/ 346364 h 381782"/>
                <a:gd name="connsiteX4" fmla="*/ 100199 w 155617"/>
                <a:gd name="connsiteY4" fmla="*/ 381000 h 381782"/>
                <a:gd name="connsiteX5" fmla="*/ 155617 w 155617"/>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74913"/>
                <a:gd name="connsiteY0" fmla="*/ 0 h 381782"/>
                <a:gd name="connsiteX1" fmla="*/ 15586 w 174913"/>
                <a:gd name="connsiteY1" fmla="*/ 90055 h 381782"/>
                <a:gd name="connsiteX2" fmla="*/ 1731 w 174913"/>
                <a:gd name="connsiteY2" fmla="*/ 200891 h 381782"/>
                <a:gd name="connsiteX3" fmla="*/ 43295 w 174913"/>
                <a:gd name="connsiteY3" fmla="*/ 346364 h 381782"/>
                <a:gd name="connsiteX4" fmla="*/ 105641 w 174913"/>
                <a:gd name="connsiteY4" fmla="*/ 381000 h 381782"/>
                <a:gd name="connsiteX5" fmla="*/ 174913 w 174913"/>
                <a:gd name="connsiteY5" fmla="*/ 367146 h 381782"/>
                <a:gd name="connsiteX0" fmla="*/ 87188 w 177242"/>
                <a:gd name="connsiteY0" fmla="*/ 0 h 381782"/>
                <a:gd name="connsiteX1" fmla="*/ 10987 w 177242"/>
                <a:gd name="connsiteY1" fmla="*/ 90055 h 381782"/>
                <a:gd name="connsiteX2" fmla="*/ 4060 w 177242"/>
                <a:gd name="connsiteY2" fmla="*/ 200891 h 381782"/>
                <a:gd name="connsiteX3" fmla="*/ 45624 w 177242"/>
                <a:gd name="connsiteY3" fmla="*/ 346364 h 381782"/>
                <a:gd name="connsiteX4" fmla="*/ 107970 w 177242"/>
                <a:gd name="connsiteY4" fmla="*/ 381000 h 381782"/>
                <a:gd name="connsiteX5" fmla="*/ 177242 w 177242"/>
                <a:gd name="connsiteY5" fmla="*/ 367146 h 3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242" h="381782">
                  <a:moveTo>
                    <a:pt x="87188" y="0"/>
                  </a:moveTo>
                  <a:cubicBezTo>
                    <a:pt x="58901" y="27709"/>
                    <a:pt x="24842" y="56573"/>
                    <a:pt x="10987" y="90055"/>
                  </a:cubicBezTo>
                  <a:cubicBezTo>
                    <a:pt x="-2868" y="123537"/>
                    <a:pt x="-1713" y="158173"/>
                    <a:pt x="4060" y="200891"/>
                  </a:cubicBezTo>
                  <a:cubicBezTo>
                    <a:pt x="9833" y="243609"/>
                    <a:pt x="28306" y="316346"/>
                    <a:pt x="45624" y="346364"/>
                  </a:cubicBezTo>
                  <a:cubicBezTo>
                    <a:pt x="62942" y="376382"/>
                    <a:pt x="86034" y="377536"/>
                    <a:pt x="107970" y="381000"/>
                  </a:cubicBezTo>
                  <a:cubicBezTo>
                    <a:pt x="129906" y="384464"/>
                    <a:pt x="159346" y="375805"/>
                    <a:pt x="177242" y="367146"/>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p:cNvSpPr/>
            <p:nvPr/>
          </p:nvSpPr>
          <p:spPr bwMode="auto">
            <a:xfrm>
              <a:off x="4340667" y="2560687"/>
              <a:ext cx="190414" cy="46378"/>
            </a:xfrm>
            <a:custGeom>
              <a:avLst/>
              <a:gdLst>
                <a:gd name="connsiteX0" fmla="*/ 144530 w 564212"/>
                <a:gd name="connsiteY0" fmla="*/ 117774 h 137423"/>
                <a:gd name="connsiteX1" fmla="*/ 428548 w 564212"/>
                <a:gd name="connsiteY1" fmla="*/ 131629 h 137423"/>
                <a:gd name="connsiteX2" fmla="*/ 553239 w 564212"/>
                <a:gd name="connsiteY2" fmla="*/ 20792 h 137423"/>
                <a:gd name="connsiteX3" fmla="*/ 511676 w 564212"/>
                <a:gd name="connsiteY3" fmla="*/ 10 h 137423"/>
                <a:gd name="connsiteX4" fmla="*/ 144530 w 564212"/>
                <a:gd name="connsiteY4" fmla="*/ 20792 h 137423"/>
                <a:gd name="connsiteX5" fmla="*/ 26767 w 564212"/>
                <a:gd name="connsiteY5" fmla="*/ 34647 h 137423"/>
                <a:gd name="connsiteX6" fmla="*/ 5985 w 564212"/>
                <a:gd name="connsiteY6" fmla="*/ 83138 h 137423"/>
                <a:gd name="connsiteX7" fmla="*/ 144530 w 564212"/>
                <a:gd name="connsiteY7" fmla="*/ 117774 h 137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4212" h="137423">
                  <a:moveTo>
                    <a:pt x="144530" y="117774"/>
                  </a:moveTo>
                  <a:cubicBezTo>
                    <a:pt x="214957" y="125856"/>
                    <a:pt x="360430" y="147793"/>
                    <a:pt x="428548" y="131629"/>
                  </a:cubicBezTo>
                  <a:cubicBezTo>
                    <a:pt x="496666" y="115465"/>
                    <a:pt x="539384" y="42728"/>
                    <a:pt x="553239" y="20792"/>
                  </a:cubicBezTo>
                  <a:cubicBezTo>
                    <a:pt x="567094" y="-1144"/>
                    <a:pt x="579794" y="10"/>
                    <a:pt x="511676" y="10"/>
                  </a:cubicBezTo>
                  <a:cubicBezTo>
                    <a:pt x="443558" y="10"/>
                    <a:pt x="225348" y="15019"/>
                    <a:pt x="144530" y="20792"/>
                  </a:cubicBezTo>
                  <a:cubicBezTo>
                    <a:pt x="63712" y="26565"/>
                    <a:pt x="49858" y="24256"/>
                    <a:pt x="26767" y="34647"/>
                  </a:cubicBezTo>
                  <a:cubicBezTo>
                    <a:pt x="3676" y="45038"/>
                    <a:pt x="-7869" y="69284"/>
                    <a:pt x="5985" y="83138"/>
                  </a:cubicBezTo>
                  <a:cubicBezTo>
                    <a:pt x="19839" y="96992"/>
                    <a:pt x="74103" y="109692"/>
                    <a:pt x="144530" y="11777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Shape 89"/>
            <p:cNvSpPr/>
            <p:nvPr/>
          </p:nvSpPr>
          <p:spPr bwMode="auto">
            <a:xfrm>
              <a:off x="2610335" y="2331581"/>
              <a:ext cx="1804826" cy="353016"/>
            </a:xfrm>
            <a:custGeom>
              <a:avLst/>
              <a:gdLst>
                <a:gd name="connsiteX0" fmla="*/ 0 w 5320146"/>
                <a:gd name="connsiteY0" fmla="*/ 1046018 h 1046018"/>
                <a:gd name="connsiteX1" fmla="*/ 581891 w 5320146"/>
                <a:gd name="connsiteY1" fmla="*/ 762000 h 1046018"/>
                <a:gd name="connsiteX2" fmla="*/ 1371600 w 5320146"/>
                <a:gd name="connsiteY2" fmla="*/ 540327 h 1046018"/>
                <a:gd name="connsiteX3" fmla="*/ 2528455 w 5320146"/>
                <a:gd name="connsiteY3" fmla="*/ 325582 h 1046018"/>
                <a:gd name="connsiteX4" fmla="*/ 3913909 w 5320146"/>
                <a:gd name="connsiteY4" fmla="*/ 138545 h 1046018"/>
                <a:gd name="connsiteX5" fmla="*/ 4814455 w 5320146"/>
                <a:gd name="connsiteY5" fmla="*/ 34636 h 1046018"/>
                <a:gd name="connsiteX6" fmla="*/ 5320146 w 5320146"/>
                <a:gd name="connsiteY6" fmla="*/ 0 h 1046018"/>
                <a:gd name="connsiteX0" fmla="*/ 0 w 5347855"/>
                <a:gd name="connsiteY0" fmla="*/ 1046018 h 1046018"/>
                <a:gd name="connsiteX1" fmla="*/ 581891 w 5347855"/>
                <a:gd name="connsiteY1" fmla="*/ 762000 h 1046018"/>
                <a:gd name="connsiteX2" fmla="*/ 1371600 w 5347855"/>
                <a:gd name="connsiteY2" fmla="*/ 540327 h 1046018"/>
                <a:gd name="connsiteX3" fmla="*/ 2528455 w 5347855"/>
                <a:gd name="connsiteY3" fmla="*/ 325582 h 1046018"/>
                <a:gd name="connsiteX4" fmla="*/ 3913909 w 5347855"/>
                <a:gd name="connsiteY4" fmla="*/ 138545 h 1046018"/>
                <a:gd name="connsiteX5" fmla="*/ 4814455 w 5347855"/>
                <a:gd name="connsiteY5" fmla="*/ 34636 h 1046018"/>
                <a:gd name="connsiteX6" fmla="*/ 5347855 w 5347855"/>
                <a:gd name="connsiteY6" fmla="*/ 0 h 10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7855" h="1046018">
                  <a:moveTo>
                    <a:pt x="0" y="1046018"/>
                  </a:moveTo>
                  <a:cubicBezTo>
                    <a:pt x="176645" y="946150"/>
                    <a:pt x="353291" y="846282"/>
                    <a:pt x="581891" y="762000"/>
                  </a:cubicBezTo>
                  <a:cubicBezTo>
                    <a:pt x="810491" y="677718"/>
                    <a:pt x="1047173" y="613063"/>
                    <a:pt x="1371600" y="540327"/>
                  </a:cubicBezTo>
                  <a:cubicBezTo>
                    <a:pt x="1696027" y="467591"/>
                    <a:pt x="2104737" y="392546"/>
                    <a:pt x="2528455" y="325582"/>
                  </a:cubicBezTo>
                  <a:cubicBezTo>
                    <a:pt x="2952173" y="258618"/>
                    <a:pt x="3532909" y="187036"/>
                    <a:pt x="3913909" y="138545"/>
                  </a:cubicBezTo>
                  <a:cubicBezTo>
                    <a:pt x="4294909" y="90054"/>
                    <a:pt x="4575464" y="57727"/>
                    <a:pt x="4814455" y="34636"/>
                  </a:cubicBezTo>
                  <a:cubicBezTo>
                    <a:pt x="5053446" y="11545"/>
                    <a:pt x="5212196" y="5772"/>
                    <a:pt x="5347855"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p:cNvSpPr/>
            <p:nvPr/>
          </p:nvSpPr>
          <p:spPr bwMode="auto">
            <a:xfrm>
              <a:off x="2900229" y="2357297"/>
              <a:ext cx="1713649" cy="292232"/>
            </a:xfrm>
            <a:custGeom>
              <a:avLst/>
              <a:gdLst>
                <a:gd name="connsiteX0" fmla="*/ 5077691 w 5077691"/>
                <a:gd name="connsiteY0" fmla="*/ 0 h 865909"/>
                <a:gd name="connsiteX1" fmla="*/ 4918364 w 5077691"/>
                <a:gd name="connsiteY1" fmla="*/ 103909 h 865909"/>
                <a:gd name="connsiteX2" fmla="*/ 4475019 w 5077691"/>
                <a:gd name="connsiteY2" fmla="*/ 228600 h 865909"/>
                <a:gd name="connsiteX3" fmla="*/ 3851564 w 5077691"/>
                <a:gd name="connsiteY3" fmla="*/ 297872 h 865909"/>
                <a:gd name="connsiteX4" fmla="*/ 2930237 w 5077691"/>
                <a:gd name="connsiteY4" fmla="*/ 381000 h 865909"/>
                <a:gd name="connsiteX5" fmla="*/ 1953491 w 5077691"/>
                <a:gd name="connsiteY5" fmla="*/ 477982 h 865909"/>
                <a:gd name="connsiteX6" fmla="*/ 1094510 w 5077691"/>
                <a:gd name="connsiteY6" fmla="*/ 609600 h 865909"/>
                <a:gd name="connsiteX7" fmla="*/ 526473 w 5077691"/>
                <a:gd name="connsiteY7" fmla="*/ 699654 h 865909"/>
                <a:gd name="connsiteX8" fmla="*/ 96982 w 5077691"/>
                <a:gd name="connsiteY8" fmla="*/ 831272 h 865909"/>
                <a:gd name="connsiteX9" fmla="*/ 0 w 5077691"/>
                <a:gd name="connsiteY9" fmla="*/ 865909 h 8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7691" h="865909">
                  <a:moveTo>
                    <a:pt x="5077691" y="0"/>
                  </a:moveTo>
                  <a:cubicBezTo>
                    <a:pt x="5048250" y="32904"/>
                    <a:pt x="5018809" y="65809"/>
                    <a:pt x="4918364" y="103909"/>
                  </a:cubicBezTo>
                  <a:cubicBezTo>
                    <a:pt x="4817919" y="142009"/>
                    <a:pt x="4652819" y="196273"/>
                    <a:pt x="4475019" y="228600"/>
                  </a:cubicBezTo>
                  <a:cubicBezTo>
                    <a:pt x="4297219" y="260927"/>
                    <a:pt x="3851564" y="297872"/>
                    <a:pt x="3851564" y="297872"/>
                  </a:cubicBezTo>
                  <a:lnTo>
                    <a:pt x="2930237" y="381000"/>
                  </a:lnTo>
                  <a:cubicBezTo>
                    <a:pt x="2613892" y="411018"/>
                    <a:pt x="2259445" y="439882"/>
                    <a:pt x="1953491" y="477982"/>
                  </a:cubicBezTo>
                  <a:cubicBezTo>
                    <a:pt x="1647537" y="516082"/>
                    <a:pt x="1094510" y="609600"/>
                    <a:pt x="1094510" y="609600"/>
                  </a:cubicBezTo>
                  <a:cubicBezTo>
                    <a:pt x="856674" y="646545"/>
                    <a:pt x="692728" y="662709"/>
                    <a:pt x="526473" y="699654"/>
                  </a:cubicBezTo>
                  <a:cubicBezTo>
                    <a:pt x="360218" y="736599"/>
                    <a:pt x="184727" y="803563"/>
                    <a:pt x="96982" y="831272"/>
                  </a:cubicBezTo>
                  <a:cubicBezTo>
                    <a:pt x="9236" y="858981"/>
                    <a:pt x="4618" y="862445"/>
                    <a:pt x="0" y="86590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p:cNvSpPr/>
            <p:nvPr/>
          </p:nvSpPr>
          <p:spPr bwMode="auto">
            <a:xfrm>
              <a:off x="2914256" y="2485880"/>
              <a:ext cx="1713649" cy="161312"/>
            </a:xfrm>
            <a:custGeom>
              <a:avLst/>
              <a:gdLst>
                <a:gd name="connsiteX0" fmla="*/ 0 w 5077691"/>
                <a:gd name="connsiteY0" fmla="*/ 477982 h 477982"/>
                <a:gd name="connsiteX1" fmla="*/ 727364 w 5077691"/>
                <a:gd name="connsiteY1" fmla="*/ 339436 h 477982"/>
                <a:gd name="connsiteX2" fmla="*/ 1711036 w 5077691"/>
                <a:gd name="connsiteY2" fmla="*/ 214745 h 477982"/>
                <a:gd name="connsiteX3" fmla="*/ 2902527 w 5077691"/>
                <a:gd name="connsiteY3" fmla="*/ 117763 h 477982"/>
                <a:gd name="connsiteX4" fmla="*/ 4135582 w 5077691"/>
                <a:gd name="connsiteY4" fmla="*/ 34636 h 477982"/>
                <a:gd name="connsiteX5" fmla="*/ 4807527 w 5077691"/>
                <a:gd name="connsiteY5" fmla="*/ 13854 h 477982"/>
                <a:gd name="connsiteX6" fmla="*/ 5077691 w 5077691"/>
                <a:gd name="connsiteY6" fmla="*/ 0 h 47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7691" h="477982">
                  <a:moveTo>
                    <a:pt x="0" y="477982"/>
                  </a:moveTo>
                  <a:cubicBezTo>
                    <a:pt x="221095" y="430645"/>
                    <a:pt x="442191" y="383309"/>
                    <a:pt x="727364" y="339436"/>
                  </a:cubicBezTo>
                  <a:cubicBezTo>
                    <a:pt x="1012537" y="295563"/>
                    <a:pt x="1348509" y="251690"/>
                    <a:pt x="1711036" y="214745"/>
                  </a:cubicBezTo>
                  <a:cubicBezTo>
                    <a:pt x="2073563" y="177800"/>
                    <a:pt x="2902527" y="117763"/>
                    <a:pt x="2902527" y="117763"/>
                  </a:cubicBezTo>
                  <a:lnTo>
                    <a:pt x="4135582" y="34636"/>
                  </a:lnTo>
                  <a:cubicBezTo>
                    <a:pt x="4453082" y="17318"/>
                    <a:pt x="4650509" y="19627"/>
                    <a:pt x="4807527" y="13854"/>
                  </a:cubicBezTo>
                  <a:cubicBezTo>
                    <a:pt x="4964545" y="8081"/>
                    <a:pt x="5021118" y="4040"/>
                    <a:pt x="507769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p:cNvSpPr/>
            <p:nvPr/>
          </p:nvSpPr>
          <p:spPr bwMode="auto">
            <a:xfrm>
              <a:off x="2599280" y="2647492"/>
              <a:ext cx="745142" cy="300813"/>
            </a:xfrm>
            <a:custGeom>
              <a:avLst/>
              <a:gdLst>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32951 w 2219642"/>
                <a:gd name="connsiteY15" fmla="*/ 518656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1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23896 w 2219642"/>
                <a:gd name="connsiteY16" fmla="*/ 276202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51605 w 2219642"/>
                <a:gd name="connsiteY16" fmla="*/ 269274 h 891334"/>
                <a:gd name="connsiteX0" fmla="*/ 2214013 w 2214013"/>
                <a:gd name="connsiteY0" fmla="*/ 553292 h 891334"/>
                <a:gd name="connsiteX1" fmla="*/ 1860722 w 2214013"/>
                <a:gd name="connsiteY1" fmla="*/ 338547 h 891334"/>
                <a:gd name="connsiteX2" fmla="*/ 1278831 w 2214013"/>
                <a:gd name="connsiteY2" fmla="*/ 109947 h 891334"/>
                <a:gd name="connsiteX3" fmla="*/ 925541 w 2214013"/>
                <a:gd name="connsiteY3" fmla="*/ 6038 h 891334"/>
                <a:gd name="connsiteX4" fmla="*/ 579177 w 2214013"/>
                <a:gd name="connsiteY4" fmla="*/ 19892 h 891334"/>
                <a:gd name="connsiteX5" fmla="*/ 295159 w 2214013"/>
                <a:gd name="connsiteY5" fmla="*/ 82238 h 891334"/>
                <a:gd name="connsiteX6" fmla="*/ 87341 w 2214013"/>
                <a:gd name="connsiteY6" fmla="*/ 206929 h 891334"/>
                <a:gd name="connsiteX7" fmla="*/ 31922 w 2214013"/>
                <a:gd name="connsiteY7" fmla="*/ 435529 h 891334"/>
                <a:gd name="connsiteX8" fmla="*/ 4213 w 2214013"/>
                <a:gd name="connsiteY8" fmla="*/ 719547 h 891334"/>
                <a:gd name="connsiteX9" fmla="*/ 121977 w 2214013"/>
                <a:gd name="connsiteY9" fmla="*/ 802674 h 891334"/>
                <a:gd name="connsiteX10" fmla="*/ 267450 w 2214013"/>
                <a:gd name="connsiteY10" fmla="*/ 809601 h 891334"/>
                <a:gd name="connsiteX11" fmla="*/ 357504 w 2214013"/>
                <a:gd name="connsiteY11" fmla="*/ 871947 h 891334"/>
                <a:gd name="connsiteX12" fmla="*/ 461413 w 2214013"/>
                <a:gd name="connsiteY12" fmla="*/ 885801 h 891334"/>
                <a:gd name="connsiteX13" fmla="*/ 821631 w 2214013"/>
                <a:gd name="connsiteY13" fmla="*/ 788820 h 891334"/>
                <a:gd name="connsiteX14" fmla="*/ 1313467 w 2214013"/>
                <a:gd name="connsiteY14" fmla="*/ 511729 h 891334"/>
                <a:gd name="connsiteX15" fmla="*/ 1645976 w 2214013"/>
                <a:gd name="connsiteY15" fmla="*/ 269274 h 891334"/>
                <a:gd name="connsiteX0" fmla="*/ 2214123 w 2214123"/>
                <a:gd name="connsiteY0" fmla="*/ 553292 h 891334"/>
                <a:gd name="connsiteX1" fmla="*/ 1860832 w 2214123"/>
                <a:gd name="connsiteY1" fmla="*/ 338547 h 891334"/>
                <a:gd name="connsiteX2" fmla="*/ 1278941 w 2214123"/>
                <a:gd name="connsiteY2" fmla="*/ 109947 h 891334"/>
                <a:gd name="connsiteX3" fmla="*/ 925651 w 2214123"/>
                <a:gd name="connsiteY3" fmla="*/ 6038 h 891334"/>
                <a:gd name="connsiteX4" fmla="*/ 579287 w 2214123"/>
                <a:gd name="connsiteY4" fmla="*/ 19892 h 891334"/>
                <a:gd name="connsiteX5" fmla="*/ 295269 w 2214123"/>
                <a:gd name="connsiteY5" fmla="*/ 82238 h 891334"/>
                <a:gd name="connsiteX6" fmla="*/ 94378 w 2214123"/>
                <a:gd name="connsiteY6" fmla="*/ 206929 h 891334"/>
                <a:gd name="connsiteX7" fmla="*/ 32032 w 2214123"/>
                <a:gd name="connsiteY7" fmla="*/ 435529 h 891334"/>
                <a:gd name="connsiteX8" fmla="*/ 4323 w 2214123"/>
                <a:gd name="connsiteY8" fmla="*/ 719547 h 891334"/>
                <a:gd name="connsiteX9" fmla="*/ 122087 w 2214123"/>
                <a:gd name="connsiteY9" fmla="*/ 802674 h 891334"/>
                <a:gd name="connsiteX10" fmla="*/ 267560 w 2214123"/>
                <a:gd name="connsiteY10" fmla="*/ 809601 h 891334"/>
                <a:gd name="connsiteX11" fmla="*/ 357614 w 2214123"/>
                <a:gd name="connsiteY11" fmla="*/ 871947 h 891334"/>
                <a:gd name="connsiteX12" fmla="*/ 461523 w 2214123"/>
                <a:gd name="connsiteY12" fmla="*/ 885801 h 891334"/>
                <a:gd name="connsiteX13" fmla="*/ 821741 w 2214123"/>
                <a:gd name="connsiteY13" fmla="*/ 788820 h 891334"/>
                <a:gd name="connsiteX14" fmla="*/ 1313577 w 2214123"/>
                <a:gd name="connsiteY14" fmla="*/ 511729 h 891334"/>
                <a:gd name="connsiteX15" fmla="*/ 1646086 w 2214123"/>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07919" h="891334">
                  <a:moveTo>
                    <a:pt x="2207919" y="553292"/>
                  </a:moveTo>
                  <a:cubicBezTo>
                    <a:pt x="2109205" y="482865"/>
                    <a:pt x="2017419" y="398584"/>
                    <a:pt x="1854628" y="338547"/>
                  </a:cubicBezTo>
                  <a:cubicBezTo>
                    <a:pt x="1691837" y="278510"/>
                    <a:pt x="1428600" y="165365"/>
                    <a:pt x="1272737" y="109947"/>
                  </a:cubicBezTo>
                  <a:cubicBezTo>
                    <a:pt x="1116874" y="54529"/>
                    <a:pt x="1036056" y="21047"/>
                    <a:pt x="919447" y="6038"/>
                  </a:cubicBezTo>
                  <a:cubicBezTo>
                    <a:pt x="802838" y="-8971"/>
                    <a:pt x="678147" y="7192"/>
                    <a:pt x="573083" y="19892"/>
                  </a:cubicBezTo>
                  <a:cubicBezTo>
                    <a:pt x="468019" y="32592"/>
                    <a:pt x="369883" y="51065"/>
                    <a:pt x="289065" y="82238"/>
                  </a:cubicBezTo>
                  <a:cubicBezTo>
                    <a:pt x="208247" y="113411"/>
                    <a:pt x="132047" y="148047"/>
                    <a:pt x="88174" y="206929"/>
                  </a:cubicBezTo>
                  <a:cubicBezTo>
                    <a:pt x="44301" y="265811"/>
                    <a:pt x="39683" y="344320"/>
                    <a:pt x="25828" y="435529"/>
                  </a:cubicBezTo>
                  <a:cubicBezTo>
                    <a:pt x="11973" y="526738"/>
                    <a:pt x="-9963" y="692992"/>
                    <a:pt x="5046" y="754183"/>
                  </a:cubicBezTo>
                  <a:cubicBezTo>
                    <a:pt x="20055" y="815374"/>
                    <a:pt x="73165" y="793438"/>
                    <a:pt x="115883" y="802674"/>
                  </a:cubicBezTo>
                  <a:cubicBezTo>
                    <a:pt x="158601" y="811910"/>
                    <a:pt x="222102" y="798056"/>
                    <a:pt x="261356" y="809601"/>
                  </a:cubicBezTo>
                  <a:cubicBezTo>
                    <a:pt x="300610" y="821146"/>
                    <a:pt x="319083" y="859247"/>
                    <a:pt x="351410" y="871947"/>
                  </a:cubicBezTo>
                  <a:cubicBezTo>
                    <a:pt x="383737" y="884647"/>
                    <a:pt x="377965" y="899655"/>
                    <a:pt x="455319" y="885801"/>
                  </a:cubicBezTo>
                  <a:cubicBezTo>
                    <a:pt x="532673" y="871947"/>
                    <a:pt x="673528" y="851165"/>
                    <a:pt x="815537" y="788820"/>
                  </a:cubicBezTo>
                  <a:cubicBezTo>
                    <a:pt x="957546" y="726475"/>
                    <a:pt x="1169982" y="598320"/>
                    <a:pt x="1307373" y="511729"/>
                  </a:cubicBezTo>
                  <a:cubicBezTo>
                    <a:pt x="1444764" y="425138"/>
                    <a:pt x="1543477" y="353555"/>
                    <a:pt x="1639882" y="26927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p:cNvSpPr/>
            <p:nvPr/>
          </p:nvSpPr>
          <p:spPr bwMode="auto">
            <a:xfrm>
              <a:off x="2467395" y="3055147"/>
              <a:ext cx="462537" cy="85624"/>
            </a:xfrm>
            <a:custGeom>
              <a:avLst/>
              <a:gdLst>
                <a:gd name="connsiteX0" fmla="*/ 432524 w 1358737"/>
                <a:gd name="connsiteY0" fmla="*/ 255575 h 269762"/>
                <a:gd name="connsiteX1" fmla="*/ 1007488 w 1358737"/>
                <a:gd name="connsiteY1" fmla="*/ 262502 h 269762"/>
                <a:gd name="connsiteX2" fmla="*/ 1222234 w 1358737"/>
                <a:gd name="connsiteY2" fmla="*/ 214011 h 269762"/>
                <a:gd name="connsiteX3" fmla="*/ 1353852 w 1358737"/>
                <a:gd name="connsiteY3" fmla="*/ 54684 h 269762"/>
                <a:gd name="connsiteX4" fmla="*/ 1236088 w 1358737"/>
                <a:gd name="connsiteY4" fmla="*/ 33902 h 269762"/>
                <a:gd name="connsiteX5" fmla="*/ 425597 w 1358737"/>
                <a:gd name="connsiteY5" fmla="*/ 20047 h 269762"/>
                <a:gd name="connsiteX6" fmla="*/ 120797 w 1358737"/>
                <a:gd name="connsiteY6" fmla="*/ 6193 h 269762"/>
                <a:gd name="connsiteX7" fmla="*/ 23815 w 1358737"/>
                <a:gd name="connsiteY7" fmla="*/ 6193 h 269762"/>
                <a:gd name="connsiteX8" fmla="*/ 3034 w 1358737"/>
                <a:gd name="connsiteY8" fmla="*/ 82393 h 269762"/>
                <a:gd name="connsiteX9" fmla="*/ 3034 w 1358737"/>
                <a:gd name="connsiteY9" fmla="*/ 227865 h 269762"/>
                <a:gd name="connsiteX10" fmla="*/ 23815 w 1358737"/>
                <a:gd name="connsiteY10" fmla="*/ 262502 h 269762"/>
                <a:gd name="connsiteX11" fmla="*/ 238561 w 1358737"/>
                <a:gd name="connsiteY11" fmla="*/ 269429 h 269762"/>
                <a:gd name="connsiteX12" fmla="*/ 550288 w 1358737"/>
                <a:gd name="connsiteY12" fmla="*/ 269429 h 269762"/>
                <a:gd name="connsiteX13" fmla="*/ 432524 w 1358737"/>
                <a:gd name="connsiteY13" fmla="*/ 255575 h 269762"/>
                <a:gd name="connsiteX0" fmla="*/ 550288 w 1358737"/>
                <a:gd name="connsiteY0" fmla="*/ 269429 h 270294"/>
                <a:gd name="connsiteX1" fmla="*/ 1007488 w 1358737"/>
                <a:gd name="connsiteY1" fmla="*/ 262502 h 270294"/>
                <a:gd name="connsiteX2" fmla="*/ 1222234 w 1358737"/>
                <a:gd name="connsiteY2" fmla="*/ 214011 h 270294"/>
                <a:gd name="connsiteX3" fmla="*/ 1353852 w 1358737"/>
                <a:gd name="connsiteY3" fmla="*/ 54684 h 270294"/>
                <a:gd name="connsiteX4" fmla="*/ 1236088 w 1358737"/>
                <a:gd name="connsiteY4" fmla="*/ 33902 h 270294"/>
                <a:gd name="connsiteX5" fmla="*/ 425597 w 1358737"/>
                <a:gd name="connsiteY5" fmla="*/ 20047 h 270294"/>
                <a:gd name="connsiteX6" fmla="*/ 120797 w 1358737"/>
                <a:gd name="connsiteY6" fmla="*/ 6193 h 270294"/>
                <a:gd name="connsiteX7" fmla="*/ 23815 w 1358737"/>
                <a:gd name="connsiteY7" fmla="*/ 6193 h 270294"/>
                <a:gd name="connsiteX8" fmla="*/ 3034 w 1358737"/>
                <a:gd name="connsiteY8" fmla="*/ 82393 h 270294"/>
                <a:gd name="connsiteX9" fmla="*/ 3034 w 1358737"/>
                <a:gd name="connsiteY9" fmla="*/ 227865 h 270294"/>
                <a:gd name="connsiteX10" fmla="*/ 23815 w 1358737"/>
                <a:gd name="connsiteY10" fmla="*/ 262502 h 270294"/>
                <a:gd name="connsiteX11" fmla="*/ 238561 w 1358737"/>
                <a:gd name="connsiteY11" fmla="*/ 269429 h 270294"/>
                <a:gd name="connsiteX12" fmla="*/ 550288 w 1358737"/>
                <a:gd name="connsiteY12" fmla="*/ 269429 h 270294"/>
                <a:gd name="connsiteX0" fmla="*/ 550288 w 1358737"/>
                <a:gd name="connsiteY0" fmla="*/ 266015 h 266880"/>
                <a:gd name="connsiteX1" fmla="*/ 1007488 w 1358737"/>
                <a:gd name="connsiteY1" fmla="*/ 259088 h 266880"/>
                <a:gd name="connsiteX2" fmla="*/ 1222234 w 1358737"/>
                <a:gd name="connsiteY2" fmla="*/ 210597 h 266880"/>
                <a:gd name="connsiteX3" fmla="*/ 1353852 w 1358737"/>
                <a:gd name="connsiteY3" fmla="*/ 51270 h 266880"/>
                <a:gd name="connsiteX4" fmla="*/ 1236088 w 1358737"/>
                <a:gd name="connsiteY4" fmla="*/ 30488 h 266880"/>
                <a:gd name="connsiteX5" fmla="*/ 425597 w 1358737"/>
                <a:gd name="connsiteY5" fmla="*/ 16633 h 266880"/>
                <a:gd name="connsiteX6" fmla="*/ 134651 w 1358737"/>
                <a:gd name="connsiteY6" fmla="*/ 16634 h 266880"/>
                <a:gd name="connsiteX7" fmla="*/ 23815 w 1358737"/>
                <a:gd name="connsiteY7" fmla="*/ 2779 h 266880"/>
                <a:gd name="connsiteX8" fmla="*/ 3034 w 1358737"/>
                <a:gd name="connsiteY8" fmla="*/ 78979 h 266880"/>
                <a:gd name="connsiteX9" fmla="*/ 3034 w 1358737"/>
                <a:gd name="connsiteY9" fmla="*/ 224451 h 266880"/>
                <a:gd name="connsiteX10" fmla="*/ 23815 w 1358737"/>
                <a:gd name="connsiteY10" fmla="*/ 259088 h 266880"/>
                <a:gd name="connsiteX11" fmla="*/ 238561 w 1358737"/>
                <a:gd name="connsiteY11" fmla="*/ 266015 h 266880"/>
                <a:gd name="connsiteX12" fmla="*/ 550288 w 1358737"/>
                <a:gd name="connsiteY12" fmla="*/ 266015 h 266880"/>
                <a:gd name="connsiteX0" fmla="*/ 563217 w 1371666"/>
                <a:gd name="connsiteY0" fmla="*/ 266229 h 267094"/>
                <a:gd name="connsiteX1" fmla="*/ 1020417 w 1371666"/>
                <a:gd name="connsiteY1" fmla="*/ 259302 h 267094"/>
                <a:gd name="connsiteX2" fmla="*/ 1235163 w 1371666"/>
                <a:gd name="connsiteY2" fmla="*/ 210811 h 267094"/>
                <a:gd name="connsiteX3" fmla="*/ 1366781 w 1371666"/>
                <a:gd name="connsiteY3" fmla="*/ 51484 h 267094"/>
                <a:gd name="connsiteX4" fmla="*/ 1249017 w 1371666"/>
                <a:gd name="connsiteY4" fmla="*/ 30702 h 267094"/>
                <a:gd name="connsiteX5" fmla="*/ 438526 w 1371666"/>
                <a:gd name="connsiteY5" fmla="*/ 16847 h 267094"/>
                <a:gd name="connsiteX6" fmla="*/ 36744 w 1371666"/>
                <a:gd name="connsiteY6" fmla="*/ 2993 h 267094"/>
                <a:gd name="connsiteX7" fmla="*/ 15963 w 1371666"/>
                <a:gd name="connsiteY7" fmla="*/ 79193 h 267094"/>
                <a:gd name="connsiteX8" fmla="*/ 15963 w 1371666"/>
                <a:gd name="connsiteY8" fmla="*/ 224665 h 267094"/>
                <a:gd name="connsiteX9" fmla="*/ 36744 w 1371666"/>
                <a:gd name="connsiteY9" fmla="*/ 259302 h 267094"/>
                <a:gd name="connsiteX10" fmla="*/ 251490 w 1371666"/>
                <a:gd name="connsiteY10" fmla="*/ 266229 h 267094"/>
                <a:gd name="connsiteX11" fmla="*/ 563217 w 1371666"/>
                <a:gd name="connsiteY11" fmla="*/ 266229 h 267094"/>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79338 w 1387787"/>
                <a:gd name="connsiteY0" fmla="*/ 251602 h 252467"/>
                <a:gd name="connsiteX1" fmla="*/ 1036538 w 1387787"/>
                <a:gd name="connsiteY1" fmla="*/ 244675 h 252467"/>
                <a:gd name="connsiteX2" fmla="*/ 1251284 w 1387787"/>
                <a:gd name="connsiteY2" fmla="*/ 196184 h 252467"/>
                <a:gd name="connsiteX3" fmla="*/ 1382902 w 1387787"/>
                <a:gd name="connsiteY3" fmla="*/ 36857 h 252467"/>
                <a:gd name="connsiteX4" fmla="*/ 1265138 w 1387787"/>
                <a:gd name="connsiteY4" fmla="*/ 16075 h 252467"/>
                <a:gd name="connsiteX5" fmla="*/ 454647 w 1387787"/>
                <a:gd name="connsiteY5" fmla="*/ 2220 h 252467"/>
                <a:gd name="connsiteX6" fmla="*/ 32084 w 1387787"/>
                <a:gd name="connsiteY6" fmla="*/ 64566 h 252467"/>
                <a:gd name="connsiteX7" fmla="*/ 32084 w 1387787"/>
                <a:gd name="connsiteY7" fmla="*/ 210038 h 252467"/>
                <a:gd name="connsiteX8" fmla="*/ 52865 w 1387787"/>
                <a:gd name="connsiteY8" fmla="*/ 244675 h 252467"/>
                <a:gd name="connsiteX9" fmla="*/ 267611 w 1387787"/>
                <a:gd name="connsiteY9" fmla="*/ 251602 h 252467"/>
                <a:gd name="connsiteX10" fmla="*/ 579338 w 1387787"/>
                <a:gd name="connsiteY10" fmla="*/ 251602 h 252467"/>
                <a:gd name="connsiteX0" fmla="*/ 569062 w 1377511"/>
                <a:gd name="connsiteY0" fmla="*/ 265301 h 266166"/>
                <a:gd name="connsiteX1" fmla="*/ 1026262 w 1377511"/>
                <a:gd name="connsiteY1" fmla="*/ 258374 h 266166"/>
                <a:gd name="connsiteX2" fmla="*/ 1241008 w 1377511"/>
                <a:gd name="connsiteY2" fmla="*/ 209883 h 266166"/>
                <a:gd name="connsiteX3" fmla="*/ 1372626 w 1377511"/>
                <a:gd name="connsiteY3" fmla="*/ 50556 h 266166"/>
                <a:gd name="connsiteX4" fmla="*/ 1254862 w 1377511"/>
                <a:gd name="connsiteY4" fmla="*/ 29774 h 266166"/>
                <a:gd name="connsiteX5" fmla="*/ 444371 w 1377511"/>
                <a:gd name="connsiteY5" fmla="*/ 15919 h 266166"/>
                <a:gd name="connsiteX6" fmla="*/ 35662 w 1377511"/>
                <a:gd name="connsiteY6" fmla="*/ 15919 h 266166"/>
                <a:gd name="connsiteX7" fmla="*/ 21808 w 1377511"/>
                <a:gd name="connsiteY7" fmla="*/ 223737 h 266166"/>
                <a:gd name="connsiteX8" fmla="*/ 42589 w 1377511"/>
                <a:gd name="connsiteY8" fmla="*/ 258374 h 266166"/>
                <a:gd name="connsiteX9" fmla="*/ 257335 w 1377511"/>
                <a:gd name="connsiteY9" fmla="*/ 265301 h 266166"/>
                <a:gd name="connsiteX10" fmla="*/ 569062 w 1377511"/>
                <a:gd name="connsiteY10" fmla="*/ 265301 h 266166"/>
                <a:gd name="connsiteX0" fmla="*/ 551155 w 1359604"/>
                <a:gd name="connsiteY0" fmla="*/ 262227 h 263092"/>
                <a:gd name="connsiteX1" fmla="*/ 1008355 w 1359604"/>
                <a:gd name="connsiteY1" fmla="*/ 255300 h 263092"/>
                <a:gd name="connsiteX2" fmla="*/ 1223101 w 1359604"/>
                <a:gd name="connsiteY2" fmla="*/ 206809 h 263092"/>
                <a:gd name="connsiteX3" fmla="*/ 1354719 w 1359604"/>
                <a:gd name="connsiteY3" fmla="*/ 47482 h 263092"/>
                <a:gd name="connsiteX4" fmla="*/ 1236955 w 1359604"/>
                <a:gd name="connsiteY4" fmla="*/ 26700 h 263092"/>
                <a:gd name="connsiteX5" fmla="*/ 426464 w 1359604"/>
                <a:gd name="connsiteY5" fmla="*/ 12845 h 263092"/>
                <a:gd name="connsiteX6" fmla="*/ 17755 w 1359604"/>
                <a:gd name="connsiteY6" fmla="*/ 12845 h 263092"/>
                <a:gd name="connsiteX7" fmla="*/ 3901 w 1359604"/>
                <a:gd name="connsiteY7" fmla="*/ 220663 h 263092"/>
                <a:gd name="connsiteX8" fmla="*/ 24682 w 1359604"/>
                <a:gd name="connsiteY8" fmla="*/ 255300 h 263092"/>
                <a:gd name="connsiteX9" fmla="*/ 239428 w 1359604"/>
                <a:gd name="connsiteY9" fmla="*/ 262227 h 263092"/>
                <a:gd name="connsiteX10" fmla="*/ 551155 w 1359604"/>
                <a:gd name="connsiteY10" fmla="*/ 262227 h 263092"/>
                <a:gd name="connsiteX0" fmla="*/ 551155 w 1359604"/>
                <a:gd name="connsiteY0" fmla="*/ 252846 h 253711"/>
                <a:gd name="connsiteX1" fmla="*/ 1008355 w 1359604"/>
                <a:gd name="connsiteY1" fmla="*/ 245919 h 253711"/>
                <a:gd name="connsiteX2" fmla="*/ 1223101 w 1359604"/>
                <a:gd name="connsiteY2" fmla="*/ 197428 h 253711"/>
                <a:gd name="connsiteX3" fmla="*/ 1354719 w 1359604"/>
                <a:gd name="connsiteY3" fmla="*/ 38101 h 253711"/>
                <a:gd name="connsiteX4" fmla="*/ 1236955 w 1359604"/>
                <a:gd name="connsiteY4" fmla="*/ 17319 h 253711"/>
                <a:gd name="connsiteX5" fmla="*/ 426464 w 1359604"/>
                <a:gd name="connsiteY5" fmla="*/ 3464 h 253711"/>
                <a:gd name="connsiteX6" fmla="*/ 17755 w 1359604"/>
                <a:gd name="connsiteY6" fmla="*/ 17318 h 253711"/>
                <a:gd name="connsiteX7" fmla="*/ 3901 w 1359604"/>
                <a:gd name="connsiteY7" fmla="*/ 211282 h 253711"/>
                <a:gd name="connsiteX8" fmla="*/ 24682 w 1359604"/>
                <a:gd name="connsiteY8" fmla="*/ 245919 h 253711"/>
                <a:gd name="connsiteX9" fmla="*/ 239428 w 1359604"/>
                <a:gd name="connsiteY9" fmla="*/ 252846 h 253711"/>
                <a:gd name="connsiteX10" fmla="*/ 551155 w 1359604"/>
                <a:gd name="connsiteY10" fmla="*/ 252846 h 253711"/>
                <a:gd name="connsiteX0" fmla="*/ 562087 w 1370536"/>
                <a:gd name="connsiteY0" fmla="*/ 252846 h 253711"/>
                <a:gd name="connsiteX1" fmla="*/ 1019287 w 1370536"/>
                <a:gd name="connsiteY1" fmla="*/ 245919 h 253711"/>
                <a:gd name="connsiteX2" fmla="*/ 1234033 w 1370536"/>
                <a:gd name="connsiteY2" fmla="*/ 197428 h 253711"/>
                <a:gd name="connsiteX3" fmla="*/ 1365651 w 1370536"/>
                <a:gd name="connsiteY3" fmla="*/ 38101 h 253711"/>
                <a:gd name="connsiteX4" fmla="*/ 1247887 w 1370536"/>
                <a:gd name="connsiteY4" fmla="*/ 17319 h 253711"/>
                <a:gd name="connsiteX5" fmla="*/ 437396 w 1370536"/>
                <a:gd name="connsiteY5" fmla="*/ 3464 h 253711"/>
                <a:gd name="connsiteX6" fmla="*/ 28687 w 1370536"/>
                <a:gd name="connsiteY6" fmla="*/ 17318 h 253711"/>
                <a:gd name="connsiteX7" fmla="*/ 14833 w 1370536"/>
                <a:gd name="connsiteY7" fmla="*/ 211282 h 253711"/>
                <a:gd name="connsiteX8" fmla="*/ 250360 w 1370536"/>
                <a:gd name="connsiteY8" fmla="*/ 252846 h 253711"/>
                <a:gd name="connsiteX9" fmla="*/ 562087 w 1370536"/>
                <a:gd name="connsiteY9" fmla="*/ 252846 h 25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0536" h="253711">
                  <a:moveTo>
                    <a:pt x="562087" y="252846"/>
                  </a:moveTo>
                  <a:lnTo>
                    <a:pt x="1019287" y="245919"/>
                  </a:lnTo>
                  <a:cubicBezTo>
                    <a:pt x="1131278" y="236683"/>
                    <a:pt x="1176306" y="232064"/>
                    <a:pt x="1234033" y="197428"/>
                  </a:cubicBezTo>
                  <a:cubicBezTo>
                    <a:pt x="1291760" y="162792"/>
                    <a:pt x="1363342" y="68119"/>
                    <a:pt x="1365651" y="38101"/>
                  </a:cubicBezTo>
                  <a:cubicBezTo>
                    <a:pt x="1367960" y="8083"/>
                    <a:pt x="1402596" y="23092"/>
                    <a:pt x="1247887" y="17319"/>
                  </a:cubicBezTo>
                  <a:cubicBezTo>
                    <a:pt x="1093178" y="11546"/>
                    <a:pt x="640596" y="3464"/>
                    <a:pt x="437396" y="3464"/>
                  </a:cubicBezTo>
                  <a:cubicBezTo>
                    <a:pt x="234196" y="3464"/>
                    <a:pt x="36768" y="-10391"/>
                    <a:pt x="28687" y="17318"/>
                  </a:cubicBezTo>
                  <a:cubicBezTo>
                    <a:pt x="20606" y="45027"/>
                    <a:pt x="-22113" y="172027"/>
                    <a:pt x="14833" y="211282"/>
                  </a:cubicBezTo>
                  <a:cubicBezTo>
                    <a:pt x="51779" y="250537"/>
                    <a:pt x="159151" y="245919"/>
                    <a:pt x="250360" y="252846"/>
                  </a:cubicBezTo>
                  <a:cubicBezTo>
                    <a:pt x="338105" y="254000"/>
                    <a:pt x="433933" y="254000"/>
                    <a:pt x="562087" y="252846"/>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Freeform: Shape 94"/>
            <p:cNvSpPr/>
            <p:nvPr/>
          </p:nvSpPr>
          <p:spPr bwMode="auto">
            <a:xfrm>
              <a:off x="2484091" y="3233973"/>
              <a:ext cx="140448" cy="203413"/>
            </a:xfrm>
            <a:custGeom>
              <a:avLst/>
              <a:gdLst>
                <a:gd name="connsiteX0" fmla="*/ 180109 w 423088"/>
                <a:gd name="connsiteY0" fmla="*/ 595745 h 595745"/>
                <a:gd name="connsiteX1" fmla="*/ 381000 w 423088"/>
                <a:gd name="connsiteY1" fmla="*/ 533400 h 595745"/>
                <a:gd name="connsiteX2" fmla="*/ 422563 w 423088"/>
                <a:gd name="connsiteY2" fmla="*/ 311727 h 595745"/>
                <a:gd name="connsiteX3" fmla="*/ 394854 w 423088"/>
                <a:gd name="connsiteY3" fmla="*/ 110836 h 595745"/>
                <a:gd name="connsiteX4" fmla="*/ 270163 w 423088"/>
                <a:gd name="connsiteY4" fmla="*/ 27709 h 595745"/>
                <a:gd name="connsiteX5" fmla="*/ 96981 w 423088"/>
                <a:gd name="connsiteY5" fmla="*/ 6927 h 595745"/>
                <a:gd name="connsiteX6" fmla="*/ 0 w 423088"/>
                <a:gd name="connsiteY6" fmla="*/ 0 h 595745"/>
                <a:gd name="connsiteX0" fmla="*/ 173182 w 416161"/>
                <a:gd name="connsiteY0" fmla="*/ 588878 h 588878"/>
                <a:gd name="connsiteX1" fmla="*/ 374073 w 416161"/>
                <a:gd name="connsiteY1" fmla="*/ 526533 h 588878"/>
                <a:gd name="connsiteX2" fmla="*/ 415636 w 416161"/>
                <a:gd name="connsiteY2" fmla="*/ 304860 h 588878"/>
                <a:gd name="connsiteX3" fmla="*/ 387927 w 416161"/>
                <a:gd name="connsiteY3" fmla="*/ 103969 h 588878"/>
                <a:gd name="connsiteX4" fmla="*/ 263236 w 416161"/>
                <a:gd name="connsiteY4" fmla="*/ 20842 h 588878"/>
                <a:gd name="connsiteX5" fmla="*/ 90054 w 416161"/>
                <a:gd name="connsiteY5" fmla="*/ 60 h 588878"/>
                <a:gd name="connsiteX6" fmla="*/ 0 w 416161"/>
                <a:gd name="connsiteY6" fmla="*/ 13915 h 588878"/>
                <a:gd name="connsiteX0" fmla="*/ 173182 w 416161"/>
                <a:gd name="connsiteY0" fmla="*/ 602732 h 602732"/>
                <a:gd name="connsiteX1" fmla="*/ 374073 w 416161"/>
                <a:gd name="connsiteY1" fmla="*/ 526533 h 602732"/>
                <a:gd name="connsiteX2" fmla="*/ 415636 w 416161"/>
                <a:gd name="connsiteY2" fmla="*/ 304860 h 602732"/>
                <a:gd name="connsiteX3" fmla="*/ 387927 w 416161"/>
                <a:gd name="connsiteY3" fmla="*/ 103969 h 602732"/>
                <a:gd name="connsiteX4" fmla="*/ 263236 w 416161"/>
                <a:gd name="connsiteY4" fmla="*/ 20842 h 602732"/>
                <a:gd name="connsiteX5" fmla="*/ 90054 w 416161"/>
                <a:gd name="connsiteY5" fmla="*/ 60 h 602732"/>
                <a:gd name="connsiteX6" fmla="*/ 0 w 416161"/>
                <a:gd name="connsiteY6" fmla="*/ 13915 h 60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161" h="602732">
                  <a:moveTo>
                    <a:pt x="173182" y="602732"/>
                  </a:moveTo>
                  <a:cubicBezTo>
                    <a:pt x="253423" y="595227"/>
                    <a:pt x="333664" y="576178"/>
                    <a:pt x="374073" y="526533"/>
                  </a:cubicBezTo>
                  <a:cubicBezTo>
                    <a:pt x="414482" y="476888"/>
                    <a:pt x="413327" y="375287"/>
                    <a:pt x="415636" y="304860"/>
                  </a:cubicBezTo>
                  <a:cubicBezTo>
                    <a:pt x="417945" y="234433"/>
                    <a:pt x="413327" y="151305"/>
                    <a:pt x="387927" y="103969"/>
                  </a:cubicBezTo>
                  <a:cubicBezTo>
                    <a:pt x="362527" y="56633"/>
                    <a:pt x="312881" y="38160"/>
                    <a:pt x="263236" y="20842"/>
                  </a:cubicBezTo>
                  <a:cubicBezTo>
                    <a:pt x="213591" y="3524"/>
                    <a:pt x="133927" y="1214"/>
                    <a:pt x="90054" y="60"/>
                  </a:cubicBezTo>
                  <a:cubicBezTo>
                    <a:pt x="46181" y="-1094"/>
                    <a:pt x="25977" y="15069"/>
                    <a:pt x="0" y="13915"/>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p:cNvSpPr/>
            <p:nvPr/>
          </p:nvSpPr>
          <p:spPr bwMode="auto">
            <a:xfrm>
              <a:off x="2612673" y="3414008"/>
              <a:ext cx="395098" cy="16365"/>
            </a:xfrm>
            <a:custGeom>
              <a:avLst/>
              <a:gdLst>
                <a:gd name="connsiteX0" fmla="*/ 0 w 1170709"/>
                <a:gd name="connsiteY0" fmla="*/ 0 h 48491"/>
                <a:gd name="connsiteX1" fmla="*/ 124691 w 1170709"/>
                <a:gd name="connsiteY1" fmla="*/ 34636 h 48491"/>
                <a:gd name="connsiteX2" fmla="*/ 720436 w 1170709"/>
                <a:gd name="connsiteY2" fmla="*/ 48491 h 48491"/>
                <a:gd name="connsiteX3" fmla="*/ 1170709 w 1170709"/>
                <a:gd name="connsiteY3" fmla="*/ 41564 h 48491"/>
              </a:gdLst>
              <a:ahLst/>
              <a:cxnLst>
                <a:cxn ang="0">
                  <a:pos x="connsiteX0" y="connsiteY0"/>
                </a:cxn>
                <a:cxn ang="0">
                  <a:pos x="connsiteX1" y="connsiteY1"/>
                </a:cxn>
                <a:cxn ang="0">
                  <a:pos x="connsiteX2" y="connsiteY2"/>
                </a:cxn>
                <a:cxn ang="0">
                  <a:pos x="connsiteX3" y="connsiteY3"/>
                </a:cxn>
              </a:cxnLst>
              <a:rect l="l" t="t" r="r" b="b"/>
              <a:pathLst>
                <a:path w="1170709" h="48491">
                  <a:moveTo>
                    <a:pt x="0" y="0"/>
                  </a:moveTo>
                  <a:cubicBezTo>
                    <a:pt x="2309" y="13277"/>
                    <a:pt x="4618" y="26554"/>
                    <a:pt x="124691" y="34636"/>
                  </a:cubicBezTo>
                  <a:cubicBezTo>
                    <a:pt x="244764" y="42718"/>
                    <a:pt x="720436" y="48491"/>
                    <a:pt x="720436" y="48491"/>
                  </a:cubicBezTo>
                  <a:lnTo>
                    <a:pt x="1170709" y="41564"/>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p:cNvSpPr/>
            <p:nvPr/>
          </p:nvSpPr>
          <p:spPr bwMode="auto">
            <a:xfrm>
              <a:off x="2839444" y="2682193"/>
              <a:ext cx="175396" cy="214346"/>
            </a:xfrm>
            <a:custGeom>
              <a:avLst/>
              <a:gdLst>
                <a:gd name="connsiteX0" fmla="*/ 0 w 575417"/>
                <a:gd name="connsiteY0" fmla="*/ 590177 h 642563"/>
                <a:gd name="connsiteX1" fmla="*/ 76200 w 575417"/>
                <a:gd name="connsiteY1" fmla="*/ 638667 h 642563"/>
                <a:gd name="connsiteX2" fmla="*/ 214746 w 575417"/>
                <a:gd name="connsiteY2" fmla="*/ 631740 h 642563"/>
                <a:gd name="connsiteX3" fmla="*/ 387928 w 575417"/>
                <a:gd name="connsiteY3" fmla="*/ 569395 h 642563"/>
                <a:gd name="connsiteX4" fmla="*/ 540328 w 575417"/>
                <a:gd name="connsiteY4" fmla="*/ 403140 h 642563"/>
                <a:gd name="connsiteX5" fmla="*/ 574964 w 575417"/>
                <a:gd name="connsiteY5" fmla="*/ 202249 h 642563"/>
                <a:gd name="connsiteX6" fmla="*/ 526473 w 575417"/>
                <a:gd name="connsiteY6" fmla="*/ 42922 h 642563"/>
                <a:gd name="connsiteX7" fmla="*/ 367146 w 575417"/>
                <a:gd name="connsiteY7" fmla="*/ 8286 h 642563"/>
                <a:gd name="connsiteX8" fmla="*/ 242455 w 575417"/>
                <a:gd name="connsiteY8" fmla="*/ 1358 h 642563"/>
                <a:gd name="connsiteX9" fmla="*/ 152400 w 575417"/>
                <a:gd name="connsiteY9" fmla="*/ 29067 h 642563"/>
                <a:gd name="connsiteX0" fmla="*/ 0 w 595904"/>
                <a:gd name="connsiteY0" fmla="*/ 590177 h 642563"/>
                <a:gd name="connsiteX1" fmla="*/ 76200 w 595904"/>
                <a:gd name="connsiteY1" fmla="*/ 638667 h 642563"/>
                <a:gd name="connsiteX2" fmla="*/ 214746 w 595904"/>
                <a:gd name="connsiteY2" fmla="*/ 631740 h 642563"/>
                <a:gd name="connsiteX3" fmla="*/ 387928 w 595904"/>
                <a:gd name="connsiteY3" fmla="*/ 569395 h 642563"/>
                <a:gd name="connsiteX4" fmla="*/ 540328 w 595904"/>
                <a:gd name="connsiteY4" fmla="*/ 403140 h 642563"/>
                <a:gd name="connsiteX5" fmla="*/ 595746 w 595904"/>
                <a:gd name="connsiteY5" fmla="*/ 202249 h 642563"/>
                <a:gd name="connsiteX6" fmla="*/ 526473 w 595904"/>
                <a:gd name="connsiteY6" fmla="*/ 42922 h 642563"/>
                <a:gd name="connsiteX7" fmla="*/ 367146 w 595904"/>
                <a:gd name="connsiteY7" fmla="*/ 8286 h 642563"/>
                <a:gd name="connsiteX8" fmla="*/ 242455 w 595904"/>
                <a:gd name="connsiteY8" fmla="*/ 1358 h 642563"/>
                <a:gd name="connsiteX9" fmla="*/ 152400 w 595904"/>
                <a:gd name="connsiteY9" fmla="*/ 29067 h 642563"/>
                <a:gd name="connsiteX0" fmla="*/ 0 w 595912"/>
                <a:gd name="connsiteY0" fmla="*/ 590177 h 643217"/>
                <a:gd name="connsiteX1" fmla="*/ 76200 w 595912"/>
                <a:gd name="connsiteY1" fmla="*/ 638667 h 643217"/>
                <a:gd name="connsiteX2" fmla="*/ 214746 w 595912"/>
                <a:gd name="connsiteY2" fmla="*/ 631740 h 643217"/>
                <a:gd name="connsiteX3" fmla="*/ 381001 w 595912"/>
                <a:gd name="connsiteY3" fmla="*/ 555541 h 643217"/>
                <a:gd name="connsiteX4" fmla="*/ 540328 w 595912"/>
                <a:gd name="connsiteY4" fmla="*/ 403140 h 643217"/>
                <a:gd name="connsiteX5" fmla="*/ 595746 w 595912"/>
                <a:gd name="connsiteY5" fmla="*/ 202249 h 643217"/>
                <a:gd name="connsiteX6" fmla="*/ 526473 w 595912"/>
                <a:gd name="connsiteY6" fmla="*/ 42922 h 643217"/>
                <a:gd name="connsiteX7" fmla="*/ 367146 w 595912"/>
                <a:gd name="connsiteY7" fmla="*/ 8286 h 643217"/>
                <a:gd name="connsiteX8" fmla="*/ 242455 w 595912"/>
                <a:gd name="connsiteY8" fmla="*/ 1358 h 643217"/>
                <a:gd name="connsiteX9" fmla="*/ 152400 w 595912"/>
                <a:gd name="connsiteY9" fmla="*/ 29067 h 643217"/>
                <a:gd name="connsiteX0" fmla="*/ 0 w 595912"/>
                <a:gd name="connsiteY0" fmla="*/ 582088 h 635128"/>
                <a:gd name="connsiteX1" fmla="*/ 76200 w 595912"/>
                <a:gd name="connsiteY1" fmla="*/ 630578 h 635128"/>
                <a:gd name="connsiteX2" fmla="*/ 214746 w 595912"/>
                <a:gd name="connsiteY2" fmla="*/ 623651 h 635128"/>
                <a:gd name="connsiteX3" fmla="*/ 381001 w 595912"/>
                <a:gd name="connsiteY3" fmla="*/ 547452 h 635128"/>
                <a:gd name="connsiteX4" fmla="*/ 540328 w 595912"/>
                <a:gd name="connsiteY4" fmla="*/ 395051 h 635128"/>
                <a:gd name="connsiteX5" fmla="*/ 595746 w 595912"/>
                <a:gd name="connsiteY5" fmla="*/ 194160 h 635128"/>
                <a:gd name="connsiteX6" fmla="*/ 526473 w 595912"/>
                <a:gd name="connsiteY6" fmla="*/ 34833 h 635128"/>
                <a:gd name="connsiteX7" fmla="*/ 367146 w 595912"/>
                <a:gd name="connsiteY7" fmla="*/ 197 h 635128"/>
                <a:gd name="connsiteX8" fmla="*/ 152400 w 595912"/>
                <a:gd name="connsiteY8" fmla="*/ 20978 h 635128"/>
                <a:gd name="connsiteX0" fmla="*/ 2 w 519714"/>
                <a:gd name="connsiteY0" fmla="*/ 630578 h 635128"/>
                <a:gd name="connsiteX1" fmla="*/ 138548 w 519714"/>
                <a:gd name="connsiteY1" fmla="*/ 623651 h 635128"/>
                <a:gd name="connsiteX2" fmla="*/ 304803 w 519714"/>
                <a:gd name="connsiteY2" fmla="*/ 547452 h 635128"/>
                <a:gd name="connsiteX3" fmla="*/ 464130 w 519714"/>
                <a:gd name="connsiteY3" fmla="*/ 395051 h 635128"/>
                <a:gd name="connsiteX4" fmla="*/ 519548 w 519714"/>
                <a:gd name="connsiteY4" fmla="*/ 194160 h 635128"/>
                <a:gd name="connsiteX5" fmla="*/ 450275 w 519714"/>
                <a:gd name="connsiteY5" fmla="*/ 34833 h 635128"/>
                <a:gd name="connsiteX6" fmla="*/ 290948 w 519714"/>
                <a:gd name="connsiteY6" fmla="*/ 197 h 635128"/>
                <a:gd name="connsiteX7" fmla="*/ 76202 w 519714"/>
                <a:gd name="connsiteY7" fmla="*/ 20978 h 635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714" h="635128">
                  <a:moveTo>
                    <a:pt x="2" y="630578"/>
                  </a:moveTo>
                  <a:cubicBezTo>
                    <a:pt x="35793" y="637505"/>
                    <a:pt x="87748" y="637505"/>
                    <a:pt x="138548" y="623651"/>
                  </a:cubicBezTo>
                  <a:cubicBezTo>
                    <a:pt x="189348" y="609797"/>
                    <a:pt x="250539" y="585552"/>
                    <a:pt x="304803" y="547452"/>
                  </a:cubicBezTo>
                  <a:cubicBezTo>
                    <a:pt x="359067" y="509352"/>
                    <a:pt x="428339" y="453933"/>
                    <a:pt x="464130" y="395051"/>
                  </a:cubicBezTo>
                  <a:cubicBezTo>
                    <a:pt x="499921" y="336169"/>
                    <a:pt x="521857" y="254196"/>
                    <a:pt x="519548" y="194160"/>
                  </a:cubicBezTo>
                  <a:cubicBezTo>
                    <a:pt x="517239" y="134124"/>
                    <a:pt x="488375" y="67160"/>
                    <a:pt x="450275" y="34833"/>
                  </a:cubicBezTo>
                  <a:cubicBezTo>
                    <a:pt x="412175" y="2506"/>
                    <a:pt x="353293" y="2506"/>
                    <a:pt x="290948" y="197"/>
                  </a:cubicBezTo>
                  <a:cubicBezTo>
                    <a:pt x="228603" y="-2112"/>
                    <a:pt x="120941" y="16649"/>
                    <a:pt x="76202" y="2097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p:cNvSpPr/>
            <p:nvPr/>
          </p:nvSpPr>
          <p:spPr bwMode="auto">
            <a:xfrm>
              <a:off x="2622973" y="2674633"/>
              <a:ext cx="249201" cy="250776"/>
            </a:xfrm>
            <a:custGeom>
              <a:avLst/>
              <a:gdLst>
                <a:gd name="connsiteX0" fmla="*/ 186170 w 727232"/>
                <a:gd name="connsiteY0" fmla="*/ 638603 h 742549"/>
                <a:gd name="connsiteX1" fmla="*/ 303934 w 727232"/>
                <a:gd name="connsiteY1" fmla="*/ 700948 h 742549"/>
                <a:gd name="connsiteX2" fmla="*/ 373206 w 727232"/>
                <a:gd name="connsiteY2" fmla="*/ 742512 h 742549"/>
                <a:gd name="connsiteX3" fmla="*/ 518679 w 727232"/>
                <a:gd name="connsiteY3" fmla="*/ 694021 h 742549"/>
                <a:gd name="connsiteX4" fmla="*/ 622588 w 727232"/>
                <a:gd name="connsiteY4" fmla="*/ 410003 h 742549"/>
                <a:gd name="connsiteX5" fmla="*/ 726497 w 727232"/>
                <a:gd name="connsiteY5" fmla="*/ 105203 h 742549"/>
                <a:gd name="connsiteX6" fmla="*/ 650297 w 727232"/>
                <a:gd name="connsiteY6" fmla="*/ 1294 h 742549"/>
                <a:gd name="connsiteX7" fmla="*/ 338570 w 727232"/>
                <a:gd name="connsiteY7" fmla="*/ 49785 h 742549"/>
                <a:gd name="connsiteX8" fmla="*/ 165388 w 727232"/>
                <a:gd name="connsiteY8" fmla="*/ 91348 h 742549"/>
                <a:gd name="connsiteX9" fmla="*/ 54552 w 727232"/>
                <a:gd name="connsiteY9" fmla="*/ 250676 h 742549"/>
                <a:gd name="connsiteX10" fmla="*/ 6061 w 727232"/>
                <a:gd name="connsiteY10" fmla="*/ 534694 h 742549"/>
                <a:gd name="connsiteX11" fmla="*/ 6061 w 727232"/>
                <a:gd name="connsiteY11" fmla="*/ 645530 h 742549"/>
                <a:gd name="connsiteX12" fmla="*/ 54552 w 727232"/>
                <a:gd name="connsiteY12" fmla="*/ 666312 h 742549"/>
                <a:gd name="connsiteX13" fmla="*/ 186170 w 727232"/>
                <a:gd name="connsiteY13" fmla="*/ 638603 h 742549"/>
                <a:gd name="connsiteX0" fmla="*/ 186170 w 726497"/>
                <a:gd name="connsiteY0" fmla="*/ 638603 h 742549"/>
                <a:gd name="connsiteX1" fmla="*/ 303934 w 726497"/>
                <a:gd name="connsiteY1" fmla="*/ 700948 h 742549"/>
                <a:gd name="connsiteX2" fmla="*/ 373206 w 726497"/>
                <a:gd name="connsiteY2" fmla="*/ 742512 h 742549"/>
                <a:gd name="connsiteX3" fmla="*/ 518679 w 726497"/>
                <a:gd name="connsiteY3" fmla="*/ 694021 h 742549"/>
                <a:gd name="connsiteX4" fmla="*/ 650297 w 726497"/>
                <a:gd name="connsiteY4" fmla="*/ 410003 h 742549"/>
                <a:gd name="connsiteX5" fmla="*/ 726497 w 726497"/>
                <a:gd name="connsiteY5" fmla="*/ 105203 h 742549"/>
                <a:gd name="connsiteX6" fmla="*/ 650297 w 726497"/>
                <a:gd name="connsiteY6" fmla="*/ 1294 h 742549"/>
                <a:gd name="connsiteX7" fmla="*/ 338570 w 726497"/>
                <a:gd name="connsiteY7" fmla="*/ 49785 h 742549"/>
                <a:gd name="connsiteX8" fmla="*/ 165388 w 726497"/>
                <a:gd name="connsiteY8" fmla="*/ 91348 h 742549"/>
                <a:gd name="connsiteX9" fmla="*/ 54552 w 726497"/>
                <a:gd name="connsiteY9" fmla="*/ 250676 h 742549"/>
                <a:gd name="connsiteX10" fmla="*/ 6061 w 726497"/>
                <a:gd name="connsiteY10" fmla="*/ 534694 h 742549"/>
                <a:gd name="connsiteX11" fmla="*/ 6061 w 726497"/>
                <a:gd name="connsiteY11" fmla="*/ 645530 h 742549"/>
                <a:gd name="connsiteX12" fmla="*/ 54552 w 726497"/>
                <a:gd name="connsiteY12" fmla="*/ 666312 h 742549"/>
                <a:gd name="connsiteX13" fmla="*/ 186170 w 726497"/>
                <a:gd name="connsiteY13" fmla="*/ 638603 h 742549"/>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64791 w 736736"/>
                <a:gd name="connsiteY12" fmla="*/ 666833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92500 w 736736"/>
                <a:gd name="connsiteY12" fmla="*/ 659906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196409 w 736736"/>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405" h="743070">
                  <a:moveTo>
                    <a:pt x="198078" y="639124"/>
                  </a:moveTo>
                  <a:cubicBezTo>
                    <a:pt x="248878" y="649515"/>
                    <a:pt x="284669" y="684151"/>
                    <a:pt x="315842" y="701469"/>
                  </a:cubicBezTo>
                  <a:cubicBezTo>
                    <a:pt x="347015" y="718787"/>
                    <a:pt x="349323" y="744187"/>
                    <a:pt x="385114" y="743033"/>
                  </a:cubicBezTo>
                  <a:cubicBezTo>
                    <a:pt x="420905" y="741879"/>
                    <a:pt x="484405" y="749960"/>
                    <a:pt x="530587" y="694542"/>
                  </a:cubicBezTo>
                  <a:cubicBezTo>
                    <a:pt x="576769" y="639124"/>
                    <a:pt x="627569" y="508660"/>
                    <a:pt x="662205" y="410524"/>
                  </a:cubicBezTo>
                  <a:cubicBezTo>
                    <a:pt x="696841" y="312388"/>
                    <a:pt x="738405" y="173842"/>
                    <a:pt x="738405" y="105724"/>
                  </a:cubicBezTo>
                  <a:cubicBezTo>
                    <a:pt x="738405" y="37606"/>
                    <a:pt x="726860" y="12206"/>
                    <a:pt x="662205" y="1815"/>
                  </a:cubicBezTo>
                  <a:cubicBezTo>
                    <a:pt x="597550" y="-8576"/>
                    <a:pt x="431296" y="28370"/>
                    <a:pt x="350478" y="43379"/>
                  </a:cubicBezTo>
                  <a:cubicBezTo>
                    <a:pt x="269660" y="58388"/>
                    <a:pt x="224632" y="57233"/>
                    <a:pt x="177296" y="91869"/>
                  </a:cubicBezTo>
                  <a:cubicBezTo>
                    <a:pt x="129960" y="126505"/>
                    <a:pt x="95323" y="180770"/>
                    <a:pt x="66460" y="251197"/>
                  </a:cubicBezTo>
                  <a:cubicBezTo>
                    <a:pt x="37597" y="321624"/>
                    <a:pt x="13352" y="449779"/>
                    <a:pt x="4115" y="514433"/>
                  </a:cubicBezTo>
                  <a:cubicBezTo>
                    <a:pt x="-5122" y="579087"/>
                    <a:pt x="2959" y="617187"/>
                    <a:pt x="11041" y="639123"/>
                  </a:cubicBezTo>
                  <a:cubicBezTo>
                    <a:pt x="43368" y="659905"/>
                    <a:pt x="147278" y="628733"/>
                    <a:pt x="198078" y="63912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Freeform: Shape 98"/>
            <p:cNvSpPr/>
            <p:nvPr/>
          </p:nvSpPr>
          <p:spPr bwMode="auto">
            <a:xfrm>
              <a:off x="2689151" y="2705638"/>
              <a:ext cx="183024" cy="194042"/>
            </a:xfrm>
            <a:custGeom>
              <a:avLst/>
              <a:gdLst>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34637 h 574964"/>
                <a:gd name="connsiteX6" fmla="*/ 542316 w 542316"/>
                <a:gd name="connsiteY6" fmla="*/ 0 h 574964"/>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 name="connsiteX0" fmla="*/ 292935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316" h="574964">
                  <a:moveTo>
                    <a:pt x="292935" y="574964"/>
                  </a:moveTo>
                  <a:cubicBezTo>
                    <a:pt x="212117" y="559378"/>
                    <a:pt x="119753" y="543792"/>
                    <a:pt x="71262" y="540328"/>
                  </a:cubicBezTo>
                  <a:cubicBezTo>
                    <a:pt x="22771" y="536864"/>
                    <a:pt x="10071" y="596900"/>
                    <a:pt x="1989" y="554182"/>
                  </a:cubicBezTo>
                  <a:cubicBezTo>
                    <a:pt x="-6093" y="511464"/>
                    <a:pt x="12380" y="360219"/>
                    <a:pt x="22771" y="284019"/>
                  </a:cubicBezTo>
                  <a:cubicBezTo>
                    <a:pt x="33162" y="207819"/>
                    <a:pt x="15843" y="140854"/>
                    <a:pt x="64334" y="96982"/>
                  </a:cubicBezTo>
                  <a:cubicBezTo>
                    <a:pt x="112825" y="53110"/>
                    <a:pt x="234052" y="36947"/>
                    <a:pt x="313716" y="20783"/>
                  </a:cubicBezTo>
                  <a:cubicBezTo>
                    <a:pt x="393380" y="4619"/>
                    <a:pt x="467848" y="9236"/>
                    <a:pt x="542316"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p:cNvSpPr/>
            <p:nvPr/>
          </p:nvSpPr>
          <p:spPr bwMode="auto">
            <a:xfrm>
              <a:off x="2418630" y="3023586"/>
              <a:ext cx="579789" cy="18703"/>
            </a:xfrm>
            <a:custGeom>
              <a:avLst/>
              <a:gdLst>
                <a:gd name="connsiteX0" fmla="*/ 0 w 1717964"/>
                <a:gd name="connsiteY0" fmla="*/ 0 h 55419"/>
                <a:gd name="connsiteX1" fmla="*/ 1717964 w 1717964"/>
                <a:gd name="connsiteY1" fmla="*/ 55419 h 55419"/>
              </a:gdLst>
              <a:ahLst/>
              <a:cxnLst>
                <a:cxn ang="0">
                  <a:pos x="connsiteX0" y="connsiteY0"/>
                </a:cxn>
                <a:cxn ang="0">
                  <a:pos x="connsiteX1" y="connsiteY1"/>
                </a:cxn>
              </a:cxnLst>
              <a:rect l="l" t="t" r="r" b="b"/>
              <a:pathLst>
                <a:path w="1717964" h="55419">
                  <a:moveTo>
                    <a:pt x="0" y="0"/>
                  </a:moveTo>
                  <a:lnTo>
                    <a:pt x="1717964" y="55419"/>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p:cNvSpPr/>
            <p:nvPr/>
          </p:nvSpPr>
          <p:spPr bwMode="auto">
            <a:xfrm>
              <a:off x="2486428" y="2668232"/>
              <a:ext cx="96525" cy="294591"/>
            </a:xfrm>
            <a:custGeom>
              <a:avLst/>
              <a:gdLst>
                <a:gd name="connsiteX0" fmla="*/ 0 w 286013"/>
                <a:gd name="connsiteY0" fmla="*/ 755073 h 872900"/>
                <a:gd name="connsiteX1" fmla="*/ 131618 w 286013"/>
                <a:gd name="connsiteY1" fmla="*/ 872836 h 872900"/>
                <a:gd name="connsiteX2" fmla="*/ 235527 w 286013"/>
                <a:gd name="connsiteY2" fmla="*/ 741218 h 872900"/>
                <a:gd name="connsiteX3" fmla="*/ 270164 w 286013"/>
                <a:gd name="connsiteY3" fmla="*/ 277091 h 872900"/>
                <a:gd name="connsiteX4" fmla="*/ 284018 w 286013"/>
                <a:gd name="connsiteY4" fmla="*/ 117764 h 872900"/>
                <a:gd name="connsiteX5" fmla="*/ 228600 w 286013"/>
                <a:gd name="connsiteY5" fmla="*/ 41564 h 872900"/>
                <a:gd name="connsiteX6" fmla="*/ 166255 w 286013"/>
                <a:gd name="connsiteY6" fmla="*/ 0 h 87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013" h="872900">
                  <a:moveTo>
                    <a:pt x="0" y="755073"/>
                  </a:moveTo>
                  <a:cubicBezTo>
                    <a:pt x="46181" y="815109"/>
                    <a:pt x="92363" y="875145"/>
                    <a:pt x="131618" y="872836"/>
                  </a:cubicBezTo>
                  <a:cubicBezTo>
                    <a:pt x="170873" y="870527"/>
                    <a:pt x="212436" y="840509"/>
                    <a:pt x="235527" y="741218"/>
                  </a:cubicBezTo>
                  <a:cubicBezTo>
                    <a:pt x="258618" y="641927"/>
                    <a:pt x="262082" y="381000"/>
                    <a:pt x="270164" y="277091"/>
                  </a:cubicBezTo>
                  <a:cubicBezTo>
                    <a:pt x="278246" y="173182"/>
                    <a:pt x="290945" y="157018"/>
                    <a:pt x="284018" y="117764"/>
                  </a:cubicBezTo>
                  <a:cubicBezTo>
                    <a:pt x="277091" y="78510"/>
                    <a:pt x="248227" y="61191"/>
                    <a:pt x="228600" y="41564"/>
                  </a:cubicBezTo>
                  <a:cubicBezTo>
                    <a:pt x="208973" y="21937"/>
                    <a:pt x="187614" y="10968"/>
                    <a:pt x="166255" y="0"/>
                  </a:cubicBezTo>
                </a:path>
              </a:pathLst>
            </a:custGeom>
            <a:noFill/>
            <a:ln w="19050"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p:cNvSpPr/>
            <p:nvPr/>
          </p:nvSpPr>
          <p:spPr bwMode="auto">
            <a:xfrm>
              <a:off x="2542537" y="3241007"/>
              <a:ext cx="39743" cy="184690"/>
            </a:xfrm>
            <a:custGeom>
              <a:avLst/>
              <a:gdLst>
                <a:gd name="connsiteX0" fmla="*/ 0 w 117763"/>
                <a:gd name="connsiteY0" fmla="*/ 0 h 547254"/>
                <a:gd name="connsiteX1" fmla="*/ 117763 w 117763"/>
                <a:gd name="connsiteY1" fmla="*/ 547254 h 547254"/>
              </a:gdLst>
              <a:ahLst/>
              <a:cxnLst>
                <a:cxn ang="0">
                  <a:pos x="connsiteX0" y="connsiteY0"/>
                </a:cxn>
                <a:cxn ang="0">
                  <a:pos x="connsiteX1" y="connsiteY1"/>
                </a:cxn>
              </a:cxnLst>
              <a:rect l="l" t="t" r="r" b="b"/>
              <a:pathLst>
                <a:path w="117763" h="547254">
                  <a:moveTo>
                    <a:pt x="0" y="0"/>
                  </a:moveTo>
                  <a:lnTo>
                    <a:pt x="117763" y="547254"/>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p:cNvSpPr/>
            <p:nvPr/>
          </p:nvSpPr>
          <p:spPr bwMode="auto">
            <a:xfrm>
              <a:off x="4412823" y="2324567"/>
              <a:ext cx="944494" cy="34502"/>
            </a:xfrm>
            <a:custGeom>
              <a:avLst/>
              <a:gdLst>
                <a:gd name="connsiteX0" fmla="*/ 0 w 2798618"/>
                <a:gd name="connsiteY0" fmla="*/ 0 h 102233"/>
                <a:gd name="connsiteX1" fmla="*/ 491836 w 2798618"/>
                <a:gd name="connsiteY1" fmla="*/ 96982 h 102233"/>
                <a:gd name="connsiteX2" fmla="*/ 1260764 w 2798618"/>
                <a:gd name="connsiteY2" fmla="*/ 90054 h 102233"/>
                <a:gd name="connsiteX3" fmla="*/ 2410691 w 2798618"/>
                <a:gd name="connsiteY3" fmla="*/ 62345 h 102233"/>
                <a:gd name="connsiteX4" fmla="*/ 2798618 w 2798618"/>
                <a:gd name="connsiteY4" fmla="*/ 41564 h 102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618" h="102233">
                  <a:moveTo>
                    <a:pt x="0" y="0"/>
                  </a:moveTo>
                  <a:cubicBezTo>
                    <a:pt x="140854" y="40986"/>
                    <a:pt x="281709" y="81973"/>
                    <a:pt x="491836" y="96982"/>
                  </a:cubicBezTo>
                  <a:cubicBezTo>
                    <a:pt x="701963" y="111991"/>
                    <a:pt x="1260764" y="90054"/>
                    <a:pt x="1260764" y="90054"/>
                  </a:cubicBezTo>
                  <a:lnTo>
                    <a:pt x="2410691" y="62345"/>
                  </a:lnTo>
                  <a:cubicBezTo>
                    <a:pt x="2667000" y="54263"/>
                    <a:pt x="2732809" y="47913"/>
                    <a:pt x="2798618" y="415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p:cNvSpPr/>
            <p:nvPr/>
          </p:nvSpPr>
          <p:spPr bwMode="auto">
            <a:xfrm>
              <a:off x="5287181" y="2287162"/>
              <a:ext cx="757466" cy="28054"/>
            </a:xfrm>
            <a:custGeom>
              <a:avLst/>
              <a:gdLst>
                <a:gd name="connsiteX0" fmla="*/ 0 w 2244436"/>
                <a:gd name="connsiteY0" fmla="*/ 83127 h 83127"/>
                <a:gd name="connsiteX1" fmla="*/ 2244436 w 2244436"/>
                <a:gd name="connsiteY1" fmla="*/ 0 h 83127"/>
              </a:gdLst>
              <a:ahLst/>
              <a:cxnLst>
                <a:cxn ang="0">
                  <a:pos x="connsiteX0" y="connsiteY0"/>
                </a:cxn>
                <a:cxn ang="0">
                  <a:pos x="connsiteX1" y="connsiteY1"/>
                </a:cxn>
              </a:cxnLst>
              <a:rect l="l" t="t" r="r" b="b"/>
              <a:pathLst>
                <a:path w="2244436" h="83127">
                  <a:moveTo>
                    <a:pt x="0" y="83127"/>
                  </a:moveTo>
                  <a:lnTo>
                    <a:pt x="2244436"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p:cNvSpPr/>
            <p:nvPr/>
          </p:nvSpPr>
          <p:spPr bwMode="auto">
            <a:xfrm>
              <a:off x="5263802" y="1733199"/>
              <a:ext cx="1980165" cy="549152"/>
            </a:xfrm>
            <a:custGeom>
              <a:avLst/>
              <a:gdLst>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52054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3124 h 1630811"/>
                <a:gd name="connsiteX1" fmla="*/ 3131127 w 5867400"/>
                <a:gd name="connsiteY1" fmla="*/ 1613179 h 1630811"/>
                <a:gd name="connsiteX2" fmla="*/ 2957946 w 5867400"/>
                <a:gd name="connsiteY2" fmla="*/ 1620106 h 1630811"/>
                <a:gd name="connsiteX3" fmla="*/ 2999509 w 5867400"/>
                <a:gd name="connsiteY3" fmla="*/ 1495415 h 1630811"/>
                <a:gd name="connsiteX4" fmla="*/ 3096491 w 5867400"/>
                <a:gd name="connsiteY4" fmla="*/ 1252961 h 1630811"/>
                <a:gd name="connsiteX5" fmla="*/ 3435927 w 5867400"/>
                <a:gd name="connsiteY5" fmla="*/ 151524 h 1630811"/>
                <a:gd name="connsiteX6" fmla="*/ 3477491 w 5867400"/>
                <a:gd name="connsiteY6" fmla="*/ 12979 h 1630811"/>
                <a:gd name="connsiteX7" fmla="*/ 3290455 w 5867400"/>
                <a:gd name="connsiteY7" fmla="*/ 12978 h 1630811"/>
                <a:gd name="connsiteX8" fmla="*/ 2244437 w 5867400"/>
                <a:gd name="connsiteY8" fmla="*/ 75324 h 1630811"/>
                <a:gd name="connsiteX9" fmla="*/ 1461655 w 5867400"/>
                <a:gd name="connsiteY9" fmla="*/ 227724 h 1630811"/>
                <a:gd name="connsiteX10" fmla="*/ 852054 w 5867400"/>
                <a:gd name="connsiteY10" fmla="*/ 463251 h 1630811"/>
                <a:gd name="connsiteX11" fmla="*/ 228600 w 5867400"/>
                <a:gd name="connsiteY11" fmla="*/ 830397 h 1630811"/>
                <a:gd name="connsiteX12" fmla="*/ 0 w 5867400"/>
                <a:gd name="connsiteY12" fmla="*/ 968942 h 1630811"/>
                <a:gd name="connsiteX0" fmla="*/ 5867400 w 5867400"/>
                <a:gd name="connsiteY0" fmla="*/ 1536065 h 1643752"/>
                <a:gd name="connsiteX1" fmla="*/ 3131127 w 5867400"/>
                <a:gd name="connsiteY1" fmla="*/ 1626120 h 1643752"/>
                <a:gd name="connsiteX2" fmla="*/ 2957946 w 5867400"/>
                <a:gd name="connsiteY2" fmla="*/ 1633047 h 1643752"/>
                <a:gd name="connsiteX3" fmla="*/ 2999509 w 5867400"/>
                <a:gd name="connsiteY3" fmla="*/ 1508356 h 1643752"/>
                <a:gd name="connsiteX4" fmla="*/ 3096491 w 5867400"/>
                <a:gd name="connsiteY4" fmla="*/ 1265902 h 1643752"/>
                <a:gd name="connsiteX5" fmla="*/ 3435927 w 5867400"/>
                <a:gd name="connsiteY5" fmla="*/ 164465 h 1643752"/>
                <a:gd name="connsiteX6" fmla="*/ 3477491 w 5867400"/>
                <a:gd name="connsiteY6" fmla="*/ 25920 h 1643752"/>
                <a:gd name="connsiteX7" fmla="*/ 3290455 w 5867400"/>
                <a:gd name="connsiteY7" fmla="*/ 5137 h 1643752"/>
                <a:gd name="connsiteX8" fmla="*/ 2244437 w 5867400"/>
                <a:gd name="connsiteY8" fmla="*/ 88265 h 1643752"/>
                <a:gd name="connsiteX9" fmla="*/ 1461655 w 5867400"/>
                <a:gd name="connsiteY9" fmla="*/ 240665 h 1643752"/>
                <a:gd name="connsiteX10" fmla="*/ 852054 w 5867400"/>
                <a:gd name="connsiteY10" fmla="*/ 476192 h 1643752"/>
                <a:gd name="connsiteX11" fmla="*/ 228600 w 5867400"/>
                <a:gd name="connsiteY11" fmla="*/ 843338 h 1643752"/>
                <a:gd name="connsiteX12" fmla="*/ 0 w 5867400"/>
                <a:gd name="connsiteY12" fmla="*/ 981883 h 1643752"/>
                <a:gd name="connsiteX0" fmla="*/ 5867400 w 5867400"/>
                <a:gd name="connsiteY0" fmla="*/ 1523125 h 1630812"/>
                <a:gd name="connsiteX1" fmla="*/ 3131127 w 5867400"/>
                <a:gd name="connsiteY1" fmla="*/ 1613180 h 1630812"/>
                <a:gd name="connsiteX2" fmla="*/ 2957946 w 5867400"/>
                <a:gd name="connsiteY2" fmla="*/ 1620107 h 1630812"/>
                <a:gd name="connsiteX3" fmla="*/ 2999509 w 5867400"/>
                <a:gd name="connsiteY3" fmla="*/ 1495416 h 1630812"/>
                <a:gd name="connsiteX4" fmla="*/ 3096491 w 5867400"/>
                <a:gd name="connsiteY4" fmla="*/ 1252962 h 1630812"/>
                <a:gd name="connsiteX5" fmla="*/ 3435927 w 5867400"/>
                <a:gd name="connsiteY5" fmla="*/ 151525 h 1630812"/>
                <a:gd name="connsiteX6" fmla="*/ 3477491 w 5867400"/>
                <a:gd name="connsiteY6" fmla="*/ 12980 h 1630812"/>
                <a:gd name="connsiteX7" fmla="*/ 3290455 w 5867400"/>
                <a:gd name="connsiteY7" fmla="*/ 12979 h 1630812"/>
                <a:gd name="connsiteX8" fmla="*/ 2244437 w 5867400"/>
                <a:gd name="connsiteY8" fmla="*/ 75325 h 1630812"/>
                <a:gd name="connsiteX9" fmla="*/ 1461655 w 5867400"/>
                <a:gd name="connsiteY9" fmla="*/ 227725 h 1630812"/>
                <a:gd name="connsiteX10" fmla="*/ 852054 w 5867400"/>
                <a:gd name="connsiteY10" fmla="*/ 463252 h 1630812"/>
                <a:gd name="connsiteX11" fmla="*/ 228600 w 5867400"/>
                <a:gd name="connsiteY11" fmla="*/ 830398 h 1630812"/>
                <a:gd name="connsiteX12" fmla="*/ 0 w 5867400"/>
                <a:gd name="connsiteY12" fmla="*/ 968943 h 1630812"/>
                <a:gd name="connsiteX0" fmla="*/ 5867400 w 5867400"/>
                <a:gd name="connsiteY0" fmla="*/ 1518398 h 1626085"/>
                <a:gd name="connsiteX1" fmla="*/ 3131127 w 5867400"/>
                <a:gd name="connsiteY1" fmla="*/ 1608453 h 1626085"/>
                <a:gd name="connsiteX2" fmla="*/ 2957946 w 5867400"/>
                <a:gd name="connsiteY2" fmla="*/ 1615380 h 1626085"/>
                <a:gd name="connsiteX3" fmla="*/ 2999509 w 5867400"/>
                <a:gd name="connsiteY3" fmla="*/ 1490689 h 1626085"/>
                <a:gd name="connsiteX4" fmla="*/ 3096491 w 5867400"/>
                <a:gd name="connsiteY4" fmla="*/ 1248235 h 1626085"/>
                <a:gd name="connsiteX5" fmla="*/ 3435927 w 5867400"/>
                <a:gd name="connsiteY5" fmla="*/ 146798 h 1626085"/>
                <a:gd name="connsiteX6" fmla="*/ 3477491 w 5867400"/>
                <a:gd name="connsiteY6" fmla="*/ 8253 h 1626085"/>
                <a:gd name="connsiteX7" fmla="*/ 3290455 w 5867400"/>
                <a:gd name="connsiteY7" fmla="*/ 8252 h 1626085"/>
                <a:gd name="connsiteX8" fmla="*/ 2244437 w 5867400"/>
                <a:gd name="connsiteY8" fmla="*/ 70598 h 1626085"/>
                <a:gd name="connsiteX9" fmla="*/ 1461655 w 5867400"/>
                <a:gd name="connsiteY9" fmla="*/ 222998 h 1626085"/>
                <a:gd name="connsiteX10" fmla="*/ 852054 w 5867400"/>
                <a:gd name="connsiteY10" fmla="*/ 458525 h 1626085"/>
                <a:gd name="connsiteX11" fmla="*/ 228600 w 5867400"/>
                <a:gd name="connsiteY11" fmla="*/ 825671 h 1626085"/>
                <a:gd name="connsiteX12" fmla="*/ 0 w 5867400"/>
                <a:gd name="connsiteY12" fmla="*/ 964216 h 1626085"/>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96491 w 5867400"/>
                <a:gd name="connsiteY4" fmla="*/ 1250173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89564 w 5867400"/>
                <a:gd name="connsiteY4" fmla="*/ 1208609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30893 h 1638580"/>
                <a:gd name="connsiteX1" fmla="*/ 3131127 w 5867400"/>
                <a:gd name="connsiteY1" fmla="*/ 1620948 h 1638580"/>
                <a:gd name="connsiteX2" fmla="*/ 2957946 w 5867400"/>
                <a:gd name="connsiteY2" fmla="*/ 1627875 h 1638580"/>
                <a:gd name="connsiteX3" fmla="*/ 2999509 w 5867400"/>
                <a:gd name="connsiteY3" fmla="*/ 1503184 h 1638580"/>
                <a:gd name="connsiteX4" fmla="*/ 3089564 w 5867400"/>
                <a:gd name="connsiteY4" fmla="*/ 1219166 h 1638580"/>
                <a:gd name="connsiteX5" fmla="*/ 3435927 w 5867400"/>
                <a:gd name="connsiteY5" fmla="*/ 159293 h 1638580"/>
                <a:gd name="connsiteX6" fmla="*/ 3463636 w 5867400"/>
                <a:gd name="connsiteY6" fmla="*/ 13821 h 1638580"/>
                <a:gd name="connsiteX7" fmla="*/ 3290455 w 5867400"/>
                <a:gd name="connsiteY7" fmla="*/ 13819 h 1638580"/>
                <a:gd name="connsiteX8" fmla="*/ 2244437 w 5867400"/>
                <a:gd name="connsiteY8" fmla="*/ 83093 h 1638580"/>
                <a:gd name="connsiteX9" fmla="*/ 1461655 w 5867400"/>
                <a:gd name="connsiteY9" fmla="*/ 235493 h 1638580"/>
                <a:gd name="connsiteX10" fmla="*/ 852054 w 5867400"/>
                <a:gd name="connsiteY10" fmla="*/ 471020 h 1638580"/>
                <a:gd name="connsiteX11" fmla="*/ 228600 w 5867400"/>
                <a:gd name="connsiteY11" fmla="*/ 838166 h 1638580"/>
                <a:gd name="connsiteX12" fmla="*/ 0 w 5867400"/>
                <a:gd name="connsiteY12" fmla="*/ 976711 h 1638580"/>
                <a:gd name="connsiteX0" fmla="*/ 5867400 w 5867400"/>
                <a:gd name="connsiteY0" fmla="*/ 1539905 h 1647592"/>
                <a:gd name="connsiteX1" fmla="*/ 3131127 w 5867400"/>
                <a:gd name="connsiteY1" fmla="*/ 1629960 h 1647592"/>
                <a:gd name="connsiteX2" fmla="*/ 2957946 w 5867400"/>
                <a:gd name="connsiteY2" fmla="*/ 1636887 h 1647592"/>
                <a:gd name="connsiteX3" fmla="*/ 2999509 w 5867400"/>
                <a:gd name="connsiteY3" fmla="*/ 1512196 h 1647592"/>
                <a:gd name="connsiteX4" fmla="*/ 3089564 w 5867400"/>
                <a:gd name="connsiteY4" fmla="*/ 1228178 h 1647592"/>
                <a:gd name="connsiteX5" fmla="*/ 3435927 w 5867400"/>
                <a:gd name="connsiteY5" fmla="*/ 168305 h 1647592"/>
                <a:gd name="connsiteX6" fmla="*/ 3463636 w 5867400"/>
                <a:gd name="connsiteY6" fmla="*/ 22833 h 1647592"/>
                <a:gd name="connsiteX7" fmla="*/ 3290455 w 5867400"/>
                <a:gd name="connsiteY7" fmla="*/ 22831 h 1647592"/>
                <a:gd name="connsiteX8" fmla="*/ 2244437 w 5867400"/>
                <a:gd name="connsiteY8" fmla="*/ 92105 h 1647592"/>
                <a:gd name="connsiteX9" fmla="*/ 1461655 w 5867400"/>
                <a:gd name="connsiteY9" fmla="*/ 244505 h 1647592"/>
                <a:gd name="connsiteX10" fmla="*/ 852054 w 5867400"/>
                <a:gd name="connsiteY10" fmla="*/ 480032 h 1647592"/>
                <a:gd name="connsiteX11" fmla="*/ 228600 w 5867400"/>
                <a:gd name="connsiteY11" fmla="*/ 847178 h 1647592"/>
                <a:gd name="connsiteX12" fmla="*/ 0 w 5867400"/>
                <a:gd name="connsiteY12" fmla="*/ 985723 h 1647592"/>
                <a:gd name="connsiteX0" fmla="*/ 5867400 w 5867400"/>
                <a:gd name="connsiteY0" fmla="*/ 1530604 h 1638291"/>
                <a:gd name="connsiteX1" fmla="*/ 3131127 w 5867400"/>
                <a:gd name="connsiteY1" fmla="*/ 1620659 h 1638291"/>
                <a:gd name="connsiteX2" fmla="*/ 2957946 w 5867400"/>
                <a:gd name="connsiteY2" fmla="*/ 1627586 h 1638291"/>
                <a:gd name="connsiteX3" fmla="*/ 2999509 w 5867400"/>
                <a:gd name="connsiteY3" fmla="*/ 1502895 h 1638291"/>
                <a:gd name="connsiteX4" fmla="*/ 3089564 w 5867400"/>
                <a:gd name="connsiteY4" fmla="*/ 1218877 h 1638291"/>
                <a:gd name="connsiteX5" fmla="*/ 3435927 w 5867400"/>
                <a:gd name="connsiteY5" fmla="*/ 159004 h 1638291"/>
                <a:gd name="connsiteX6" fmla="*/ 3470563 w 5867400"/>
                <a:gd name="connsiteY6" fmla="*/ 27387 h 1638291"/>
                <a:gd name="connsiteX7" fmla="*/ 3290455 w 5867400"/>
                <a:gd name="connsiteY7" fmla="*/ 13530 h 1638291"/>
                <a:gd name="connsiteX8" fmla="*/ 2244437 w 5867400"/>
                <a:gd name="connsiteY8" fmla="*/ 82804 h 1638291"/>
                <a:gd name="connsiteX9" fmla="*/ 1461655 w 5867400"/>
                <a:gd name="connsiteY9" fmla="*/ 235204 h 1638291"/>
                <a:gd name="connsiteX10" fmla="*/ 852054 w 5867400"/>
                <a:gd name="connsiteY10" fmla="*/ 470731 h 1638291"/>
                <a:gd name="connsiteX11" fmla="*/ 228600 w 5867400"/>
                <a:gd name="connsiteY11" fmla="*/ 837877 h 1638291"/>
                <a:gd name="connsiteX12" fmla="*/ 0 w 5867400"/>
                <a:gd name="connsiteY12" fmla="*/ 976422 h 1638291"/>
                <a:gd name="connsiteX0" fmla="*/ 5867400 w 5867400"/>
                <a:gd name="connsiteY0" fmla="*/ 1530604 h 1659202"/>
                <a:gd name="connsiteX1" fmla="*/ 3131127 w 5867400"/>
                <a:gd name="connsiteY1" fmla="*/ 1620659 h 1659202"/>
                <a:gd name="connsiteX2" fmla="*/ 2957946 w 5867400"/>
                <a:gd name="connsiteY2" fmla="*/ 1627586 h 1659202"/>
                <a:gd name="connsiteX3" fmla="*/ 3089564 w 5867400"/>
                <a:gd name="connsiteY3" fmla="*/ 1218877 h 1659202"/>
                <a:gd name="connsiteX4" fmla="*/ 3435927 w 5867400"/>
                <a:gd name="connsiteY4" fmla="*/ 159004 h 1659202"/>
                <a:gd name="connsiteX5" fmla="*/ 3470563 w 5867400"/>
                <a:gd name="connsiteY5" fmla="*/ 27387 h 1659202"/>
                <a:gd name="connsiteX6" fmla="*/ 3290455 w 5867400"/>
                <a:gd name="connsiteY6" fmla="*/ 13530 h 1659202"/>
                <a:gd name="connsiteX7" fmla="*/ 2244437 w 5867400"/>
                <a:gd name="connsiteY7" fmla="*/ 82804 h 1659202"/>
                <a:gd name="connsiteX8" fmla="*/ 1461655 w 5867400"/>
                <a:gd name="connsiteY8" fmla="*/ 235204 h 1659202"/>
                <a:gd name="connsiteX9" fmla="*/ 852054 w 5867400"/>
                <a:gd name="connsiteY9" fmla="*/ 470731 h 1659202"/>
                <a:gd name="connsiteX10" fmla="*/ 228600 w 5867400"/>
                <a:gd name="connsiteY10" fmla="*/ 837877 h 1659202"/>
                <a:gd name="connsiteX11" fmla="*/ 0 w 5867400"/>
                <a:gd name="connsiteY11" fmla="*/ 976422 h 1659202"/>
                <a:gd name="connsiteX0" fmla="*/ 5867400 w 5867400"/>
                <a:gd name="connsiteY0" fmla="*/ 1530604 h 1665349"/>
                <a:gd name="connsiteX1" fmla="*/ 3131127 w 5867400"/>
                <a:gd name="connsiteY1" fmla="*/ 1620659 h 1665349"/>
                <a:gd name="connsiteX2" fmla="*/ 2957946 w 5867400"/>
                <a:gd name="connsiteY2" fmla="*/ 1627586 h 1665349"/>
                <a:gd name="connsiteX3" fmla="*/ 3089564 w 5867400"/>
                <a:gd name="connsiteY3" fmla="*/ 1218877 h 1665349"/>
                <a:gd name="connsiteX4" fmla="*/ 3435927 w 5867400"/>
                <a:gd name="connsiteY4" fmla="*/ 159004 h 1665349"/>
                <a:gd name="connsiteX5" fmla="*/ 3470563 w 5867400"/>
                <a:gd name="connsiteY5" fmla="*/ 27387 h 1665349"/>
                <a:gd name="connsiteX6" fmla="*/ 3290455 w 5867400"/>
                <a:gd name="connsiteY6" fmla="*/ 13530 h 1665349"/>
                <a:gd name="connsiteX7" fmla="*/ 2244437 w 5867400"/>
                <a:gd name="connsiteY7" fmla="*/ 82804 h 1665349"/>
                <a:gd name="connsiteX8" fmla="*/ 1461655 w 5867400"/>
                <a:gd name="connsiteY8" fmla="*/ 235204 h 1665349"/>
                <a:gd name="connsiteX9" fmla="*/ 852054 w 5867400"/>
                <a:gd name="connsiteY9" fmla="*/ 470731 h 1665349"/>
                <a:gd name="connsiteX10" fmla="*/ 228600 w 5867400"/>
                <a:gd name="connsiteY10" fmla="*/ 837877 h 1665349"/>
                <a:gd name="connsiteX11" fmla="*/ 0 w 5867400"/>
                <a:gd name="connsiteY11" fmla="*/ 976422 h 1665349"/>
                <a:gd name="connsiteX0" fmla="*/ 5867400 w 5867400"/>
                <a:gd name="connsiteY0" fmla="*/ 1530604 h 1650866"/>
                <a:gd name="connsiteX1" fmla="*/ 3789218 w 5867400"/>
                <a:gd name="connsiteY1" fmla="*/ 1592950 h 1650866"/>
                <a:gd name="connsiteX2" fmla="*/ 2957946 w 5867400"/>
                <a:gd name="connsiteY2" fmla="*/ 1627586 h 1650866"/>
                <a:gd name="connsiteX3" fmla="*/ 3089564 w 5867400"/>
                <a:gd name="connsiteY3" fmla="*/ 1218877 h 1650866"/>
                <a:gd name="connsiteX4" fmla="*/ 3435927 w 5867400"/>
                <a:gd name="connsiteY4" fmla="*/ 159004 h 1650866"/>
                <a:gd name="connsiteX5" fmla="*/ 3470563 w 5867400"/>
                <a:gd name="connsiteY5" fmla="*/ 27387 h 1650866"/>
                <a:gd name="connsiteX6" fmla="*/ 3290455 w 5867400"/>
                <a:gd name="connsiteY6" fmla="*/ 13530 h 1650866"/>
                <a:gd name="connsiteX7" fmla="*/ 2244437 w 5867400"/>
                <a:gd name="connsiteY7" fmla="*/ 82804 h 1650866"/>
                <a:gd name="connsiteX8" fmla="*/ 1461655 w 5867400"/>
                <a:gd name="connsiteY8" fmla="*/ 235204 h 1650866"/>
                <a:gd name="connsiteX9" fmla="*/ 852054 w 5867400"/>
                <a:gd name="connsiteY9" fmla="*/ 470731 h 1650866"/>
                <a:gd name="connsiteX10" fmla="*/ 228600 w 5867400"/>
                <a:gd name="connsiteY10" fmla="*/ 837877 h 1650866"/>
                <a:gd name="connsiteX11" fmla="*/ 0 w 5867400"/>
                <a:gd name="connsiteY11" fmla="*/ 976422 h 1650866"/>
                <a:gd name="connsiteX0" fmla="*/ 5867400 w 5867400"/>
                <a:gd name="connsiteY0" fmla="*/ 1530604 h 1639086"/>
                <a:gd name="connsiteX1" fmla="*/ 3789218 w 5867400"/>
                <a:gd name="connsiteY1" fmla="*/ 1592950 h 1639086"/>
                <a:gd name="connsiteX2" fmla="*/ 2957946 w 5867400"/>
                <a:gd name="connsiteY2" fmla="*/ 1627586 h 1639086"/>
                <a:gd name="connsiteX3" fmla="*/ 3089564 w 5867400"/>
                <a:gd name="connsiteY3" fmla="*/ 1218877 h 1639086"/>
                <a:gd name="connsiteX4" fmla="*/ 3435927 w 5867400"/>
                <a:gd name="connsiteY4" fmla="*/ 159004 h 1639086"/>
                <a:gd name="connsiteX5" fmla="*/ 3470563 w 5867400"/>
                <a:gd name="connsiteY5" fmla="*/ 27387 h 1639086"/>
                <a:gd name="connsiteX6" fmla="*/ 3290455 w 5867400"/>
                <a:gd name="connsiteY6" fmla="*/ 13530 h 1639086"/>
                <a:gd name="connsiteX7" fmla="*/ 2244437 w 5867400"/>
                <a:gd name="connsiteY7" fmla="*/ 82804 h 1639086"/>
                <a:gd name="connsiteX8" fmla="*/ 1461655 w 5867400"/>
                <a:gd name="connsiteY8" fmla="*/ 235204 h 1639086"/>
                <a:gd name="connsiteX9" fmla="*/ 852054 w 5867400"/>
                <a:gd name="connsiteY9" fmla="*/ 470731 h 1639086"/>
                <a:gd name="connsiteX10" fmla="*/ 228600 w 5867400"/>
                <a:gd name="connsiteY10" fmla="*/ 837877 h 1639086"/>
                <a:gd name="connsiteX11" fmla="*/ 0 w 5867400"/>
                <a:gd name="connsiteY11" fmla="*/ 976422 h 1639086"/>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28600 w 5867400"/>
                <a:gd name="connsiteY10" fmla="*/ 837877 h 1627185"/>
                <a:gd name="connsiteX11" fmla="*/ 0 w 5867400"/>
                <a:gd name="connsiteY11" fmla="*/ 976422 h 1627185"/>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37066 w 5867400"/>
                <a:gd name="connsiteY10" fmla="*/ 812477 h 1627185"/>
                <a:gd name="connsiteX11" fmla="*/ 0 w 5867400"/>
                <a:gd name="connsiteY11" fmla="*/ 976422 h 1627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7400" h="1627185">
                  <a:moveTo>
                    <a:pt x="5867400" y="1530604"/>
                  </a:moveTo>
                  <a:lnTo>
                    <a:pt x="3789218" y="1592950"/>
                  </a:lnTo>
                  <a:cubicBezTo>
                    <a:pt x="3304309" y="1606805"/>
                    <a:pt x="2936010" y="1648368"/>
                    <a:pt x="2957946" y="1613732"/>
                  </a:cubicBezTo>
                  <a:cubicBezTo>
                    <a:pt x="2979882" y="1579096"/>
                    <a:pt x="3009901" y="1461332"/>
                    <a:pt x="3089564" y="1218877"/>
                  </a:cubicBezTo>
                  <a:cubicBezTo>
                    <a:pt x="3169227" y="976422"/>
                    <a:pt x="3372427" y="357586"/>
                    <a:pt x="3435927" y="159004"/>
                  </a:cubicBezTo>
                  <a:cubicBezTo>
                    <a:pt x="3499427" y="-39578"/>
                    <a:pt x="3453244" y="72415"/>
                    <a:pt x="3470563" y="27387"/>
                  </a:cubicBezTo>
                  <a:cubicBezTo>
                    <a:pt x="3487882" y="-17641"/>
                    <a:pt x="3494809" y="4294"/>
                    <a:pt x="3290455" y="13530"/>
                  </a:cubicBezTo>
                  <a:cubicBezTo>
                    <a:pt x="3086101" y="22766"/>
                    <a:pt x="2549237" y="45858"/>
                    <a:pt x="2244437" y="82804"/>
                  </a:cubicBezTo>
                  <a:cubicBezTo>
                    <a:pt x="1939637" y="119750"/>
                    <a:pt x="1693719" y="170550"/>
                    <a:pt x="1461655" y="235204"/>
                  </a:cubicBezTo>
                  <a:cubicBezTo>
                    <a:pt x="1229591" y="299858"/>
                    <a:pt x="1056152" y="374519"/>
                    <a:pt x="852054" y="470731"/>
                  </a:cubicBezTo>
                  <a:cubicBezTo>
                    <a:pt x="647956" y="566943"/>
                    <a:pt x="379075" y="728195"/>
                    <a:pt x="237066" y="812477"/>
                  </a:cubicBezTo>
                  <a:cubicBezTo>
                    <a:pt x="95057" y="896759"/>
                    <a:pt x="40409" y="949290"/>
                    <a:pt x="0" y="976422"/>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p:cNvSpPr/>
            <p:nvPr/>
          </p:nvSpPr>
          <p:spPr bwMode="auto">
            <a:xfrm>
              <a:off x="4859353" y="2041687"/>
              <a:ext cx="411463" cy="306259"/>
            </a:xfrm>
            <a:custGeom>
              <a:avLst/>
              <a:gdLst>
                <a:gd name="connsiteX0" fmla="*/ 0 w 1219200"/>
                <a:gd name="connsiteY0" fmla="*/ 907473 h 907473"/>
                <a:gd name="connsiteX1" fmla="*/ 1219200 w 1219200"/>
                <a:gd name="connsiteY1" fmla="*/ 0 h 907473"/>
                <a:gd name="connsiteX2" fmla="*/ 1184564 w 1219200"/>
                <a:gd name="connsiteY2" fmla="*/ 221673 h 907473"/>
              </a:gdLst>
              <a:ahLst/>
              <a:cxnLst>
                <a:cxn ang="0">
                  <a:pos x="connsiteX0" y="connsiteY0"/>
                </a:cxn>
                <a:cxn ang="0">
                  <a:pos x="connsiteX1" y="connsiteY1"/>
                </a:cxn>
                <a:cxn ang="0">
                  <a:pos x="connsiteX2" y="connsiteY2"/>
                </a:cxn>
              </a:cxnLst>
              <a:rect l="l" t="t" r="r" b="b"/>
              <a:pathLst>
                <a:path w="1219200" h="907473">
                  <a:moveTo>
                    <a:pt x="0" y="907473"/>
                  </a:moveTo>
                  <a:lnTo>
                    <a:pt x="1219200" y="0"/>
                  </a:lnTo>
                  <a:lnTo>
                    <a:pt x="1184564" y="221673"/>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p:cNvSpPr/>
            <p:nvPr/>
          </p:nvSpPr>
          <p:spPr bwMode="auto">
            <a:xfrm>
              <a:off x="4681676" y="1629530"/>
              <a:ext cx="3836423" cy="725430"/>
            </a:xfrm>
            <a:custGeom>
              <a:avLst/>
              <a:gdLst>
                <a:gd name="connsiteX0" fmla="*/ 0 w 11367655"/>
                <a:gd name="connsiteY0" fmla="*/ 2149512 h 2149512"/>
                <a:gd name="connsiteX1" fmla="*/ 623455 w 11367655"/>
                <a:gd name="connsiteY1" fmla="*/ 1699240 h 2149512"/>
                <a:gd name="connsiteX2" fmla="*/ 1537855 w 11367655"/>
                <a:gd name="connsiteY2" fmla="*/ 1082712 h 2149512"/>
                <a:gd name="connsiteX3" fmla="*/ 2348346 w 11367655"/>
                <a:gd name="connsiteY3" fmla="*/ 563167 h 2149512"/>
                <a:gd name="connsiteX4" fmla="*/ 2479964 w 11367655"/>
                <a:gd name="connsiteY4" fmla="*/ 486967 h 2149512"/>
                <a:gd name="connsiteX5" fmla="*/ 2528455 w 11367655"/>
                <a:gd name="connsiteY5" fmla="*/ 431549 h 2149512"/>
                <a:gd name="connsiteX6" fmla="*/ 2750128 w 11367655"/>
                <a:gd name="connsiteY6" fmla="*/ 355349 h 2149512"/>
                <a:gd name="connsiteX7" fmla="*/ 3449782 w 11367655"/>
                <a:gd name="connsiteY7" fmla="*/ 189094 h 2149512"/>
                <a:gd name="connsiteX8" fmla="*/ 4301837 w 11367655"/>
                <a:gd name="connsiteY8" fmla="*/ 78258 h 2149512"/>
                <a:gd name="connsiteX9" fmla="*/ 5368637 w 11367655"/>
                <a:gd name="connsiteY9" fmla="*/ 15912 h 2149512"/>
                <a:gd name="connsiteX10" fmla="*/ 6497782 w 11367655"/>
                <a:gd name="connsiteY10" fmla="*/ 2058 h 2149512"/>
                <a:gd name="connsiteX11" fmla="*/ 7904018 w 11367655"/>
                <a:gd name="connsiteY11" fmla="*/ 50549 h 2149512"/>
                <a:gd name="connsiteX12" fmla="*/ 9033164 w 11367655"/>
                <a:gd name="connsiteY12" fmla="*/ 119822 h 2149512"/>
                <a:gd name="connsiteX13" fmla="*/ 10280073 w 11367655"/>
                <a:gd name="connsiteY13" fmla="*/ 279149 h 2149512"/>
                <a:gd name="connsiteX14" fmla="*/ 11069782 w 11367655"/>
                <a:gd name="connsiteY14" fmla="*/ 438476 h 2149512"/>
                <a:gd name="connsiteX15" fmla="*/ 11367655 w 11367655"/>
                <a:gd name="connsiteY15" fmla="*/ 514676 h 214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67655" h="2149512">
                  <a:moveTo>
                    <a:pt x="0" y="2149512"/>
                  </a:moveTo>
                  <a:cubicBezTo>
                    <a:pt x="183573" y="2013276"/>
                    <a:pt x="367146" y="1877040"/>
                    <a:pt x="623455" y="1699240"/>
                  </a:cubicBezTo>
                  <a:cubicBezTo>
                    <a:pt x="879764" y="1521440"/>
                    <a:pt x="1250373" y="1272057"/>
                    <a:pt x="1537855" y="1082712"/>
                  </a:cubicBezTo>
                  <a:cubicBezTo>
                    <a:pt x="1825337" y="893366"/>
                    <a:pt x="2191328" y="662458"/>
                    <a:pt x="2348346" y="563167"/>
                  </a:cubicBezTo>
                  <a:cubicBezTo>
                    <a:pt x="2505364" y="463876"/>
                    <a:pt x="2449946" y="508903"/>
                    <a:pt x="2479964" y="486967"/>
                  </a:cubicBezTo>
                  <a:cubicBezTo>
                    <a:pt x="2509982" y="465031"/>
                    <a:pt x="2483428" y="453485"/>
                    <a:pt x="2528455" y="431549"/>
                  </a:cubicBezTo>
                  <a:cubicBezTo>
                    <a:pt x="2573482" y="409613"/>
                    <a:pt x="2596573" y="395758"/>
                    <a:pt x="2750128" y="355349"/>
                  </a:cubicBezTo>
                  <a:cubicBezTo>
                    <a:pt x="2903683" y="314940"/>
                    <a:pt x="3191164" y="235276"/>
                    <a:pt x="3449782" y="189094"/>
                  </a:cubicBezTo>
                  <a:cubicBezTo>
                    <a:pt x="3708400" y="142912"/>
                    <a:pt x="3982028" y="107122"/>
                    <a:pt x="4301837" y="78258"/>
                  </a:cubicBezTo>
                  <a:cubicBezTo>
                    <a:pt x="4621646" y="49394"/>
                    <a:pt x="5002646" y="28612"/>
                    <a:pt x="5368637" y="15912"/>
                  </a:cubicBezTo>
                  <a:cubicBezTo>
                    <a:pt x="5734628" y="3212"/>
                    <a:pt x="6075219" y="-3715"/>
                    <a:pt x="6497782" y="2058"/>
                  </a:cubicBezTo>
                  <a:cubicBezTo>
                    <a:pt x="6920345" y="7831"/>
                    <a:pt x="7481454" y="30922"/>
                    <a:pt x="7904018" y="50549"/>
                  </a:cubicBezTo>
                  <a:cubicBezTo>
                    <a:pt x="8326582" y="70176"/>
                    <a:pt x="8637155" y="81722"/>
                    <a:pt x="9033164" y="119822"/>
                  </a:cubicBezTo>
                  <a:cubicBezTo>
                    <a:pt x="9429173" y="157922"/>
                    <a:pt x="9940637" y="226040"/>
                    <a:pt x="10280073" y="279149"/>
                  </a:cubicBezTo>
                  <a:cubicBezTo>
                    <a:pt x="10619509" y="332258"/>
                    <a:pt x="10888519" y="399222"/>
                    <a:pt x="11069782" y="438476"/>
                  </a:cubicBezTo>
                  <a:cubicBezTo>
                    <a:pt x="11251045" y="477730"/>
                    <a:pt x="11309350" y="496203"/>
                    <a:pt x="11367655" y="514676"/>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p:cNvSpPr/>
            <p:nvPr/>
          </p:nvSpPr>
          <p:spPr bwMode="auto">
            <a:xfrm>
              <a:off x="4619985" y="1684215"/>
              <a:ext cx="3433549" cy="1704077"/>
            </a:xfrm>
            <a:custGeom>
              <a:avLst/>
              <a:gdLst>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61729 w 10197719"/>
                <a:gd name="connsiteY24" fmla="*/ 275571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67369 w 10197719"/>
                <a:gd name="connsiteY25" fmla="*/ 3525330 h 5049330"/>
                <a:gd name="connsiteX26" fmla="*/ 7826349 w 10197719"/>
                <a:gd name="connsiteY26" fmla="*/ 4317810 h 5049330"/>
                <a:gd name="connsiteX27" fmla="*/ 7498689 w 10197719"/>
                <a:gd name="connsiteY27" fmla="*/ 4790250 h 5049330"/>
                <a:gd name="connsiteX0" fmla="*/ 160629 w 10198278"/>
                <a:gd name="connsiteY0" fmla="*/ 5049330 h 5049330"/>
                <a:gd name="connsiteX1" fmla="*/ 69189 w 10198278"/>
                <a:gd name="connsiteY1" fmla="*/ 4775010 h 5049330"/>
                <a:gd name="connsiteX2" fmla="*/ 8229 w 10198278"/>
                <a:gd name="connsiteY2" fmla="*/ 3883470 h 5049330"/>
                <a:gd name="connsiteX3" fmla="*/ 609 w 10198278"/>
                <a:gd name="connsiteY3" fmla="*/ 2831910 h 5049330"/>
                <a:gd name="connsiteX4" fmla="*/ 8229 w 10198278"/>
                <a:gd name="connsiteY4" fmla="*/ 2466150 h 5049330"/>
                <a:gd name="connsiteX5" fmla="*/ 38709 w 10198278"/>
                <a:gd name="connsiteY5" fmla="*/ 2306130 h 5049330"/>
                <a:gd name="connsiteX6" fmla="*/ 343509 w 10198278"/>
                <a:gd name="connsiteY6" fmla="*/ 2108010 h 5049330"/>
                <a:gd name="connsiteX7" fmla="*/ 526389 w 10198278"/>
                <a:gd name="connsiteY7" fmla="*/ 1963230 h 5049330"/>
                <a:gd name="connsiteX8" fmla="*/ 762609 w 10198278"/>
                <a:gd name="connsiteY8" fmla="*/ 1787970 h 5049330"/>
                <a:gd name="connsiteX9" fmla="*/ 1494129 w 10198278"/>
                <a:gd name="connsiteY9" fmla="*/ 1231710 h 5049330"/>
                <a:gd name="connsiteX10" fmla="*/ 2263749 w 10198278"/>
                <a:gd name="connsiteY10" fmla="*/ 736410 h 5049330"/>
                <a:gd name="connsiteX11" fmla="*/ 2896209 w 10198278"/>
                <a:gd name="connsiteY11" fmla="*/ 393510 h 5049330"/>
                <a:gd name="connsiteX12" fmla="*/ 3810609 w 10198278"/>
                <a:gd name="connsiteY12" fmla="*/ 149670 h 5049330"/>
                <a:gd name="connsiteX13" fmla="*/ 5288889 w 10198278"/>
                <a:gd name="connsiteY13" fmla="*/ 20130 h 5049330"/>
                <a:gd name="connsiteX14" fmla="*/ 6203289 w 10198278"/>
                <a:gd name="connsiteY14" fmla="*/ 4890 h 5049330"/>
                <a:gd name="connsiteX15" fmla="*/ 7399629 w 10198278"/>
                <a:gd name="connsiteY15" fmla="*/ 65850 h 5049330"/>
                <a:gd name="connsiteX16" fmla="*/ 8474049 w 10198278"/>
                <a:gd name="connsiteY16" fmla="*/ 157290 h 5049330"/>
                <a:gd name="connsiteX17" fmla="*/ 9159849 w 10198278"/>
                <a:gd name="connsiteY17" fmla="*/ 302070 h 5049330"/>
                <a:gd name="connsiteX18" fmla="*/ 9723729 w 10198278"/>
                <a:gd name="connsiteY18" fmla="*/ 454470 h 5049330"/>
                <a:gd name="connsiteX19" fmla="*/ 10074249 w 10198278"/>
                <a:gd name="connsiteY19" fmla="*/ 652590 h 5049330"/>
                <a:gd name="connsiteX20" fmla="*/ 10173309 w 10198278"/>
                <a:gd name="connsiteY20" fmla="*/ 896430 h 5049330"/>
                <a:gd name="connsiteX21" fmla="*/ 10180929 w 10198278"/>
                <a:gd name="connsiteY21" fmla="*/ 1071690 h 5049330"/>
                <a:gd name="connsiteX22" fmla="*/ 9967569 w 10198278"/>
                <a:gd name="connsiteY22" fmla="*/ 1475550 h 5049330"/>
                <a:gd name="connsiteX23" fmla="*/ 9472269 w 10198278"/>
                <a:gd name="connsiteY23" fmla="*/ 2077530 h 5049330"/>
                <a:gd name="connsiteX24" fmla="*/ 8954109 w 10198278"/>
                <a:gd name="connsiteY24" fmla="*/ 2740470 h 5049330"/>
                <a:gd name="connsiteX25" fmla="*/ 8367369 w 10198278"/>
                <a:gd name="connsiteY25" fmla="*/ 3525330 h 5049330"/>
                <a:gd name="connsiteX26" fmla="*/ 7826349 w 10198278"/>
                <a:gd name="connsiteY26" fmla="*/ 4317810 h 5049330"/>
                <a:gd name="connsiteX27" fmla="*/ 7498689 w 10198278"/>
                <a:gd name="connsiteY27" fmla="*/ 4790250 h 5049330"/>
                <a:gd name="connsiteX0" fmla="*/ 160629 w 10198948"/>
                <a:gd name="connsiteY0" fmla="*/ 5049330 h 5049330"/>
                <a:gd name="connsiteX1" fmla="*/ 69189 w 10198948"/>
                <a:gd name="connsiteY1" fmla="*/ 4775010 h 5049330"/>
                <a:gd name="connsiteX2" fmla="*/ 8229 w 10198948"/>
                <a:gd name="connsiteY2" fmla="*/ 3883470 h 5049330"/>
                <a:gd name="connsiteX3" fmla="*/ 609 w 10198948"/>
                <a:gd name="connsiteY3" fmla="*/ 2831910 h 5049330"/>
                <a:gd name="connsiteX4" fmla="*/ 8229 w 10198948"/>
                <a:gd name="connsiteY4" fmla="*/ 2466150 h 5049330"/>
                <a:gd name="connsiteX5" fmla="*/ 38709 w 10198948"/>
                <a:gd name="connsiteY5" fmla="*/ 2306130 h 5049330"/>
                <a:gd name="connsiteX6" fmla="*/ 343509 w 10198948"/>
                <a:gd name="connsiteY6" fmla="*/ 2108010 h 5049330"/>
                <a:gd name="connsiteX7" fmla="*/ 526389 w 10198948"/>
                <a:gd name="connsiteY7" fmla="*/ 1963230 h 5049330"/>
                <a:gd name="connsiteX8" fmla="*/ 762609 w 10198948"/>
                <a:gd name="connsiteY8" fmla="*/ 1787970 h 5049330"/>
                <a:gd name="connsiteX9" fmla="*/ 1494129 w 10198948"/>
                <a:gd name="connsiteY9" fmla="*/ 1231710 h 5049330"/>
                <a:gd name="connsiteX10" fmla="*/ 2263749 w 10198948"/>
                <a:gd name="connsiteY10" fmla="*/ 736410 h 5049330"/>
                <a:gd name="connsiteX11" fmla="*/ 2896209 w 10198948"/>
                <a:gd name="connsiteY11" fmla="*/ 393510 h 5049330"/>
                <a:gd name="connsiteX12" fmla="*/ 3810609 w 10198948"/>
                <a:gd name="connsiteY12" fmla="*/ 149670 h 5049330"/>
                <a:gd name="connsiteX13" fmla="*/ 5288889 w 10198948"/>
                <a:gd name="connsiteY13" fmla="*/ 20130 h 5049330"/>
                <a:gd name="connsiteX14" fmla="*/ 6203289 w 10198948"/>
                <a:gd name="connsiteY14" fmla="*/ 4890 h 5049330"/>
                <a:gd name="connsiteX15" fmla="*/ 7399629 w 10198948"/>
                <a:gd name="connsiteY15" fmla="*/ 65850 h 5049330"/>
                <a:gd name="connsiteX16" fmla="*/ 8474049 w 10198948"/>
                <a:gd name="connsiteY16" fmla="*/ 157290 h 5049330"/>
                <a:gd name="connsiteX17" fmla="*/ 9159849 w 10198948"/>
                <a:gd name="connsiteY17" fmla="*/ 302070 h 5049330"/>
                <a:gd name="connsiteX18" fmla="*/ 9723729 w 10198948"/>
                <a:gd name="connsiteY18" fmla="*/ 454470 h 5049330"/>
                <a:gd name="connsiteX19" fmla="*/ 10059009 w 10198948"/>
                <a:gd name="connsiteY19" fmla="*/ 660210 h 5049330"/>
                <a:gd name="connsiteX20" fmla="*/ 10173309 w 10198948"/>
                <a:gd name="connsiteY20" fmla="*/ 896430 h 5049330"/>
                <a:gd name="connsiteX21" fmla="*/ 10180929 w 10198948"/>
                <a:gd name="connsiteY21" fmla="*/ 1071690 h 5049330"/>
                <a:gd name="connsiteX22" fmla="*/ 9967569 w 10198948"/>
                <a:gd name="connsiteY22" fmla="*/ 1475550 h 5049330"/>
                <a:gd name="connsiteX23" fmla="*/ 9472269 w 10198948"/>
                <a:gd name="connsiteY23" fmla="*/ 2077530 h 5049330"/>
                <a:gd name="connsiteX24" fmla="*/ 8954109 w 10198948"/>
                <a:gd name="connsiteY24" fmla="*/ 2740470 h 5049330"/>
                <a:gd name="connsiteX25" fmla="*/ 8367369 w 10198948"/>
                <a:gd name="connsiteY25" fmla="*/ 3525330 h 5049330"/>
                <a:gd name="connsiteX26" fmla="*/ 7826349 w 10198948"/>
                <a:gd name="connsiteY26" fmla="*/ 4317810 h 5049330"/>
                <a:gd name="connsiteX27" fmla="*/ 7498689 w 10198948"/>
                <a:gd name="connsiteY27" fmla="*/ 4790250 h 5049330"/>
                <a:gd name="connsiteX0" fmla="*/ 160629 w 10189028"/>
                <a:gd name="connsiteY0" fmla="*/ 5049330 h 5049330"/>
                <a:gd name="connsiteX1" fmla="*/ 69189 w 10189028"/>
                <a:gd name="connsiteY1" fmla="*/ 4775010 h 5049330"/>
                <a:gd name="connsiteX2" fmla="*/ 8229 w 10189028"/>
                <a:gd name="connsiteY2" fmla="*/ 3883470 h 5049330"/>
                <a:gd name="connsiteX3" fmla="*/ 609 w 10189028"/>
                <a:gd name="connsiteY3" fmla="*/ 2831910 h 5049330"/>
                <a:gd name="connsiteX4" fmla="*/ 8229 w 10189028"/>
                <a:gd name="connsiteY4" fmla="*/ 2466150 h 5049330"/>
                <a:gd name="connsiteX5" fmla="*/ 38709 w 10189028"/>
                <a:gd name="connsiteY5" fmla="*/ 2306130 h 5049330"/>
                <a:gd name="connsiteX6" fmla="*/ 343509 w 10189028"/>
                <a:gd name="connsiteY6" fmla="*/ 2108010 h 5049330"/>
                <a:gd name="connsiteX7" fmla="*/ 526389 w 10189028"/>
                <a:gd name="connsiteY7" fmla="*/ 1963230 h 5049330"/>
                <a:gd name="connsiteX8" fmla="*/ 762609 w 10189028"/>
                <a:gd name="connsiteY8" fmla="*/ 1787970 h 5049330"/>
                <a:gd name="connsiteX9" fmla="*/ 1494129 w 10189028"/>
                <a:gd name="connsiteY9" fmla="*/ 1231710 h 5049330"/>
                <a:gd name="connsiteX10" fmla="*/ 2263749 w 10189028"/>
                <a:gd name="connsiteY10" fmla="*/ 736410 h 5049330"/>
                <a:gd name="connsiteX11" fmla="*/ 2896209 w 10189028"/>
                <a:gd name="connsiteY11" fmla="*/ 393510 h 5049330"/>
                <a:gd name="connsiteX12" fmla="*/ 3810609 w 10189028"/>
                <a:gd name="connsiteY12" fmla="*/ 149670 h 5049330"/>
                <a:gd name="connsiteX13" fmla="*/ 5288889 w 10189028"/>
                <a:gd name="connsiteY13" fmla="*/ 20130 h 5049330"/>
                <a:gd name="connsiteX14" fmla="*/ 6203289 w 10189028"/>
                <a:gd name="connsiteY14" fmla="*/ 4890 h 5049330"/>
                <a:gd name="connsiteX15" fmla="*/ 7399629 w 10189028"/>
                <a:gd name="connsiteY15" fmla="*/ 65850 h 5049330"/>
                <a:gd name="connsiteX16" fmla="*/ 8474049 w 10189028"/>
                <a:gd name="connsiteY16" fmla="*/ 157290 h 5049330"/>
                <a:gd name="connsiteX17" fmla="*/ 9159849 w 10189028"/>
                <a:gd name="connsiteY17" fmla="*/ 302070 h 5049330"/>
                <a:gd name="connsiteX18" fmla="*/ 9723729 w 10189028"/>
                <a:gd name="connsiteY18" fmla="*/ 454470 h 5049330"/>
                <a:gd name="connsiteX19" fmla="*/ 10059009 w 10189028"/>
                <a:gd name="connsiteY19" fmla="*/ 660210 h 5049330"/>
                <a:gd name="connsiteX20" fmla="*/ 10173309 w 10189028"/>
                <a:gd name="connsiteY20" fmla="*/ 896430 h 5049330"/>
                <a:gd name="connsiteX21" fmla="*/ 10165689 w 10189028"/>
                <a:gd name="connsiteY21" fmla="*/ 1071690 h 5049330"/>
                <a:gd name="connsiteX22" fmla="*/ 9967569 w 10189028"/>
                <a:gd name="connsiteY22" fmla="*/ 1475550 h 5049330"/>
                <a:gd name="connsiteX23" fmla="*/ 9472269 w 10189028"/>
                <a:gd name="connsiteY23" fmla="*/ 2077530 h 5049330"/>
                <a:gd name="connsiteX24" fmla="*/ 8954109 w 10189028"/>
                <a:gd name="connsiteY24" fmla="*/ 2740470 h 5049330"/>
                <a:gd name="connsiteX25" fmla="*/ 8367369 w 10189028"/>
                <a:gd name="connsiteY25" fmla="*/ 3525330 h 5049330"/>
                <a:gd name="connsiteX26" fmla="*/ 7826349 w 10189028"/>
                <a:gd name="connsiteY26" fmla="*/ 4317810 h 5049330"/>
                <a:gd name="connsiteX27" fmla="*/ 7498689 w 10189028"/>
                <a:gd name="connsiteY27" fmla="*/ 4790250 h 5049330"/>
                <a:gd name="connsiteX0" fmla="*/ 160629 w 10168501"/>
                <a:gd name="connsiteY0" fmla="*/ 5049330 h 5049330"/>
                <a:gd name="connsiteX1" fmla="*/ 69189 w 10168501"/>
                <a:gd name="connsiteY1" fmla="*/ 4775010 h 5049330"/>
                <a:gd name="connsiteX2" fmla="*/ 8229 w 10168501"/>
                <a:gd name="connsiteY2" fmla="*/ 3883470 h 5049330"/>
                <a:gd name="connsiteX3" fmla="*/ 609 w 10168501"/>
                <a:gd name="connsiteY3" fmla="*/ 2831910 h 5049330"/>
                <a:gd name="connsiteX4" fmla="*/ 8229 w 10168501"/>
                <a:gd name="connsiteY4" fmla="*/ 2466150 h 5049330"/>
                <a:gd name="connsiteX5" fmla="*/ 38709 w 10168501"/>
                <a:gd name="connsiteY5" fmla="*/ 2306130 h 5049330"/>
                <a:gd name="connsiteX6" fmla="*/ 343509 w 10168501"/>
                <a:gd name="connsiteY6" fmla="*/ 2108010 h 5049330"/>
                <a:gd name="connsiteX7" fmla="*/ 526389 w 10168501"/>
                <a:gd name="connsiteY7" fmla="*/ 1963230 h 5049330"/>
                <a:gd name="connsiteX8" fmla="*/ 762609 w 10168501"/>
                <a:gd name="connsiteY8" fmla="*/ 1787970 h 5049330"/>
                <a:gd name="connsiteX9" fmla="*/ 1494129 w 10168501"/>
                <a:gd name="connsiteY9" fmla="*/ 1231710 h 5049330"/>
                <a:gd name="connsiteX10" fmla="*/ 2263749 w 10168501"/>
                <a:gd name="connsiteY10" fmla="*/ 736410 h 5049330"/>
                <a:gd name="connsiteX11" fmla="*/ 2896209 w 10168501"/>
                <a:gd name="connsiteY11" fmla="*/ 393510 h 5049330"/>
                <a:gd name="connsiteX12" fmla="*/ 3810609 w 10168501"/>
                <a:gd name="connsiteY12" fmla="*/ 149670 h 5049330"/>
                <a:gd name="connsiteX13" fmla="*/ 5288889 w 10168501"/>
                <a:gd name="connsiteY13" fmla="*/ 20130 h 5049330"/>
                <a:gd name="connsiteX14" fmla="*/ 6203289 w 10168501"/>
                <a:gd name="connsiteY14" fmla="*/ 4890 h 5049330"/>
                <a:gd name="connsiteX15" fmla="*/ 7399629 w 10168501"/>
                <a:gd name="connsiteY15" fmla="*/ 65850 h 5049330"/>
                <a:gd name="connsiteX16" fmla="*/ 8474049 w 10168501"/>
                <a:gd name="connsiteY16" fmla="*/ 157290 h 5049330"/>
                <a:gd name="connsiteX17" fmla="*/ 9159849 w 10168501"/>
                <a:gd name="connsiteY17" fmla="*/ 302070 h 5049330"/>
                <a:gd name="connsiteX18" fmla="*/ 9723729 w 10168501"/>
                <a:gd name="connsiteY18" fmla="*/ 454470 h 5049330"/>
                <a:gd name="connsiteX19" fmla="*/ 10059009 w 10168501"/>
                <a:gd name="connsiteY19" fmla="*/ 660210 h 5049330"/>
                <a:gd name="connsiteX20" fmla="*/ 10165689 w 10168501"/>
                <a:gd name="connsiteY20" fmla="*/ 1071690 h 5049330"/>
                <a:gd name="connsiteX21" fmla="*/ 9967569 w 10168501"/>
                <a:gd name="connsiteY21" fmla="*/ 1475550 h 5049330"/>
                <a:gd name="connsiteX22" fmla="*/ 9472269 w 10168501"/>
                <a:gd name="connsiteY22" fmla="*/ 2077530 h 5049330"/>
                <a:gd name="connsiteX23" fmla="*/ 8954109 w 10168501"/>
                <a:gd name="connsiteY23" fmla="*/ 2740470 h 5049330"/>
                <a:gd name="connsiteX24" fmla="*/ 8367369 w 10168501"/>
                <a:gd name="connsiteY24" fmla="*/ 3525330 h 5049330"/>
                <a:gd name="connsiteX25" fmla="*/ 7826349 w 10168501"/>
                <a:gd name="connsiteY25" fmla="*/ 4317810 h 5049330"/>
                <a:gd name="connsiteX26" fmla="*/ 7498689 w 10168501"/>
                <a:gd name="connsiteY26" fmla="*/ 4790250 h 5049330"/>
                <a:gd name="connsiteX0" fmla="*/ 160629 w 10181816"/>
                <a:gd name="connsiteY0" fmla="*/ 5049330 h 5049330"/>
                <a:gd name="connsiteX1" fmla="*/ 69189 w 10181816"/>
                <a:gd name="connsiteY1" fmla="*/ 4775010 h 5049330"/>
                <a:gd name="connsiteX2" fmla="*/ 8229 w 10181816"/>
                <a:gd name="connsiteY2" fmla="*/ 3883470 h 5049330"/>
                <a:gd name="connsiteX3" fmla="*/ 609 w 10181816"/>
                <a:gd name="connsiteY3" fmla="*/ 2831910 h 5049330"/>
                <a:gd name="connsiteX4" fmla="*/ 8229 w 10181816"/>
                <a:gd name="connsiteY4" fmla="*/ 2466150 h 5049330"/>
                <a:gd name="connsiteX5" fmla="*/ 38709 w 10181816"/>
                <a:gd name="connsiteY5" fmla="*/ 2306130 h 5049330"/>
                <a:gd name="connsiteX6" fmla="*/ 343509 w 10181816"/>
                <a:gd name="connsiteY6" fmla="*/ 2108010 h 5049330"/>
                <a:gd name="connsiteX7" fmla="*/ 526389 w 10181816"/>
                <a:gd name="connsiteY7" fmla="*/ 1963230 h 5049330"/>
                <a:gd name="connsiteX8" fmla="*/ 762609 w 10181816"/>
                <a:gd name="connsiteY8" fmla="*/ 1787970 h 5049330"/>
                <a:gd name="connsiteX9" fmla="*/ 1494129 w 10181816"/>
                <a:gd name="connsiteY9" fmla="*/ 1231710 h 5049330"/>
                <a:gd name="connsiteX10" fmla="*/ 2263749 w 10181816"/>
                <a:gd name="connsiteY10" fmla="*/ 736410 h 5049330"/>
                <a:gd name="connsiteX11" fmla="*/ 2896209 w 10181816"/>
                <a:gd name="connsiteY11" fmla="*/ 393510 h 5049330"/>
                <a:gd name="connsiteX12" fmla="*/ 3810609 w 10181816"/>
                <a:gd name="connsiteY12" fmla="*/ 149670 h 5049330"/>
                <a:gd name="connsiteX13" fmla="*/ 5288889 w 10181816"/>
                <a:gd name="connsiteY13" fmla="*/ 20130 h 5049330"/>
                <a:gd name="connsiteX14" fmla="*/ 6203289 w 10181816"/>
                <a:gd name="connsiteY14" fmla="*/ 4890 h 5049330"/>
                <a:gd name="connsiteX15" fmla="*/ 7399629 w 10181816"/>
                <a:gd name="connsiteY15" fmla="*/ 65850 h 5049330"/>
                <a:gd name="connsiteX16" fmla="*/ 8474049 w 10181816"/>
                <a:gd name="connsiteY16" fmla="*/ 157290 h 5049330"/>
                <a:gd name="connsiteX17" fmla="*/ 9159849 w 10181816"/>
                <a:gd name="connsiteY17" fmla="*/ 302070 h 5049330"/>
                <a:gd name="connsiteX18" fmla="*/ 9723729 w 10181816"/>
                <a:gd name="connsiteY18" fmla="*/ 454470 h 5049330"/>
                <a:gd name="connsiteX19" fmla="*/ 10119969 w 10181816"/>
                <a:gd name="connsiteY19" fmla="*/ 713550 h 5049330"/>
                <a:gd name="connsiteX20" fmla="*/ 10165689 w 10181816"/>
                <a:gd name="connsiteY20" fmla="*/ 1071690 h 5049330"/>
                <a:gd name="connsiteX21" fmla="*/ 9967569 w 10181816"/>
                <a:gd name="connsiteY21" fmla="*/ 1475550 h 5049330"/>
                <a:gd name="connsiteX22" fmla="*/ 9472269 w 10181816"/>
                <a:gd name="connsiteY22" fmla="*/ 2077530 h 5049330"/>
                <a:gd name="connsiteX23" fmla="*/ 8954109 w 10181816"/>
                <a:gd name="connsiteY23" fmla="*/ 2740470 h 5049330"/>
                <a:gd name="connsiteX24" fmla="*/ 8367369 w 10181816"/>
                <a:gd name="connsiteY24" fmla="*/ 3525330 h 5049330"/>
                <a:gd name="connsiteX25" fmla="*/ 7826349 w 10181816"/>
                <a:gd name="connsiteY25" fmla="*/ 4317810 h 5049330"/>
                <a:gd name="connsiteX26" fmla="*/ 7498689 w 10181816"/>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5447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7733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3904"/>
                <a:gd name="connsiteY0" fmla="*/ 5049330 h 5049330"/>
                <a:gd name="connsiteX1" fmla="*/ 69189 w 10173904"/>
                <a:gd name="connsiteY1" fmla="*/ 4775010 h 5049330"/>
                <a:gd name="connsiteX2" fmla="*/ 8229 w 10173904"/>
                <a:gd name="connsiteY2" fmla="*/ 3883470 h 5049330"/>
                <a:gd name="connsiteX3" fmla="*/ 609 w 10173904"/>
                <a:gd name="connsiteY3" fmla="*/ 2831910 h 5049330"/>
                <a:gd name="connsiteX4" fmla="*/ 8229 w 10173904"/>
                <a:gd name="connsiteY4" fmla="*/ 2466150 h 5049330"/>
                <a:gd name="connsiteX5" fmla="*/ 38709 w 10173904"/>
                <a:gd name="connsiteY5" fmla="*/ 2306130 h 5049330"/>
                <a:gd name="connsiteX6" fmla="*/ 343509 w 10173904"/>
                <a:gd name="connsiteY6" fmla="*/ 2108010 h 5049330"/>
                <a:gd name="connsiteX7" fmla="*/ 526389 w 10173904"/>
                <a:gd name="connsiteY7" fmla="*/ 1963230 h 5049330"/>
                <a:gd name="connsiteX8" fmla="*/ 762609 w 10173904"/>
                <a:gd name="connsiteY8" fmla="*/ 1787970 h 5049330"/>
                <a:gd name="connsiteX9" fmla="*/ 1494129 w 10173904"/>
                <a:gd name="connsiteY9" fmla="*/ 1231710 h 5049330"/>
                <a:gd name="connsiteX10" fmla="*/ 2263749 w 10173904"/>
                <a:gd name="connsiteY10" fmla="*/ 736410 h 5049330"/>
                <a:gd name="connsiteX11" fmla="*/ 2896209 w 10173904"/>
                <a:gd name="connsiteY11" fmla="*/ 393510 h 5049330"/>
                <a:gd name="connsiteX12" fmla="*/ 3810609 w 10173904"/>
                <a:gd name="connsiteY12" fmla="*/ 149670 h 5049330"/>
                <a:gd name="connsiteX13" fmla="*/ 5288889 w 10173904"/>
                <a:gd name="connsiteY13" fmla="*/ 20130 h 5049330"/>
                <a:gd name="connsiteX14" fmla="*/ 6203289 w 10173904"/>
                <a:gd name="connsiteY14" fmla="*/ 4890 h 5049330"/>
                <a:gd name="connsiteX15" fmla="*/ 7399629 w 10173904"/>
                <a:gd name="connsiteY15" fmla="*/ 65850 h 5049330"/>
                <a:gd name="connsiteX16" fmla="*/ 8474049 w 10173904"/>
                <a:gd name="connsiteY16" fmla="*/ 157290 h 5049330"/>
                <a:gd name="connsiteX17" fmla="*/ 9159849 w 10173904"/>
                <a:gd name="connsiteY17" fmla="*/ 302070 h 5049330"/>
                <a:gd name="connsiteX18" fmla="*/ 9746589 w 10173904"/>
                <a:gd name="connsiteY18" fmla="*/ 469710 h 5049330"/>
                <a:gd name="connsiteX19" fmla="*/ 10097109 w 10173904"/>
                <a:gd name="connsiteY19" fmla="*/ 721170 h 5049330"/>
                <a:gd name="connsiteX20" fmla="*/ 10165689 w 10173904"/>
                <a:gd name="connsiteY20" fmla="*/ 1071690 h 5049330"/>
                <a:gd name="connsiteX21" fmla="*/ 9967569 w 10173904"/>
                <a:gd name="connsiteY21" fmla="*/ 1475550 h 5049330"/>
                <a:gd name="connsiteX22" fmla="*/ 9472269 w 10173904"/>
                <a:gd name="connsiteY22" fmla="*/ 2077530 h 5049330"/>
                <a:gd name="connsiteX23" fmla="*/ 8954109 w 10173904"/>
                <a:gd name="connsiteY23" fmla="*/ 2740470 h 5049330"/>
                <a:gd name="connsiteX24" fmla="*/ 8367369 w 10173904"/>
                <a:gd name="connsiteY24" fmla="*/ 3525330 h 5049330"/>
                <a:gd name="connsiteX25" fmla="*/ 7826349 w 10173904"/>
                <a:gd name="connsiteY25" fmla="*/ 4317810 h 5049330"/>
                <a:gd name="connsiteX26" fmla="*/ 7498689 w 10173904"/>
                <a:gd name="connsiteY26" fmla="*/ 4790250 h 504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173904" h="5049330">
                  <a:moveTo>
                    <a:pt x="160629" y="5049330"/>
                  </a:moveTo>
                  <a:cubicBezTo>
                    <a:pt x="127609" y="5009325"/>
                    <a:pt x="94589" y="4969320"/>
                    <a:pt x="69189" y="4775010"/>
                  </a:cubicBezTo>
                  <a:cubicBezTo>
                    <a:pt x="43789" y="4580700"/>
                    <a:pt x="19659" y="4207320"/>
                    <a:pt x="8229" y="3883470"/>
                  </a:cubicBezTo>
                  <a:cubicBezTo>
                    <a:pt x="-3201" y="3559620"/>
                    <a:pt x="609" y="3068130"/>
                    <a:pt x="609" y="2831910"/>
                  </a:cubicBezTo>
                  <a:cubicBezTo>
                    <a:pt x="609" y="2595690"/>
                    <a:pt x="1879" y="2553780"/>
                    <a:pt x="8229" y="2466150"/>
                  </a:cubicBezTo>
                  <a:cubicBezTo>
                    <a:pt x="14579" y="2378520"/>
                    <a:pt x="-17171" y="2365820"/>
                    <a:pt x="38709" y="2306130"/>
                  </a:cubicBezTo>
                  <a:cubicBezTo>
                    <a:pt x="94589" y="2246440"/>
                    <a:pt x="262229" y="2165160"/>
                    <a:pt x="343509" y="2108010"/>
                  </a:cubicBezTo>
                  <a:cubicBezTo>
                    <a:pt x="424789" y="2050860"/>
                    <a:pt x="456539" y="2016570"/>
                    <a:pt x="526389" y="1963230"/>
                  </a:cubicBezTo>
                  <a:cubicBezTo>
                    <a:pt x="596239" y="1909890"/>
                    <a:pt x="762609" y="1787970"/>
                    <a:pt x="762609" y="1787970"/>
                  </a:cubicBezTo>
                  <a:cubicBezTo>
                    <a:pt x="923899" y="1666050"/>
                    <a:pt x="1243939" y="1406970"/>
                    <a:pt x="1494129" y="1231710"/>
                  </a:cubicBezTo>
                  <a:cubicBezTo>
                    <a:pt x="1744319" y="1056450"/>
                    <a:pt x="2030069" y="876110"/>
                    <a:pt x="2263749" y="736410"/>
                  </a:cubicBezTo>
                  <a:cubicBezTo>
                    <a:pt x="2497429" y="596710"/>
                    <a:pt x="2638399" y="491300"/>
                    <a:pt x="2896209" y="393510"/>
                  </a:cubicBezTo>
                  <a:cubicBezTo>
                    <a:pt x="3154019" y="295720"/>
                    <a:pt x="3411829" y="211900"/>
                    <a:pt x="3810609" y="149670"/>
                  </a:cubicBezTo>
                  <a:cubicBezTo>
                    <a:pt x="4209389" y="87440"/>
                    <a:pt x="4890109" y="44260"/>
                    <a:pt x="5288889" y="20130"/>
                  </a:cubicBezTo>
                  <a:cubicBezTo>
                    <a:pt x="5687669" y="-4000"/>
                    <a:pt x="5851499" y="-2730"/>
                    <a:pt x="6203289" y="4890"/>
                  </a:cubicBezTo>
                  <a:cubicBezTo>
                    <a:pt x="6555079" y="12510"/>
                    <a:pt x="7021169" y="40450"/>
                    <a:pt x="7399629" y="65850"/>
                  </a:cubicBezTo>
                  <a:cubicBezTo>
                    <a:pt x="7778089" y="91250"/>
                    <a:pt x="8180679" y="117920"/>
                    <a:pt x="8474049" y="157290"/>
                  </a:cubicBezTo>
                  <a:cubicBezTo>
                    <a:pt x="8767419" y="196660"/>
                    <a:pt x="8947759" y="250000"/>
                    <a:pt x="9159849" y="302070"/>
                  </a:cubicBezTo>
                  <a:cubicBezTo>
                    <a:pt x="9371939" y="354140"/>
                    <a:pt x="9590379" y="399860"/>
                    <a:pt x="9746589" y="469710"/>
                  </a:cubicBezTo>
                  <a:cubicBezTo>
                    <a:pt x="9902799" y="539560"/>
                    <a:pt x="10027259" y="620840"/>
                    <a:pt x="10097109" y="721170"/>
                  </a:cubicBezTo>
                  <a:cubicBezTo>
                    <a:pt x="10166959" y="821500"/>
                    <a:pt x="10187279" y="945960"/>
                    <a:pt x="10165689" y="1071690"/>
                  </a:cubicBezTo>
                  <a:cubicBezTo>
                    <a:pt x="10144099" y="1197420"/>
                    <a:pt x="10083139" y="1307910"/>
                    <a:pt x="9967569" y="1475550"/>
                  </a:cubicBezTo>
                  <a:cubicBezTo>
                    <a:pt x="9851999" y="1643190"/>
                    <a:pt x="9641179" y="1866710"/>
                    <a:pt x="9472269" y="2077530"/>
                  </a:cubicBezTo>
                  <a:cubicBezTo>
                    <a:pt x="9303359" y="2288350"/>
                    <a:pt x="9138259" y="2499170"/>
                    <a:pt x="8954109" y="2740470"/>
                  </a:cubicBezTo>
                  <a:cubicBezTo>
                    <a:pt x="8769959" y="2981770"/>
                    <a:pt x="8555329" y="3262440"/>
                    <a:pt x="8367369" y="3525330"/>
                  </a:cubicBezTo>
                  <a:cubicBezTo>
                    <a:pt x="8179409" y="3788220"/>
                    <a:pt x="7971129" y="4106990"/>
                    <a:pt x="7826349" y="4317810"/>
                  </a:cubicBezTo>
                  <a:cubicBezTo>
                    <a:pt x="7681569" y="4528630"/>
                    <a:pt x="7592034" y="4660075"/>
                    <a:pt x="7498689" y="479025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p:cNvSpPr/>
            <p:nvPr/>
          </p:nvSpPr>
          <p:spPr bwMode="auto">
            <a:xfrm>
              <a:off x="7490144" y="2231053"/>
              <a:ext cx="452609" cy="10287"/>
            </a:xfrm>
            <a:custGeom>
              <a:avLst/>
              <a:gdLst>
                <a:gd name="connsiteX0" fmla="*/ 0 w 1341120"/>
                <a:gd name="connsiteY0" fmla="*/ 30480 h 30480"/>
                <a:gd name="connsiteX1" fmla="*/ 1341120 w 1341120"/>
                <a:gd name="connsiteY1" fmla="*/ 0 h 30480"/>
              </a:gdLst>
              <a:ahLst/>
              <a:cxnLst>
                <a:cxn ang="0">
                  <a:pos x="connsiteX0" y="connsiteY0"/>
                </a:cxn>
                <a:cxn ang="0">
                  <a:pos x="connsiteX1" y="connsiteY1"/>
                </a:cxn>
              </a:cxnLst>
              <a:rect l="l" t="t" r="r" b="b"/>
              <a:pathLst>
                <a:path w="1341120" h="30480">
                  <a:moveTo>
                    <a:pt x="0" y="30480"/>
                  </a:moveTo>
                  <a:lnTo>
                    <a:pt x="1341120"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p:cNvSpPr/>
            <p:nvPr/>
          </p:nvSpPr>
          <p:spPr bwMode="auto">
            <a:xfrm>
              <a:off x="6635501" y="1727011"/>
              <a:ext cx="1366740" cy="495470"/>
            </a:xfrm>
            <a:custGeom>
              <a:avLst/>
              <a:gdLst>
                <a:gd name="connsiteX0" fmla="*/ 0 w 4054145"/>
                <a:gd name="connsiteY0" fmla="*/ 0 h 1468120"/>
                <a:gd name="connsiteX1" fmla="*/ 772160 w 4054145"/>
                <a:gd name="connsiteY1" fmla="*/ 30480 h 1468120"/>
                <a:gd name="connsiteX2" fmla="*/ 1945640 w 4054145"/>
                <a:gd name="connsiteY2" fmla="*/ 111760 h 1468120"/>
                <a:gd name="connsiteX3" fmla="*/ 3058160 w 4054145"/>
                <a:gd name="connsiteY3" fmla="*/ 294640 h 1468120"/>
                <a:gd name="connsiteX4" fmla="*/ 3825240 w 4054145"/>
                <a:gd name="connsiteY4" fmla="*/ 533400 h 1468120"/>
                <a:gd name="connsiteX5" fmla="*/ 4043680 w 4054145"/>
                <a:gd name="connsiteY5" fmla="*/ 711200 h 1468120"/>
                <a:gd name="connsiteX6" fmla="*/ 3987800 w 4054145"/>
                <a:gd name="connsiteY6" fmla="*/ 1071880 h 1468120"/>
                <a:gd name="connsiteX7" fmla="*/ 3713480 w 4054145"/>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7431"/>
                <a:gd name="connsiteY0" fmla="*/ 0 h 1468120"/>
                <a:gd name="connsiteX1" fmla="*/ 772160 w 4047431"/>
                <a:gd name="connsiteY1" fmla="*/ 30480 h 1468120"/>
                <a:gd name="connsiteX2" fmla="*/ 1945640 w 4047431"/>
                <a:gd name="connsiteY2" fmla="*/ 111760 h 1468120"/>
                <a:gd name="connsiteX3" fmla="*/ 3058160 w 4047431"/>
                <a:gd name="connsiteY3" fmla="*/ 294640 h 1468120"/>
                <a:gd name="connsiteX4" fmla="*/ 3825240 w 4047431"/>
                <a:gd name="connsiteY4" fmla="*/ 533400 h 1468120"/>
                <a:gd name="connsiteX5" fmla="*/ 4038600 w 4047431"/>
                <a:gd name="connsiteY5" fmla="*/ 751840 h 1468120"/>
                <a:gd name="connsiteX6" fmla="*/ 3977640 w 4047431"/>
                <a:gd name="connsiteY6" fmla="*/ 1066800 h 1468120"/>
                <a:gd name="connsiteX7" fmla="*/ 3713480 w 4047431"/>
                <a:gd name="connsiteY7" fmla="*/ 1468120 h 1468120"/>
                <a:gd name="connsiteX0" fmla="*/ 0 w 4049769"/>
                <a:gd name="connsiteY0" fmla="*/ 0 h 1468120"/>
                <a:gd name="connsiteX1" fmla="*/ 772160 w 4049769"/>
                <a:gd name="connsiteY1" fmla="*/ 30480 h 1468120"/>
                <a:gd name="connsiteX2" fmla="*/ 1945640 w 4049769"/>
                <a:gd name="connsiteY2" fmla="*/ 111760 h 1468120"/>
                <a:gd name="connsiteX3" fmla="*/ 3058160 w 4049769"/>
                <a:gd name="connsiteY3" fmla="*/ 294640 h 1468120"/>
                <a:gd name="connsiteX4" fmla="*/ 3825240 w 4049769"/>
                <a:gd name="connsiteY4" fmla="*/ 533400 h 1468120"/>
                <a:gd name="connsiteX5" fmla="*/ 4038600 w 4049769"/>
                <a:gd name="connsiteY5" fmla="*/ 751840 h 1468120"/>
                <a:gd name="connsiteX6" fmla="*/ 3977640 w 4049769"/>
                <a:gd name="connsiteY6" fmla="*/ 1066800 h 1468120"/>
                <a:gd name="connsiteX7" fmla="*/ 3713480 w 4049769"/>
                <a:gd name="connsiteY7"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9769" h="1468120">
                  <a:moveTo>
                    <a:pt x="0" y="0"/>
                  </a:moveTo>
                  <a:cubicBezTo>
                    <a:pt x="223943" y="5926"/>
                    <a:pt x="447887" y="11853"/>
                    <a:pt x="772160" y="30480"/>
                  </a:cubicBezTo>
                  <a:cubicBezTo>
                    <a:pt x="1096433" y="49107"/>
                    <a:pt x="1564640" y="67733"/>
                    <a:pt x="1945640" y="111760"/>
                  </a:cubicBezTo>
                  <a:cubicBezTo>
                    <a:pt x="2326640" y="155787"/>
                    <a:pt x="2744893" y="224367"/>
                    <a:pt x="3058160" y="294640"/>
                  </a:cubicBezTo>
                  <a:cubicBezTo>
                    <a:pt x="3371427" y="364913"/>
                    <a:pt x="3666913" y="436880"/>
                    <a:pt x="3825240" y="533400"/>
                  </a:cubicBezTo>
                  <a:cubicBezTo>
                    <a:pt x="3983567" y="629920"/>
                    <a:pt x="4013200" y="662940"/>
                    <a:pt x="4038600" y="751840"/>
                  </a:cubicBezTo>
                  <a:cubicBezTo>
                    <a:pt x="4064000" y="840740"/>
                    <a:pt x="4047067" y="952500"/>
                    <a:pt x="3977640" y="1066800"/>
                  </a:cubicBezTo>
                  <a:cubicBezTo>
                    <a:pt x="3908213" y="1181100"/>
                    <a:pt x="3823123" y="1333076"/>
                    <a:pt x="3713480" y="146812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p:cNvSpPr/>
            <p:nvPr/>
          </p:nvSpPr>
          <p:spPr bwMode="auto">
            <a:xfrm>
              <a:off x="6539493" y="1723583"/>
              <a:ext cx="97722" cy="545188"/>
            </a:xfrm>
            <a:custGeom>
              <a:avLst/>
              <a:gdLst>
                <a:gd name="connsiteX0" fmla="*/ 289560 w 289560"/>
                <a:gd name="connsiteY0" fmla="*/ 0 h 1615440"/>
                <a:gd name="connsiteX1" fmla="*/ 0 w 289560"/>
                <a:gd name="connsiteY1" fmla="*/ 1615440 h 1615440"/>
              </a:gdLst>
              <a:ahLst/>
              <a:cxnLst>
                <a:cxn ang="0">
                  <a:pos x="connsiteX0" y="connsiteY0"/>
                </a:cxn>
                <a:cxn ang="0">
                  <a:pos x="connsiteX1" y="connsiteY1"/>
                </a:cxn>
              </a:cxnLst>
              <a:rect l="l" t="t" r="r" b="b"/>
              <a:pathLst>
                <a:path w="289560" h="1615440">
                  <a:moveTo>
                    <a:pt x="289560" y="0"/>
                  </a:moveTo>
                  <a:lnTo>
                    <a:pt x="0" y="161544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p:cNvSpPr/>
            <p:nvPr/>
          </p:nvSpPr>
          <p:spPr bwMode="auto">
            <a:xfrm>
              <a:off x="6254417" y="1688671"/>
              <a:ext cx="295207" cy="1673905"/>
            </a:xfrm>
            <a:custGeom>
              <a:avLst/>
              <a:gdLst>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1995054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73381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723" h="4959927">
                  <a:moveTo>
                    <a:pt x="874723" y="0"/>
                  </a:moveTo>
                  <a:cubicBezTo>
                    <a:pt x="718859" y="615373"/>
                    <a:pt x="562996" y="1228436"/>
                    <a:pt x="486796" y="1524000"/>
                  </a:cubicBezTo>
                  <a:cubicBezTo>
                    <a:pt x="410596" y="1819564"/>
                    <a:pt x="456778" y="1691408"/>
                    <a:pt x="417523" y="1773381"/>
                  </a:cubicBezTo>
                  <a:cubicBezTo>
                    <a:pt x="378268" y="1855354"/>
                    <a:pt x="292833" y="1914236"/>
                    <a:pt x="251269" y="2015836"/>
                  </a:cubicBezTo>
                  <a:cubicBezTo>
                    <a:pt x="209705" y="2117436"/>
                    <a:pt x="200468" y="2102428"/>
                    <a:pt x="168141" y="2382982"/>
                  </a:cubicBezTo>
                  <a:cubicBezTo>
                    <a:pt x="135814" y="2663536"/>
                    <a:pt x="85014" y="3336636"/>
                    <a:pt x="57305" y="3699163"/>
                  </a:cubicBezTo>
                  <a:cubicBezTo>
                    <a:pt x="29596" y="4061690"/>
                    <a:pt x="8814" y="4371109"/>
                    <a:pt x="1887" y="4558145"/>
                  </a:cubicBezTo>
                  <a:cubicBezTo>
                    <a:pt x="-5040" y="4745182"/>
                    <a:pt x="8814" y="4754418"/>
                    <a:pt x="15741" y="4821382"/>
                  </a:cubicBezTo>
                  <a:cubicBezTo>
                    <a:pt x="22668" y="4888346"/>
                    <a:pt x="33059" y="4924136"/>
                    <a:pt x="43450" y="495992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p:cNvSpPr/>
            <p:nvPr/>
          </p:nvSpPr>
          <p:spPr bwMode="auto">
            <a:xfrm>
              <a:off x="8424976" y="1751402"/>
              <a:ext cx="215083" cy="135596"/>
            </a:xfrm>
            <a:custGeom>
              <a:avLst/>
              <a:gdLst>
                <a:gd name="connsiteX0" fmla="*/ 540327 w 637309"/>
                <a:gd name="connsiteY0" fmla="*/ 0 h 401782"/>
                <a:gd name="connsiteX1" fmla="*/ 0 w 637309"/>
                <a:gd name="connsiteY1" fmla="*/ 401782 h 401782"/>
                <a:gd name="connsiteX2" fmla="*/ 637309 w 637309"/>
                <a:gd name="connsiteY2" fmla="*/ 48491 h 401782"/>
              </a:gdLst>
              <a:ahLst/>
              <a:cxnLst>
                <a:cxn ang="0">
                  <a:pos x="connsiteX0" y="connsiteY0"/>
                </a:cxn>
                <a:cxn ang="0">
                  <a:pos x="connsiteX1" y="connsiteY1"/>
                </a:cxn>
                <a:cxn ang="0">
                  <a:pos x="connsiteX2" y="connsiteY2"/>
                </a:cxn>
              </a:cxnLst>
              <a:rect l="l" t="t" r="r" b="b"/>
              <a:pathLst>
                <a:path w="637309" h="401782">
                  <a:moveTo>
                    <a:pt x="540327" y="0"/>
                  </a:moveTo>
                  <a:lnTo>
                    <a:pt x="0" y="401782"/>
                  </a:lnTo>
                  <a:lnTo>
                    <a:pt x="637309" y="48491"/>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p:cNvSpPr/>
            <p:nvPr/>
          </p:nvSpPr>
          <p:spPr bwMode="auto">
            <a:xfrm>
              <a:off x="5430957" y="1754131"/>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p:cNvSpPr/>
            <p:nvPr/>
          </p:nvSpPr>
          <p:spPr bwMode="auto">
            <a:xfrm>
              <a:off x="4459580" y="2308202"/>
              <a:ext cx="266516" cy="23671"/>
            </a:xfrm>
            <a:custGeom>
              <a:avLst/>
              <a:gdLst>
                <a:gd name="connsiteX0" fmla="*/ 0 w 789709"/>
                <a:gd name="connsiteY0" fmla="*/ 0 h 70138"/>
                <a:gd name="connsiteX1" fmla="*/ 263237 w 789709"/>
                <a:gd name="connsiteY1" fmla="*/ 48491 h 70138"/>
                <a:gd name="connsiteX2" fmla="*/ 505691 w 789709"/>
                <a:gd name="connsiteY2" fmla="*/ 69273 h 70138"/>
                <a:gd name="connsiteX3" fmla="*/ 651164 w 789709"/>
                <a:gd name="connsiteY3" fmla="*/ 62345 h 70138"/>
                <a:gd name="connsiteX4" fmla="*/ 789709 w 789709"/>
                <a:gd name="connsiteY4" fmla="*/ 27709 h 7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709" h="70138">
                  <a:moveTo>
                    <a:pt x="0" y="0"/>
                  </a:moveTo>
                  <a:cubicBezTo>
                    <a:pt x="89477" y="18473"/>
                    <a:pt x="178955" y="36946"/>
                    <a:pt x="263237" y="48491"/>
                  </a:cubicBezTo>
                  <a:cubicBezTo>
                    <a:pt x="347519" y="60037"/>
                    <a:pt x="441037" y="66964"/>
                    <a:pt x="505691" y="69273"/>
                  </a:cubicBezTo>
                  <a:cubicBezTo>
                    <a:pt x="570345" y="71582"/>
                    <a:pt x="603828" y="69272"/>
                    <a:pt x="651164" y="62345"/>
                  </a:cubicBezTo>
                  <a:cubicBezTo>
                    <a:pt x="698500" y="55418"/>
                    <a:pt x="744104" y="41563"/>
                    <a:pt x="789709" y="2770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Shape 115"/>
            <p:cNvSpPr/>
            <p:nvPr/>
          </p:nvSpPr>
          <p:spPr bwMode="auto">
            <a:xfrm>
              <a:off x="5842212" y="1565024"/>
              <a:ext cx="824779" cy="100213"/>
            </a:xfrm>
            <a:custGeom>
              <a:avLst/>
              <a:gdLst>
                <a:gd name="connsiteX0" fmla="*/ 80711 w 2509424"/>
                <a:gd name="connsiteY0" fmla="*/ 124691 h 264113"/>
                <a:gd name="connsiteX1" fmla="*/ 4511 w 2509424"/>
                <a:gd name="connsiteY1" fmla="*/ 235527 h 264113"/>
                <a:gd name="connsiteX2" fmla="*/ 198474 w 2509424"/>
                <a:gd name="connsiteY2" fmla="*/ 256309 h 264113"/>
                <a:gd name="connsiteX3" fmla="*/ 1154438 w 2509424"/>
                <a:gd name="connsiteY3" fmla="*/ 124691 h 264113"/>
                <a:gd name="connsiteX4" fmla="*/ 1909511 w 2509424"/>
                <a:gd name="connsiteY4" fmla="*/ 83127 h 264113"/>
                <a:gd name="connsiteX5" fmla="*/ 2456765 w 2509424"/>
                <a:gd name="connsiteY5" fmla="*/ 69272 h 264113"/>
                <a:gd name="connsiteX6" fmla="*/ 2456765 w 2509424"/>
                <a:gd name="connsiteY6" fmla="*/ 0 h 264113"/>
                <a:gd name="connsiteX0" fmla="*/ 81678 w 2510391"/>
                <a:gd name="connsiteY0" fmla="*/ 124691 h 251670"/>
                <a:gd name="connsiteX1" fmla="*/ 5478 w 2510391"/>
                <a:gd name="connsiteY1" fmla="*/ 235527 h 251670"/>
                <a:gd name="connsiteX2" fmla="*/ 216374 w 2510391"/>
                <a:gd name="connsiteY2" fmla="*/ 239376 h 251670"/>
                <a:gd name="connsiteX3" fmla="*/ 1155405 w 2510391"/>
                <a:gd name="connsiteY3" fmla="*/ 124691 h 251670"/>
                <a:gd name="connsiteX4" fmla="*/ 1910478 w 2510391"/>
                <a:gd name="connsiteY4" fmla="*/ 83127 h 251670"/>
                <a:gd name="connsiteX5" fmla="*/ 2457732 w 2510391"/>
                <a:gd name="connsiteY5" fmla="*/ 69272 h 251670"/>
                <a:gd name="connsiteX6" fmla="*/ 2457732 w 2510391"/>
                <a:gd name="connsiteY6" fmla="*/ 0 h 251670"/>
                <a:gd name="connsiteX0" fmla="*/ 66366 w 2495079"/>
                <a:gd name="connsiteY0" fmla="*/ 124691 h 265591"/>
                <a:gd name="connsiteX1" fmla="*/ 7099 w 2495079"/>
                <a:gd name="connsiteY1" fmla="*/ 256693 h 265591"/>
                <a:gd name="connsiteX2" fmla="*/ 201062 w 2495079"/>
                <a:gd name="connsiteY2" fmla="*/ 239376 h 265591"/>
                <a:gd name="connsiteX3" fmla="*/ 1140093 w 2495079"/>
                <a:gd name="connsiteY3" fmla="*/ 124691 h 265591"/>
                <a:gd name="connsiteX4" fmla="*/ 1895166 w 2495079"/>
                <a:gd name="connsiteY4" fmla="*/ 83127 h 265591"/>
                <a:gd name="connsiteX5" fmla="*/ 2442420 w 2495079"/>
                <a:gd name="connsiteY5" fmla="*/ 69272 h 265591"/>
                <a:gd name="connsiteX6" fmla="*/ 2442420 w 2495079"/>
                <a:gd name="connsiteY6" fmla="*/ 0 h 265591"/>
                <a:gd name="connsiteX0" fmla="*/ 81678 w 2510391"/>
                <a:gd name="connsiteY0" fmla="*/ 124691 h 259298"/>
                <a:gd name="connsiteX1" fmla="*/ 5478 w 2510391"/>
                <a:gd name="connsiteY1" fmla="*/ 248227 h 259298"/>
                <a:gd name="connsiteX2" fmla="*/ 216374 w 2510391"/>
                <a:gd name="connsiteY2" fmla="*/ 239376 h 259298"/>
                <a:gd name="connsiteX3" fmla="*/ 1155405 w 2510391"/>
                <a:gd name="connsiteY3" fmla="*/ 124691 h 259298"/>
                <a:gd name="connsiteX4" fmla="*/ 1910478 w 2510391"/>
                <a:gd name="connsiteY4" fmla="*/ 83127 h 259298"/>
                <a:gd name="connsiteX5" fmla="*/ 2457732 w 2510391"/>
                <a:gd name="connsiteY5" fmla="*/ 69272 h 259298"/>
                <a:gd name="connsiteX6" fmla="*/ 2457732 w 2510391"/>
                <a:gd name="connsiteY6" fmla="*/ 0 h 259298"/>
                <a:gd name="connsiteX0" fmla="*/ 88022 w 2516735"/>
                <a:gd name="connsiteY0" fmla="*/ 124691 h 266697"/>
                <a:gd name="connsiteX1" fmla="*/ 11822 w 2516735"/>
                <a:gd name="connsiteY1" fmla="*/ 248227 h 266697"/>
                <a:gd name="connsiteX2" fmla="*/ 222718 w 2516735"/>
                <a:gd name="connsiteY2" fmla="*/ 239376 h 266697"/>
                <a:gd name="connsiteX3" fmla="*/ 1161749 w 2516735"/>
                <a:gd name="connsiteY3" fmla="*/ 124691 h 266697"/>
                <a:gd name="connsiteX4" fmla="*/ 1916822 w 2516735"/>
                <a:gd name="connsiteY4" fmla="*/ 83127 h 266697"/>
                <a:gd name="connsiteX5" fmla="*/ 2464076 w 2516735"/>
                <a:gd name="connsiteY5" fmla="*/ 69272 h 266697"/>
                <a:gd name="connsiteX6" fmla="*/ 2464076 w 2516735"/>
                <a:gd name="connsiteY6" fmla="*/ 0 h 266697"/>
                <a:gd name="connsiteX0" fmla="*/ 73359 w 2502072"/>
                <a:gd name="connsiteY0" fmla="*/ 124691 h 263667"/>
                <a:gd name="connsiteX1" fmla="*/ 14092 w 2502072"/>
                <a:gd name="connsiteY1" fmla="*/ 243993 h 263667"/>
                <a:gd name="connsiteX2" fmla="*/ 208055 w 2502072"/>
                <a:gd name="connsiteY2" fmla="*/ 239376 h 263667"/>
                <a:gd name="connsiteX3" fmla="*/ 1147086 w 2502072"/>
                <a:gd name="connsiteY3" fmla="*/ 124691 h 263667"/>
                <a:gd name="connsiteX4" fmla="*/ 1902159 w 2502072"/>
                <a:gd name="connsiteY4" fmla="*/ 83127 h 263667"/>
                <a:gd name="connsiteX5" fmla="*/ 2449413 w 2502072"/>
                <a:gd name="connsiteY5" fmla="*/ 69272 h 263667"/>
                <a:gd name="connsiteX6" fmla="*/ 2449413 w 2502072"/>
                <a:gd name="connsiteY6" fmla="*/ 0 h 263667"/>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83127 h 263073"/>
                <a:gd name="connsiteX5" fmla="*/ 2449413 w 2502072"/>
                <a:gd name="connsiteY5" fmla="*/ 69272 h 263073"/>
                <a:gd name="connsiteX6" fmla="*/ 2449413 w 2502072"/>
                <a:gd name="connsiteY6" fmla="*/ 0 h 263073"/>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95827 h 263073"/>
                <a:gd name="connsiteX5" fmla="*/ 2449413 w 2502072"/>
                <a:gd name="connsiteY5" fmla="*/ 69272 h 263073"/>
                <a:gd name="connsiteX6" fmla="*/ 2449413 w 2502072"/>
                <a:gd name="connsiteY6" fmla="*/ 0 h 263073"/>
                <a:gd name="connsiteX0" fmla="*/ 73359 w 2471318"/>
                <a:gd name="connsiteY0" fmla="*/ 124691 h 263073"/>
                <a:gd name="connsiteX1" fmla="*/ 14092 w 2471318"/>
                <a:gd name="connsiteY1" fmla="*/ 243993 h 263073"/>
                <a:gd name="connsiteX2" fmla="*/ 208055 w 2471318"/>
                <a:gd name="connsiteY2" fmla="*/ 239376 h 263073"/>
                <a:gd name="connsiteX3" fmla="*/ 1155553 w 2471318"/>
                <a:gd name="connsiteY3" fmla="*/ 137391 h 263073"/>
                <a:gd name="connsiteX4" fmla="*/ 1902159 w 2471318"/>
                <a:gd name="connsiteY4" fmla="*/ 95827 h 263073"/>
                <a:gd name="connsiteX5" fmla="*/ 2377446 w 2471318"/>
                <a:gd name="connsiteY5" fmla="*/ 86205 h 263073"/>
                <a:gd name="connsiteX6" fmla="*/ 2449413 w 2471318"/>
                <a:gd name="connsiteY6" fmla="*/ 0 h 263073"/>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3893" h="296940">
                  <a:moveTo>
                    <a:pt x="73359" y="158558"/>
                  </a:moveTo>
                  <a:cubicBezTo>
                    <a:pt x="25445" y="203008"/>
                    <a:pt x="-25290" y="241813"/>
                    <a:pt x="14092" y="277860"/>
                  </a:cubicBezTo>
                  <a:cubicBezTo>
                    <a:pt x="53474" y="313907"/>
                    <a:pt x="17811" y="291010"/>
                    <a:pt x="208055" y="273243"/>
                  </a:cubicBezTo>
                  <a:cubicBezTo>
                    <a:pt x="398299" y="255476"/>
                    <a:pt x="873202" y="195183"/>
                    <a:pt x="1155553" y="171258"/>
                  </a:cubicBezTo>
                  <a:cubicBezTo>
                    <a:pt x="1437904" y="147333"/>
                    <a:pt x="1698510" y="138225"/>
                    <a:pt x="1902159" y="129694"/>
                  </a:cubicBezTo>
                  <a:cubicBezTo>
                    <a:pt x="2105808" y="121163"/>
                    <a:pt x="2292587" y="124755"/>
                    <a:pt x="2377446" y="120072"/>
                  </a:cubicBezTo>
                  <a:cubicBezTo>
                    <a:pt x="2462305" y="115389"/>
                    <a:pt x="2456916" y="27709"/>
                    <a:pt x="2411312"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Shape 116"/>
            <p:cNvSpPr/>
            <p:nvPr/>
          </p:nvSpPr>
          <p:spPr bwMode="auto">
            <a:xfrm>
              <a:off x="5482392" y="1723583"/>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8" name="Freeform: Shape 117"/>
            <p:cNvSpPr/>
            <p:nvPr/>
          </p:nvSpPr>
          <p:spPr bwMode="auto">
            <a:xfrm>
              <a:off x="5504532" y="1711248"/>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9" name="Freeform: Shape 118"/>
            <p:cNvSpPr/>
            <p:nvPr/>
          </p:nvSpPr>
          <p:spPr bwMode="auto">
            <a:xfrm>
              <a:off x="5008226" y="2262127"/>
              <a:ext cx="44598" cy="86436"/>
            </a:xfrm>
            <a:custGeom>
              <a:avLst/>
              <a:gdLst>
                <a:gd name="connsiteX0" fmla="*/ 120135 w 120135"/>
                <a:gd name="connsiteY0" fmla="*/ 0 h 211667"/>
                <a:gd name="connsiteX1" fmla="*/ 5835 w 120135"/>
                <a:gd name="connsiteY1" fmla="*/ 97367 h 211667"/>
                <a:gd name="connsiteX2" fmla="*/ 27002 w 120135"/>
                <a:gd name="connsiteY2" fmla="*/ 182034 h 211667"/>
                <a:gd name="connsiteX3" fmla="*/ 115902 w 120135"/>
                <a:gd name="connsiteY3" fmla="*/ 211667 h 211667"/>
              </a:gdLst>
              <a:ahLst/>
              <a:cxnLst>
                <a:cxn ang="0">
                  <a:pos x="connsiteX0" y="connsiteY0"/>
                </a:cxn>
                <a:cxn ang="0">
                  <a:pos x="connsiteX1" y="connsiteY1"/>
                </a:cxn>
                <a:cxn ang="0">
                  <a:pos x="connsiteX2" y="connsiteY2"/>
                </a:cxn>
                <a:cxn ang="0">
                  <a:pos x="connsiteX3" y="connsiteY3"/>
                </a:cxn>
              </a:cxnLst>
              <a:rect l="l" t="t" r="r" b="b"/>
              <a:pathLst>
                <a:path w="120135" h="211667">
                  <a:moveTo>
                    <a:pt x="120135" y="0"/>
                  </a:moveTo>
                  <a:cubicBezTo>
                    <a:pt x="70746" y="33514"/>
                    <a:pt x="21357" y="67028"/>
                    <a:pt x="5835" y="97367"/>
                  </a:cubicBezTo>
                  <a:cubicBezTo>
                    <a:pt x="-9687" y="127706"/>
                    <a:pt x="8658" y="162984"/>
                    <a:pt x="27002" y="182034"/>
                  </a:cubicBezTo>
                  <a:cubicBezTo>
                    <a:pt x="45346" y="201084"/>
                    <a:pt x="80624" y="206375"/>
                    <a:pt x="115902" y="21166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0" name="Freeform: Shape 119"/>
            <p:cNvSpPr/>
            <p:nvPr/>
          </p:nvSpPr>
          <p:spPr bwMode="auto">
            <a:xfrm>
              <a:off x="5044737" y="2119534"/>
              <a:ext cx="288791" cy="215915"/>
            </a:xfrm>
            <a:custGeom>
              <a:avLst/>
              <a:gdLst>
                <a:gd name="connsiteX0" fmla="*/ 1026 w 880224"/>
                <a:gd name="connsiteY0" fmla="*/ 224608 h 639520"/>
                <a:gd name="connsiteX1" fmla="*/ 30660 w 880224"/>
                <a:gd name="connsiteY1" fmla="*/ 423574 h 639520"/>
                <a:gd name="connsiteX2" fmla="*/ 204226 w 880224"/>
                <a:gd name="connsiteY2" fmla="*/ 597141 h 639520"/>
                <a:gd name="connsiteX3" fmla="*/ 403193 w 880224"/>
                <a:gd name="connsiteY3" fmla="*/ 639474 h 639520"/>
                <a:gd name="connsiteX4" fmla="*/ 712226 w 880224"/>
                <a:gd name="connsiteY4" fmla="*/ 592908 h 639520"/>
                <a:gd name="connsiteX5" fmla="*/ 873093 w 880224"/>
                <a:gd name="connsiteY5" fmla="*/ 398174 h 639520"/>
                <a:gd name="connsiteX6" fmla="*/ 839226 w 880224"/>
                <a:gd name="connsiteY6" fmla="*/ 190741 h 639520"/>
                <a:gd name="connsiteX7" fmla="*/ 724926 w 880224"/>
                <a:gd name="connsiteY7" fmla="*/ 51041 h 639520"/>
                <a:gd name="connsiteX8" fmla="*/ 564060 w 880224"/>
                <a:gd name="connsiteY8" fmla="*/ 241 h 639520"/>
                <a:gd name="connsiteX9" fmla="*/ 382026 w 880224"/>
                <a:gd name="connsiteY9" fmla="*/ 34108 h 639520"/>
                <a:gd name="connsiteX10" fmla="*/ 255026 w 880224"/>
                <a:gd name="connsiteY10" fmla="*/ 84908 h 639520"/>
                <a:gd name="connsiteX0" fmla="*/ 1026 w 866038"/>
                <a:gd name="connsiteY0" fmla="*/ 224608 h 639520"/>
                <a:gd name="connsiteX1" fmla="*/ 30660 w 866038"/>
                <a:gd name="connsiteY1" fmla="*/ 423574 h 639520"/>
                <a:gd name="connsiteX2" fmla="*/ 204226 w 866038"/>
                <a:gd name="connsiteY2" fmla="*/ 597141 h 639520"/>
                <a:gd name="connsiteX3" fmla="*/ 403193 w 866038"/>
                <a:gd name="connsiteY3" fmla="*/ 639474 h 639520"/>
                <a:gd name="connsiteX4" fmla="*/ 712226 w 866038"/>
                <a:gd name="connsiteY4" fmla="*/ 592908 h 639520"/>
                <a:gd name="connsiteX5" fmla="*/ 856159 w 866038"/>
                <a:gd name="connsiteY5" fmla="*/ 398174 h 639520"/>
                <a:gd name="connsiteX6" fmla="*/ 839226 w 866038"/>
                <a:gd name="connsiteY6" fmla="*/ 190741 h 639520"/>
                <a:gd name="connsiteX7" fmla="*/ 724926 w 866038"/>
                <a:gd name="connsiteY7" fmla="*/ 51041 h 639520"/>
                <a:gd name="connsiteX8" fmla="*/ 564060 w 866038"/>
                <a:gd name="connsiteY8" fmla="*/ 241 h 639520"/>
                <a:gd name="connsiteX9" fmla="*/ 382026 w 866038"/>
                <a:gd name="connsiteY9" fmla="*/ 34108 h 639520"/>
                <a:gd name="connsiteX10" fmla="*/ 255026 w 866038"/>
                <a:gd name="connsiteY10" fmla="*/ 84908 h 639520"/>
                <a:gd name="connsiteX0" fmla="*/ 1026 w 862652"/>
                <a:gd name="connsiteY0" fmla="*/ 224608 h 639520"/>
                <a:gd name="connsiteX1" fmla="*/ 30660 w 862652"/>
                <a:gd name="connsiteY1" fmla="*/ 423574 h 639520"/>
                <a:gd name="connsiteX2" fmla="*/ 204226 w 862652"/>
                <a:gd name="connsiteY2" fmla="*/ 597141 h 639520"/>
                <a:gd name="connsiteX3" fmla="*/ 403193 w 862652"/>
                <a:gd name="connsiteY3" fmla="*/ 639474 h 639520"/>
                <a:gd name="connsiteX4" fmla="*/ 712226 w 862652"/>
                <a:gd name="connsiteY4" fmla="*/ 592908 h 639520"/>
                <a:gd name="connsiteX5" fmla="*/ 856159 w 862652"/>
                <a:gd name="connsiteY5" fmla="*/ 398174 h 639520"/>
                <a:gd name="connsiteX6" fmla="*/ 826526 w 862652"/>
                <a:gd name="connsiteY6" fmla="*/ 194974 h 639520"/>
                <a:gd name="connsiteX7" fmla="*/ 724926 w 862652"/>
                <a:gd name="connsiteY7" fmla="*/ 51041 h 639520"/>
                <a:gd name="connsiteX8" fmla="*/ 564060 w 862652"/>
                <a:gd name="connsiteY8" fmla="*/ 241 h 639520"/>
                <a:gd name="connsiteX9" fmla="*/ 382026 w 862652"/>
                <a:gd name="connsiteY9" fmla="*/ 34108 h 639520"/>
                <a:gd name="connsiteX10" fmla="*/ 255026 w 862652"/>
                <a:gd name="connsiteY10" fmla="*/ 84908 h 639520"/>
                <a:gd name="connsiteX0" fmla="*/ 1026 w 855405"/>
                <a:gd name="connsiteY0" fmla="*/ 224608 h 639520"/>
                <a:gd name="connsiteX1" fmla="*/ 30660 w 855405"/>
                <a:gd name="connsiteY1" fmla="*/ 423574 h 639520"/>
                <a:gd name="connsiteX2" fmla="*/ 204226 w 855405"/>
                <a:gd name="connsiteY2" fmla="*/ 597141 h 639520"/>
                <a:gd name="connsiteX3" fmla="*/ 403193 w 855405"/>
                <a:gd name="connsiteY3" fmla="*/ 639474 h 639520"/>
                <a:gd name="connsiteX4" fmla="*/ 712226 w 855405"/>
                <a:gd name="connsiteY4" fmla="*/ 592908 h 639520"/>
                <a:gd name="connsiteX5" fmla="*/ 847692 w 855405"/>
                <a:gd name="connsiteY5" fmla="*/ 398174 h 639520"/>
                <a:gd name="connsiteX6" fmla="*/ 826526 w 855405"/>
                <a:gd name="connsiteY6" fmla="*/ 194974 h 639520"/>
                <a:gd name="connsiteX7" fmla="*/ 724926 w 855405"/>
                <a:gd name="connsiteY7" fmla="*/ 51041 h 639520"/>
                <a:gd name="connsiteX8" fmla="*/ 564060 w 855405"/>
                <a:gd name="connsiteY8" fmla="*/ 241 h 639520"/>
                <a:gd name="connsiteX9" fmla="*/ 382026 w 855405"/>
                <a:gd name="connsiteY9" fmla="*/ 34108 h 639520"/>
                <a:gd name="connsiteX10" fmla="*/ 255026 w 855405"/>
                <a:gd name="connsiteY10" fmla="*/ 84908 h 639520"/>
                <a:gd name="connsiteX0" fmla="*/ 1026 w 855714"/>
                <a:gd name="connsiteY0" fmla="*/ 224608 h 639776"/>
                <a:gd name="connsiteX1" fmla="*/ 30660 w 855714"/>
                <a:gd name="connsiteY1" fmla="*/ 423574 h 639776"/>
                <a:gd name="connsiteX2" fmla="*/ 204226 w 855714"/>
                <a:gd name="connsiteY2" fmla="*/ 597141 h 639776"/>
                <a:gd name="connsiteX3" fmla="*/ 403193 w 855714"/>
                <a:gd name="connsiteY3" fmla="*/ 639474 h 639776"/>
                <a:gd name="connsiteX4" fmla="*/ 707993 w 855714"/>
                <a:gd name="connsiteY4" fmla="*/ 584441 h 639776"/>
                <a:gd name="connsiteX5" fmla="*/ 847692 w 855714"/>
                <a:gd name="connsiteY5" fmla="*/ 398174 h 639776"/>
                <a:gd name="connsiteX6" fmla="*/ 826526 w 855714"/>
                <a:gd name="connsiteY6" fmla="*/ 194974 h 639776"/>
                <a:gd name="connsiteX7" fmla="*/ 724926 w 855714"/>
                <a:gd name="connsiteY7" fmla="*/ 51041 h 639776"/>
                <a:gd name="connsiteX8" fmla="*/ 564060 w 855714"/>
                <a:gd name="connsiteY8" fmla="*/ 241 h 639776"/>
                <a:gd name="connsiteX9" fmla="*/ 382026 w 855714"/>
                <a:gd name="connsiteY9" fmla="*/ 34108 h 639776"/>
                <a:gd name="connsiteX10" fmla="*/ 255026 w 855714"/>
                <a:gd name="connsiteY10" fmla="*/ 84908 h 63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5714" h="639776">
                  <a:moveTo>
                    <a:pt x="1026" y="224608"/>
                  </a:moveTo>
                  <a:cubicBezTo>
                    <a:pt x="-1091" y="293046"/>
                    <a:pt x="-3207" y="361485"/>
                    <a:pt x="30660" y="423574"/>
                  </a:cubicBezTo>
                  <a:cubicBezTo>
                    <a:pt x="64527" y="485663"/>
                    <a:pt x="142137" y="561158"/>
                    <a:pt x="204226" y="597141"/>
                  </a:cubicBezTo>
                  <a:cubicBezTo>
                    <a:pt x="266315" y="633124"/>
                    <a:pt x="319232" y="641591"/>
                    <a:pt x="403193" y="639474"/>
                  </a:cubicBezTo>
                  <a:cubicBezTo>
                    <a:pt x="487154" y="637357"/>
                    <a:pt x="633910" y="624658"/>
                    <a:pt x="707993" y="584441"/>
                  </a:cubicBezTo>
                  <a:cubicBezTo>
                    <a:pt x="782076" y="544224"/>
                    <a:pt x="827937" y="463085"/>
                    <a:pt x="847692" y="398174"/>
                  </a:cubicBezTo>
                  <a:cubicBezTo>
                    <a:pt x="867447" y="333263"/>
                    <a:pt x="846987" y="252830"/>
                    <a:pt x="826526" y="194974"/>
                  </a:cubicBezTo>
                  <a:cubicBezTo>
                    <a:pt x="806065" y="137118"/>
                    <a:pt x="768670" y="83496"/>
                    <a:pt x="724926" y="51041"/>
                  </a:cubicBezTo>
                  <a:cubicBezTo>
                    <a:pt x="681182" y="18586"/>
                    <a:pt x="621210" y="3063"/>
                    <a:pt x="564060" y="241"/>
                  </a:cubicBezTo>
                  <a:cubicBezTo>
                    <a:pt x="506910" y="-2581"/>
                    <a:pt x="433532" y="19997"/>
                    <a:pt x="382026" y="34108"/>
                  </a:cubicBezTo>
                  <a:cubicBezTo>
                    <a:pt x="330520" y="48219"/>
                    <a:pt x="292773" y="66563"/>
                    <a:pt x="255026" y="8490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1" name="Freeform: Shape 120"/>
            <p:cNvSpPr/>
            <p:nvPr/>
          </p:nvSpPr>
          <p:spPr bwMode="auto">
            <a:xfrm>
              <a:off x="5045083" y="2192479"/>
              <a:ext cx="220019" cy="2857"/>
            </a:xfrm>
            <a:custGeom>
              <a:avLst/>
              <a:gdLst>
                <a:gd name="connsiteX0" fmla="*/ 0 w 651934"/>
                <a:gd name="connsiteY0" fmla="*/ 8466 h 8466"/>
                <a:gd name="connsiteX1" fmla="*/ 651934 w 651934"/>
                <a:gd name="connsiteY1" fmla="*/ 0 h 8466"/>
              </a:gdLst>
              <a:ahLst/>
              <a:cxnLst>
                <a:cxn ang="0">
                  <a:pos x="connsiteX0" y="connsiteY0"/>
                </a:cxn>
                <a:cxn ang="0">
                  <a:pos x="connsiteX1" y="connsiteY1"/>
                </a:cxn>
              </a:cxnLst>
              <a:rect l="l" t="t" r="r" b="b"/>
              <a:pathLst>
                <a:path w="651934" h="8466">
                  <a:moveTo>
                    <a:pt x="0" y="8466"/>
                  </a:moveTo>
                  <a:lnTo>
                    <a:pt x="651934"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2" name="Freeform: Shape 121"/>
            <p:cNvSpPr/>
            <p:nvPr/>
          </p:nvSpPr>
          <p:spPr bwMode="auto">
            <a:xfrm>
              <a:off x="5213669" y="2111044"/>
              <a:ext cx="136555" cy="228590"/>
            </a:xfrm>
            <a:custGeom>
              <a:avLst/>
              <a:gdLst>
                <a:gd name="connsiteX0" fmla="*/ 80434 w 469130"/>
                <a:gd name="connsiteY0" fmla="*/ 669259 h 669259"/>
                <a:gd name="connsiteX1" fmla="*/ 393700 w 469130"/>
                <a:gd name="connsiteY1" fmla="*/ 550726 h 669259"/>
                <a:gd name="connsiteX2" fmla="*/ 465667 w 469130"/>
                <a:gd name="connsiteY2" fmla="*/ 364459 h 669259"/>
                <a:gd name="connsiteX3" fmla="*/ 444500 w 469130"/>
                <a:gd name="connsiteY3" fmla="*/ 203593 h 669259"/>
                <a:gd name="connsiteX4" fmla="*/ 330200 w 469130"/>
                <a:gd name="connsiteY4" fmla="*/ 59659 h 669259"/>
                <a:gd name="connsiteX5" fmla="*/ 169334 w 469130"/>
                <a:gd name="connsiteY5" fmla="*/ 393 h 669259"/>
                <a:gd name="connsiteX6" fmla="*/ 0 w 469130"/>
                <a:gd name="connsiteY6" fmla="*/ 38493 h 669259"/>
                <a:gd name="connsiteX0" fmla="*/ 118534 w 507230"/>
                <a:gd name="connsiteY0" fmla="*/ 669873 h 669873"/>
                <a:gd name="connsiteX1" fmla="*/ 431800 w 507230"/>
                <a:gd name="connsiteY1" fmla="*/ 551340 h 669873"/>
                <a:gd name="connsiteX2" fmla="*/ 503767 w 507230"/>
                <a:gd name="connsiteY2" fmla="*/ 365073 h 669873"/>
                <a:gd name="connsiteX3" fmla="*/ 482600 w 507230"/>
                <a:gd name="connsiteY3" fmla="*/ 204207 h 669873"/>
                <a:gd name="connsiteX4" fmla="*/ 368300 w 507230"/>
                <a:gd name="connsiteY4" fmla="*/ 60273 h 669873"/>
                <a:gd name="connsiteX5" fmla="*/ 207434 w 507230"/>
                <a:gd name="connsiteY5" fmla="*/ 1007 h 669873"/>
                <a:gd name="connsiteX6" fmla="*/ 0 w 507230"/>
                <a:gd name="connsiteY6" fmla="*/ 30641 h 669873"/>
                <a:gd name="connsiteX0" fmla="*/ 0 w 388696"/>
                <a:gd name="connsiteY0" fmla="*/ 678024 h 678024"/>
                <a:gd name="connsiteX1" fmla="*/ 313266 w 388696"/>
                <a:gd name="connsiteY1" fmla="*/ 559491 h 678024"/>
                <a:gd name="connsiteX2" fmla="*/ 385233 w 388696"/>
                <a:gd name="connsiteY2" fmla="*/ 373224 h 678024"/>
                <a:gd name="connsiteX3" fmla="*/ 364066 w 388696"/>
                <a:gd name="connsiteY3" fmla="*/ 212358 h 678024"/>
                <a:gd name="connsiteX4" fmla="*/ 249766 w 388696"/>
                <a:gd name="connsiteY4" fmla="*/ 68424 h 678024"/>
                <a:gd name="connsiteX5" fmla="*/ 88900 w 388696"/>
                <a:gd name="connsiteY5" fmla="*/ 9158 h 678024"/>
                <a:gd name="connsiteX6" fmla="*/ 122766 w 388696"/>
                <a:gd name="connsiteY6" fmla="*/ 13392 h 678024"/>
                <a:gd name="connsiteX0" fmla="*/ 0 w 388696"/>
                <a:gd name="connsiteY0" fmla="*/ 668866 h 668866"/>
                <a:gd name="connsiteX1" fmla="*/ 313266 w 388696"/>
                <a:gd name="connsiteY1" fmla="*/ 550333 h 668866"/>
                <a:gd name="connsiteX2" fmla="*/ 385233 w 388696"/>
                <a:gd name="connsiteY2" fmla="*/ 364066 h 668866"/>
                <a:gd name="connsiteX3" fmla="*/ 364066 w 388696"/>
                <a:gd name="connsiteY3" fmla="*/ 203200 h 668866"/>
                <a:gd name="connsiteX4" fmla="*/ 249766 w 388696"/>
                <a:gd name="connsiteY4" fmla="*/ 59266 h 668866"/>
                <a:gd name="connsiteX5" fmla="*/ 88900 w 388696"/>
                <a:gd name="connsiteY5" fmla="*/ 0 h 668866"/>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67266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404062"/>
                <a:gd name="connsiteY0" fmla="*/ 677332 h 677332"/>
                <a:gd name="connsiteX1" fmla="*/ 313266 w 404062"/>
                <a:gd name="connsiteY1" fmla="*/ 567266 h 677332"/>
                <a:gd name="connsiteX2" fmla="*/ 402166 w 404062"/>
                <a:gd name="connsiteY2" fmla="*/ 372532 h 677332"/>
                <a:gd name="connsiteX3" fmla="*/ 364066 w 404062"/>
                <a:gd name="connsiteY3" fmla="*/ 211666 h 677332"/>
                <a:gd name="connsiteX4" fmla="*/ 249766 w 404062"/>
                <a:gd name="connsiteY4" fmla="*/ 67732 h 677332"/>
                <a:gd name="connsiteX5" fmla="*/ 114300 w 404062"/>
                <a:gd name="connsiteY5" fmla="*/ 0 h 677332"/>
                <a:gd name="connsiteX0" fmla="*/ 0 w 404624"/>
                <a:gd name="connsiteY0" fmla="*/ 677332 h 677332"/>
                <a:gd name="connsiteX1" fmla="*/ 313266 w 404624"/>
                <a:gd name="connsiteY1" fmla="*/ 567266 h 677332"/>
                <a:gd name="connsiteX2" fmla="*/ 402166 w 404624"/>
                <a:gd name="connsiteY2" fmla="*/ 372532 h 677332"/>
                <a:gd name="connsiteX3" fmla="*/ 368300 w 404624"/>
                <a:gd name="connsiteY3" fmla="*/ 194733 h 677332"/>
                <a:gd name="connsiteX4" fmla="*/ 249766 w 404624"/>
                <a:gd name="connsiteY4" fmla="*/ 67732 h 677332"/>
                <a:gd name="connsiteX5" fmla="*/ 114300 w 404624"/>
                <a:gd name="connsiteY5" fmla="*/ 0 h 67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624" h="677332">
                  <a:moveTo>
                    <a:pt x="0" y="677332"/>
                  </a:moveTo>
                  <a:cubicBezTo>
                    <a:pt x="179563" y="651932"/>
                    <a:pt x="246238" y="618066"/>
                    <a:pt x="313266" y="567266"/>
                  </a:cubicBezTo>
                  <a:cubicBezTo>
                    <a:pt x="380294" y="516466"/>
                    <a:pt x="392994" y="434621"/>
                    <a:pt x="402166" y="372532"/>
                  </a:cubicBezTo>
                  <a:cubicBezTo>
                    <a:pt x="411338" y="310443"/>
                    <a:pt x="393700" y="245533"/>
                    <a:pt x="368300" y="194733"/>
                  </a:cubicBezTo>
                  <a:cubicBezTo>
                    <a:pt x="342900" y="143933"/>
                    <a:pt x="292099" y="100187"/>
                    <a:pt x="249766" y="67732"/>
                  </a:cubicBezTo>
                  <a:cubicBezTo>
                    <a:pt x="207433" y="35277"/>
                    <a:pt x="135467" y="9172"/>
                    <a:pt x="114300"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3" name="Freeform: Shape 122"/>
            <p:cNvSpPr/>
            <p:nvPr/>
          </p:nvSpPr>
          <p:spPr bwMode="auto">
            <a:xfrm>
              <a:off x="8481941" y="2843104"/>
              <a:ext cx="781779" cy="97722"/>
            </a:xfrm>
            <a:custGeom>
              <a:avLst/>
              <a:gdLst>
                <a:gd name="connsiteX0" fmla="*/ 0 w 2316480"/>
                <a:gd name="connsiteY0" fmla="*/ 289560 h 289560"/>
                <a:gd name="connsiteX1" fmla="*/ 2316480 w 2316480"/>
                <a:gd name="connsiteY1" fmla="*/ 0 h 289560"/>
              </a:gdLst>
              <a:ahLst/>
              <a:cxnLst>
                <a:cxn ang="0">
                  <a:pos x="connsiteX0" y="connsiteY0"/>
                </a:cxn>
                <a:cxn ang="0">
                  <a:pos x="connsiteX1" y="connsiteY1"/>
                </a:cxn>
              </a:cxnLst>
              <a:rect l="l" t="t" r="r" b="b"/>
              <a:pathLst>
                <a:path w="2316480" h="289560">
                  <a:moveTo>
                    <a:pt x="0" y="289560"/>
                  </a:moveTo>
                  <a:lnTo>
                    <a:pt x="2316480"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4" name="Freeform: Shape 123"/>
            <p:cNvSpPr/>
            <p:nvPr/>
          </p:nvSpPr>
          <p:spPr bwMode="auto">
            <a:xfrm>
              <a:off x="8780251" y="2515648"/>
              <a:ext cx="236591" cy="1714"/>
            </a:xfrm>
            <a:custGeom>
              <a:avLst/>
              <a:gdLst>
                <a:gd name="connsiteX0" fmla="*/ 0 w 701040"/>
                <a:gd name="connsiteY0" fmla="*/ 0 h 5080"/>
                <a:gd name="connsiteX1" fmla="*/ 701040 w 701040"/>
                <a:gd name="connsiteY1" fmla="*/ 5080 h 5080"/>
              </a:gdLst>
              <a:ahLst/>
              <a:cxnLst>
                <a:cxn ang="0">
                  <a:pos x="connsiteX0" y="connsiteY0"/>
                </a:cxn>
                <a:cxn ang="0">
                  <a:pos x="connsiteX1" y="connsiteY1"/>
                </a:cxn>
              </a:cxnLst>
              <a:rect l="l" t="t" r="r" b="b"/>
              <a:pathLst>
                <a:path w="701040" h="5080">
                  <a:moveTo>
                    <a:pt x="0" y="0"/>
                  </a:moveTo>
                  <a:lnTo>
                    <a:pt x="701040" y="508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5" name="Freeform: Shape 124"/>
            <p:cNvSpPr/>
            <p:nvPr/>
          </p:nvSpPr>
          <p:spPr bwMode="auto">
            <a:xfrm>
              <a:off x="8727181" y="2383791"/>
              <a:ext cx="274309" cy="1715"/>
            </a:xfrm>
            <a:custGeom>
              <a:avLst/>
              <a:gdLst>
                <a:gd name="connsiteX0" fmla="*/ 0 w 812800"/>
                <a:gd name="connsiteY0" fmla="*/ 0 h 5080"/>
                <a:gd name="connsiteX1" fmla="*/ 812800 w 812800"/>
                <a:gd name="connsiteY1" fmla="*/ 5080 h 5080"/>
              </a:gdLst>
              <a:ahLst/>
              <a:cxnLst>
                <a:cxn ang="0">
                  <a:pos x="connsiteX0" y="connsiteY0"/>
                </a:cxn>
                <a:cxn ang="0">
                  <a:pos x="connsiteX1" y="connsiteY1"/>
                </a:cxn>
              </a:cxnLst>
              <a:rect l="l" t="t" r="r" b="b"/>
              <a:pathLst>
                <a:path w="812800" h="5080">
                  <a:moveTo>
                    <a:pt x="0" y="0"/>
                  </a:moveTo>
                  <a:lnTo>
                    <a:pt x="812800" y="508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6" name="Freeform: Shape 125"/>
            <p:cNvSpPr/>
            <p:nvPr/>
          </p:nvSpPr>
          <p:spPr bwMode="auto">
            <a:xfrm>
              <a:off x="8941407" y="2393924"/>
              <a:ext cx="18859" cy="125153"/>
            </a:xfrm>
            <a:custGeom>
              <a:avLst/>
              <a:gdLst>
                <a:gd name="connsiteX0" fmla="*/ 0 w 55880"/>
                <a:gd name="connsiteY0" fmla="*/ 0 h 370840"/>
                <a:gd name="connsiteX1" fmla="*/ 55880 w 55880"/>
                <a:gd name="connsiteY1" fmla="*/ 370840 h 370840"/>
              </a:gdLst>
              <a:ahLst/>
              <a:cxnLst>
                <a:cxn ang="0">
                  <a:pos x="connsiteX0" y="connsiteY0"/>
                </a:cxn>
                <a:cxn ang="0">
                  <a:pos x="connsiteX1" y="connsiteY1"/>
                </a:cxn>
              </a:cxnLst>
              <a:rect l="l" t="t" r="r" b="b"/>
              <a:pathLst>
                <a:path w="55880" h="370840">
                  <a:moveTo>
                    <a:pt x="0" y="0"/>
                  </a:moveTo>
                  <a:lnTo>
                    <a:pt x="55880" y="37084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7" name="Freeform: Shape 126"/>
            <p:cNvSpPr/>
            <p:nvPr/>
          </p:nvSpPr>
          <p:spPr bwMode="auto">
            <a:xfrm>
              <a:off x="8723532" y="2268771"/>
              <a:ext cx="168157" cy="248592"/>
            </a:xfrm>
            <a:custGeom>
              <a:avLst/>
              <a:gdLst>
                <a:gd name="connsiteX0" fmla="*/ 501021 w 501021"/>
                <a:gd name="connsiteY0" fmla="*/ 0 h 726440"/>
                <a:gd name="connsiteX1" fmla="*/ 257181 w 501021"/>
                <a:gd name="connsiteY1" fmla="*/ 71120 h 726440"/>
                <a:gd name="connsiteX2" fmla="*/ 43821 w 501021"/>
                <a:gd name="connsiteY2" fmla="*/ 254000 h 726440"/>
                <a:gd name="connsiteX3" fmla="*/ 3181 w 501021"/>
                <a:gd name="connsiteY3" fmla="*/ 401320 h 726440"/>
                <a:gd name="connsiteX4" fmla="*/ 94621 w 501021"/>
                <a:gd name="connsiteY4" fmla="*/ 640080 h 726440"/>
                <a:gd name="connsiteX5" fmla="*/ 160661 w 501021"/>
                <a:gd name="connsiteY5" fmla="*/ 726440 h 726440"/>
                <a:gd name="connsiteX0" fmla="*/ 498263 w 498263"/>
                <a:gd name="connsiteY0" fmla="*/ 0 h 726440"/>
                <a:gd name="connsiteX1" fmla="*/ 254423 w 498263"/>
                <a:gd name="connsiteY1" fmla="*/ 71120 h 726440"/>
                <a:gd name="connsiteX2" fmla="*/ 66463 w 498263"/>
                <a:gd name="connsiteY2" fmla="*/ 238760 h 726440"/>
                <a:gd name="connsiteX3" fmla="*/ 423 w 498263"/>
                <a:gd name="connsiteY3" fmla="*/ 401320 h 726440"/>
                <a:gd name="connsiteX4" fmla="*/ 91863 w 498263"/>
                <a:gd name="connsiteY4" fmla="*/ 640080 h 726440"/>
                <a:gd name="connsiteX5" fmla="*/ 157903 w 498263"/>
                <a:gd name="connsiteY5" fmla="*/ 726440 h 726440"/>
                <a:gd name="connsiteX0" fmla="*/ 498263 w 498263"/>
                <a:gd name="connsiteY0" fmla="*/ 0 h 736600"/>
                <a:gd name="connsiteX1" fmla="*/ 254423 w 498263"/>
                <a:gd name="connsiteY1" fmla="*/ 7112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 name="connsiteX0" fmla="*/ 498263 w 498263"/>
                <a:gd name="connsiteY0" fmla="*/ 0 h 736600"/>
                <a:gd name="connsiteX1" fmla="*/ 254423 w 498263"/>
                <a:gd name="connsiteY1" fmla="*/ 8636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263" h="736600">
                  <a:moveTo>
                    <a:pt x="498263" y="0"/>
                  </a:moveTo>
                  <a:cubicBezTo>
                    <a:pt x="414443" y="14393"/>
                    <a:pt x="326390" y="46567"/>
                    <a:pt x="254423" y="86360"/>
                  </a:cubicBezTo>
                  <a:cubicBezTo>
                    <a:pt x="182456" y="126153"/>
                    <a:pt x="108796" y="186267"/>
                    <a:pt x="66463" y="238760"/>
                  </a:cubicBezTo>
                  <a:cubicBezTo>
                    <a:pt x="24130" y="291253"/>
                    <a:pt x="-3810" y="334433"/>
                    <a:pt x="423" y="401320"/>
                  </a:cubicBezTo>
                  <a:cubicBezTo>
                    <a:pt x="4656" y="468207"/>
                    <a:pt x="63076" y="584200"/>
                    <a:pt x="91863" y="640080"/>
                  </a:cubicBezTo>
                  <a:cubicBezTo>
                    <a:pt x="120650" y="695960"/>
                    <a:pt x="153246" y="720513"/>
                    <a:pt x="173143" y="73660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8" name="Freeform: Shape 127"/>
            <p:cNvSpPr/>
            <p:nvPr/>
          </p:nvSpPr>
          <p:spPr bwMode="auto">
            <a:xfrm>
              <a:off x="9003720" y="2333919"/>
              <a:ext cx="134846" cy="462895"/>
            </a:xfrm>
            <a:custGeom>
              <a:avLst/>
              <a:gdLst>
                <a:gd name="connsiteX0" fmla="*/ 399561 w 399561"/>
                <a:gd name="connsiteY0" fmla="*/ 1371600 h 1371600"/>
                <a:gd name="connsiteX1" fmla="*/ 242081 w 399561"/>
                <a:gd name="connsiteY1" fmla="*/ 1178560 h 1371600"/>
                <a:gd name="connsiteX2" fmla="*/ 64281 w 399561"/>
                <a:gd name="connsiteY2" fmla="*/ 660400 h 1371600"/>
                <a:gd name="connsiteX3" fmla="*/ 3321 w 399561"/>
                <a:gd name="connsiteY3" fmla="*/ 208280 h 1371600"/>
                <a:gd name="connsiteX4" fmla="*/ 13481 w 399561"/>
                <a:gd name="connsiteY4" fmla="*/ 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61" h="1371600">
                  <a:moveTo>
                    <a:pt x="399561" y="1371600"/>
                  </a:moveTo>
                  <a:cubicBezTo>
                    <a:pt x="348761" y="1334346"/>
                    <a:pt x="297961" y="1297093"/>
                    <a:pt x="242081" y="1178560"/>
                  </a:cubicBezTo>
                  <a:cubicBezTo>
                    <a:pt x="186201" y="1060027"/>
                    <a:pt x="104074" y="822113"/>
                    <a:pt x="64281" y="660400"/>
                  </a:cubicBezTo>
                  <a:cubicBezTo>
                    <a:pt x="24488" y="498687"/>
                    <a:pt x="11788" y="318347"/>
                    <a:pt x="3321" y="208280"/>
                  </a:cubicBezTo>
                  <a:cubicBezTo>
                    <a:pt x="-5146" y="98213"/>
                    <a:pt x="4167" y="49106"/>
                    <a:pt x="1348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9" name="Freeform: Shape 128"/>
            <p:cNvSpPr/>
            <p:nvPr/>
          </p:nvSpPr>
          <p:spPr bwMode="auto">
            <a:xfrm>
              <a:off x="8913977" y="2268771"/>
              <a:ext cx="224590" cy="70292"/>
            </a:xfrm>
            <a:custGeom>
              <a:avLst/>
              <a:gdLst>
                <a:gd name="connsiteX0" fmla="*/ 0 w 665480"/>
                <a:gd name="connsiteY0" fmla="*/ 0 h 208280"/>
                <a:gd name="connsiteX1" fmla="*/ 289560 w 665480"/>
                <a:gd name="connsiteY1" fmla="*/ 208280 h 208280"/>
                <a:gd name="connsiteX2" fmla="*/ 665480 w 665480"/>
                <a:gd name="connsiteY2" fmla="*/ 137160 h 208280"/>
              </a:gdLst>
              <a:ahLst/>
              <a:cxnLst>
                <a:cxn ang="0">
                  <a:pos x="connsiteX0" y="connsiteY0"/>
                </a:cxn>
                <a:cxn ang="0">
                  <a:pos x="connsiteX1" y="connsiteY1"/>
                </a:cxn>
                <a:cxn ang="0">
                  <a:pos x="connsiteX2" y="connsiteY2"/>
                </a:cxn>
              </a:cxnLst>
              <a:rect l="l" t="t" r="r" b="b"/>
              <a:pathLst>
                <a:path w="665480" h="208280">
                  <a:moveTo>
                    <a:pt x="0" y="0"/>
                  </a:moveTo>
                  <a:lnTo>
                    <a:pt x="289560" y="208280"/>
                  </a:lnTo>
                  <a:lnTo>
                    <a:pt x="665480" y="13716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Shape 129"/>
            <p:cNvSpPr/>
            <p:nvPr/>
          </p:nvSpPr>
          <p:spPr bwMode="auto">
            <a:xfrm>
              <a:off x="8708428" y="2853390"/>
              <a:ext cx="563864" cy="131763"/>
            </a:xfrm>
            <a:custGeom>
              <a:avLst/>
              <a:gdLst>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55880 h 390426"/>
                <a:gd name="connsiteX9" fmla="*/ 1635219 w 1670779"/>
                <a:gd name="connsiteY9" fmla="*/ 0 h 390426"/>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30480 h 390426"/>
                <a:gd name="connsiteX9" fmla="*/ 1635219 w 1670779"/>
                <a:gd name="connsiteY9" fmla="*/ 0 h 390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0779" h="390426">
                  <a:moveTo>
                    <a:pt x="1670779" y="177800"/>
                  </a:moveTo>
                  <a:cubicBezTo>
                    <a:pt x="1661889" y="193463"/>
                    <a:pt x="1652999" y="209127"/>
                    <a:pt x="1538699" y="233680"/>
                  </a:cubicBezTo>
                  <a:cubicBezTo>
                    <a:pt x="1424399" y="258233"/>
                    <a:pt x="1176325" y="299720"/>
                    <a:pt x="984979" y="325120"/>
                  </a:cubicBezTo>
                  <a:cubicBezTo>
                    <a:pt x="793633" y="350520"/>
                    <a:pt x="526932" y="378460"/>
                    <a:pt x="390619" y="386080"/>
                  </a:cubicBezTo>
                  <a:cubicBezTo>
                    <a:pt x="254306" y="393700"/>
                    <a:pt x="230599" y="392853"/>
                    <a:pt x="167099" y="370840"/>
                  </a:cubicBezTo>
                  <a:cubicBezTo>
                    <a:pt x="103599" y="348827"/>
                    <a:pt x="23166" y="281940"/>
                    <a:pt x="9619" y="254000"/>
                  </a:cubicBezTo>
                  <a:cubicBezTo>
                    <a:pt x="-3928" y="226060"/>
                    <a:pt x="-19168" y="226060"/>
                    <a:pt x="85819" y="203200"/>
                  </a:cubicBezTo>
                  <a:cubicBezTo>
                    <a:pt x="190806" y="180340"/>
                    <a:pt x="438032" y="145627"/>
                    <a:pt x="639539" y="116840"/>
                  </a:cubicBezTo>
                  <a:cubicBezTo>
                    <a:pt x="841046" y="88053"/>
                    <a:pt x="1128912" y="49953"/>
                    <a:pt x="1294859" y="30480"/>
                  </a:cubicBezTo>
                  <a:cubicBezTo>
                    <a:pt x="1460806" y="11007"/>
                    <a:pt x="1548012" y="18203"/>
                    <a:pt x="1635219"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149" name="Text Placeholder 148"/>
          <p:cNvSpPr>
            <a:spLocks noGrp="1"/>
          </p:cNvSpPr>
          <p:nvPr>
            <p:ph type="body" sz="quarter" idx="16"/>
          </p:nvPr>
        </p:nvSpPr>
        <p:spPr>
          <a:xfrm>
            <a:off x="6502400" y="4122738"/>
            <a:ext cx="5402263" cy="2417762"/>
          </a:xfrm>
        </p:spPr>
        <p:txBody>
          <a:bodyPr>
            <a:noAutofit/>
          </a:bodyPr>
          <a:lstStyle>
            <a:lvl1pPr>
              <a:defRPr lang="en-US" sz="1600" kern="1200" dirty="0" smtClean="0">
                <a:solidFill>
                  <a:schemeClr val="bg1"/>
                </a:solidFill>
                <a:latin typeface="+mn-lt"/>
                <a:ea typeface="+mn-ea"/>
                <a:cs typeface="+mn-cs"/>
              </a:defRPr>
            </a:lvl1pPr>
            <a:lvl2pPr>
              <a:defRPr lang="en-US" sz="1600" kern="1200" dirty="0" smtClean="0">
                <a:solidFill>
                  <a:schemeClr val="bg1"/>
                </a:solidFill>
                <a:latin typeface="+mn-lt"/>
                <a:ea typeface="+mn-ea"/>
                <a:cs typeface="+mn-cs"/>
              </a:defRPr>
            </a:lvl2pPr>
            <a:lvl3pPr>
              <a:defRPr lang="en-US" sz="1600" kern="1200" dirty="0" smtClean="0">
                <a:solidFill>
                  <a:schemeClr val="bg1"/>
                </a:solidFill>
                <a:latin typeface="+mn-lt"/>
                <a:ea typeface="+mn-ea"/>
                <a:cs typeface="+mn-cs"/>
              </a:defRPr>
            </a:lvl3pPr>
            <a:lvl4pPr>
              <a:defRPr lang="en-US" sz="1600" kern="1200" dirty="0" smtClean="0">
                <a:solidFill>
                  <a:schemeClr val="bg1"/>
                </a:solidFill>
                <a:latin typeface="+mn-lt"/>
                <a:ea typeface="+mn-ea"/>
                <a:cs typeface="+mn-cs"/>
              </a:defRPr>
            </a:lvl4pPr>
            <a:lvl5pPr>
              <a:defRPr lang="en-US" sz="1600" kern="1200" dirty="0">
                <a:solidFill>
                  <a:schemeClr val="bg1"/>
                </a:solidFill>
                <a:latin typeface="+mn-lt"/>
                <a:ea typeface="+mn-ea"/>
                <a:cs typeface="+mn-cs"/>
              </a:defRPr>
            </a:lvl5pPr>
          </a:lstStyle>
          <a:p>
            <a:pPr lvl="0"/>
            <a:r>
              <a:rPr lang="en-US"/>
              <a:t>Edit Master text styles</a:t>
            </a:r>
          </a:p>
        </p:txBody>
      </p:sp>
      <p:sp>
        <p:nvSpPr>
          <p:cNvPr id="7" name="Text Placeholder 6"/>
          <p:cNvSpPr>
            <a:spLocks noGrp="1"/>
          </p:cNvSpPr>
          <p:nvPr>
            <p:ph type="body" sz="quarter" idx="17"/>
          </p:nvPr>
        </p:nvSpPr>
        <p:spPr>
          <a:xfrm>
            <a:off x="423333" y="4122738"/>
            <a:ext cx="5791730" cy="2074862"/>
          </a:xfrm>
        </p:spPr>
        <p:txBody>
          <a:bodyPr>
            <a:noAutofit/>
          </a:bodyPr>
          <a:lstStyle>
            <a:lvl1pPr>
              <a:defRPr sz="2000"/>
            </a:lvl1pPr>
            <a:lvl2pPr marL="0" indent="0">
              <a:buNone/>
              <a:defRPr sz="1400"/>
            </a:lvl2pPr>
            <a:lvl3pPr marL="0" indent="0">
              <a:buNone/>
              <a:defRPr/>
            </a:lvl3pPr>
            <a:lvl4pPr marL="0" indent="0">
              <a:buNone/>
              <a:defRPr/>
            </a:lvl4pPr>
            <a:lvl5pPr marL="0" indent="0">
              <a:buNone/>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072743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151" name="Freeform 95"/>
          <p:cNvSpPr/>
          <p:nvPr userDrawn="1"/>
        </p:nvSpPr>
        <p:spPr bwMode="auto">
          <a:xfrm>
            <a:off x="2775527" y="1796722"/>
            <a:ext cx="5098938" cy="2153444"/>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2" name="Freeform 95"/>
          <p:cNvSpPr/>
          <p:nvPr userDrawn="1"/>
        </p:nvSpPr>
        <p:spPr bwMode="auto">
          <a:xfrm>
            <a:off x="-8065" y="1796722"/>
            <a:ext cx="5098938" cy="2153444"/>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0" name="Rectangle 149"/>
          <p:cNvSpPr/>
          <p:nvPr userDrawn="1"/>
        </p:nvSpPr>
        <p:spPr bwMode="auto">
          <a:xfrm>
            <a:off x="0" y="3590599"/>
            <a:ext cx="6308333" cy="32674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2" name="Title 1"/>
          <p:cNvSpPr>
            <a:spLocks noGrp="1"/>
          </p:cNvSpPr>
          <p:nvPr>
            <p:ph type="title"/>
          </p:nvPr>
        </p:nvSpPr>
        <p:spPr>
          <a:xfrm>
            <a:off x="269240" y="222616"/>
            <a:ext cx="6039093" cy="899665"/>
          </a:xfrm>
        </p:spPr>
        <p:txBody>
          <a:bodyPr/>
          <a:lstStyle>
            <a:lvl1pPr>
              <a:defRPr sz="4000"/>
            </a:lvl1p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Rectangle 4"/>
          <p:cNvSpPr/>
          <p:nvPr userDrawn="1"/>
        </p:nvSpPr>
        <p:spPr bwMode="auto">
          <a:xfrm>
            <a:off x="6308333" y="0"/>
            <a:ext cx="5883667"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6" name="Text Placeholder 5"/>
          <p:cNvSpPr>
            <a:spLocks noGrp="1"/>
          </p:cNvSpPr>
          <p:nvPr>
            <p:ph type="body" sz="quarter" idx="13"/>
          </p:nvPr>
        </p:nvSpPr>
        <p:spPr>
          <a:xfrm>
            <a:off x="6502400" y="222251"/>
            <a:ext cx="5588000" cy="2289110"/>
          </a:xfrm>
        </p:spPr>
        <p:txBody>
          <a:bodyPr>
            <a:noAutofit/>
          </a:bodyPr>
          <a:lstStyle>
            <a:lvl1pPr>
              <a:spcBef>
                <a:spcPts val="0"/>
              </a:spcBef>
              <a:spcAft>
                <a:spcPts val="0"/>
              </a:spcAft>
              <a:defRPr sz="3200">
                <a:solidFill>
                  <a:srgbClr val="44B0FF"/>
                </a:solidFill>
                <a:latin typeface="+mj-lt"/>
              </a:defRPr>
            </a:lvl1pPr>
            <a:lvl2pPr marL="0" indent="0">
              <a:spcBef>
                <a:spcPts val="4200"/>
              </a:spcBef>
              <a:buNone/>
              <a:defRPr sz="1400">
                <a:solidFill>
                  <a:srgbClr val="44B0FF"/>
                </a:solidFill>
              </a:defRPr>
            </a:lvl2pPr>
          </a:lstStyle>
          <a:p>
            <a:pPr lvl="0"/>
            <a:r>
              <a:rPr lang="en-US"/>
              <a:t>Edit Master text styles</a:t>
            </a:r>
          </a:p>
          <a:p>
            <a:pPr lvl="1"/>
            <a:r>
              <a:rPr lang="en-US"/>
              <a:t>Master text styles</a:t>
            </a:r>
          </a:p>
        </p:txBody>
      </p:sp>
      <p:cxnSp>
        <p:nvCxnSpPr>
          <p:cNvPr id="11" name="Straight Connector 10"/>
          <p:cNvCxnSpPr/>
          <p:nvPr userDrawn="1"/>
        </p:nvCxnSpPr>
        <p:spPr>
          <a:xfrm>
            <a:off x="6308333" y="2694930"/>
            <a:ext cx="5595800" cy="0"/>
          </a:xfrm>
          <a:prstGeom prst="line">
            <a:avLst/>
          </a:prstGeom>
          <a:noFill/>
          <a:ln w="9525" cap="rnd" cmpd="sng" algn="ctr">
            <a:solidFill>
              <a:srgbClr val="008272"/>
            </a:solidFill>
            <a:prstDash val="solid"/>
            <a:headEnd type="none"/>
            <a:tailEnd type="oval"/>
          </a:ln>
          <a:effectLst/>
        </p:spPr>
      </p:cxnSp>
      <p:grpSp>
        <p:nvGrpSpPr>
          <p:cNvPr id="18" name="Group 17"/>
          <p:cNvGrpSpPr/>
          <p:nvPr userDrawn="1"/>
        </p:nvGrpSpPr>
        <p:grpSpPr>
          <a:xfrm>
            <a:off x="1038747" y="2511360"/>
            <a:ext cx="4256633" cy="1436827"/>
            <a:chOff x="2410358" y="1565024"/>
            <a:chExt cx="6870570" cy="2319162"/>
          </a:xfrm>
        </p:grpSpPr>
        <p:sp>
          <p:nvSpPr>
            <p:cNvPr id="19" name="Freeform: Shape 18"/>
            <p:cNvSpPr/>
            <p:nvPr/>
          </p:nvSpPr>
          <p:spPr bwMode="auto">
            <a:xfrm>
              <a:off x="2410358" y="1566420"/>
              <a:ext cx="6870570" cy="2035347"/>
            </a:xfrm>
            <a:custGeom>
              <a:avLst/>
              <a:gdLst>
                <a:gd name="connsiteX0" fmla="*/ 5996401 w 20349121"/>
                <a:gd name="connsiteY0" fmla="*/ 2228350 h 6061796"/>
                <a:gd name="connsiteX1" fmla="*/ 6899077 w 20349121"/>
                <a:gd name="connsiteY1" fmla="*/ 1700811 h 6061796"/>
                <a:gd name="connsiteX2" fmla="*/ 8212062 w 20349121"/>
                <a:gd name="connsiteY2" fmla="*/ 915365 h 6061796"/>
                <a:gd name="connsiteX3" fmla="*/ 9032677 w 20349121"/>
                <a:gd name="connsiteY3" fmla="*/ 528504 h 6061796"/>
                <a:gd name="connsiteX4" fmla="*/ 9079570 w 20349121"/>
                <a:gd name="connsiteY4" fmla="*/ 469888 h 6061796"/>
                <a:gd name="connsiteX5" fmla="*/ 9220247 w 20349121"/>
                <a:gd name="connsiteY5" fmla="*/ 411273 h 6061796"/>
                <a:gd name="connsiteX6" fmla="*/ 10005693 w 20349121"/>
                <a:gd name="connsiteY6" fmla="*/ 188534 h 6061796"/>
                <a:gd name="connsiteX7" fmla="*/ 11365570 w 20349121"/>
                <a:gd name="connsiteY7" fmla="*/ 47857 h 6061796"/>
                <a:gd name="connsiteX8" fmla="*/ 12948185 w 20349121"/>
                <a:gd name="connsiteY8" fmla="*/ 965 h 6061796"/>
                <a:gd name="connsiteX9" fmla="*/ 14565970 w 20349121"/>
                <a:gd name="connsiteY9" fmla="*/ 83027 h 6061796"/>
                <a:gd name="connsiteX10" fmla="*/ 16054801 w 20349121"/>
                <a:gd name="connsiteY10" fmla="*/ 165088 h 6061796"/>
                <a:gd name="connsiteX11" fmla="*/ 17496739 w 20349121"/>
                <a:gd name="connsiteY11" fmla="*/ 364381 h 6061796"/>
                <a:gd name="connsiteX12" fmla="*/ 18012554 w 20349121"/>
                <a:gd name="connsiteY12" fmla="*/ 481611 h 6061796"/>
                <a:gd name="connsiteX13" fmla="*/ 18352524 w 20349121"/>
                <a:gd name="connsiteY13" fmla="*/ 528504 h 6061796"/>
                <a:gd name="connsiteX14" fmla="*/ 18434585 w 20349121"/>
                <a:gd name="connsiteY14" fmla="*/ 575396 h 6061796"/>
                <a:gd name="connsiteX15" fmla="*/ 18469754 w 20349121"/>
                <a:gd name="connsiteY15" fmla="*/ 634011 h 6061796"/>
                <a:gd name="connsiteX16" fmla="*/ 18903508 w 20349121"/>
                <a:gd name="connsiteY16" fmla="*/ 1091211 h 6061796"/>
                <a:gd name="connsiteX17" fmla="*/ 19560001 w 20349121"/>
                <a:gd name="connsiteY17" fmla="*/ 1853211 h 6061796"/>
                <a:gd name="connsiteX18" fmla="*/ 19665508 w 20349121"/>
                <a:gd name="connsiteY18" fmla="*/ 1993888 h 6061796"/>
                <a:gd name="connsiteX19" fmla="*/ 19864801 w 20349121"/>
                <a:gd name="connsiteY19" fmla="*/ 2099396 h 6061796"/>
                <a:gd name="connsiteX20" fmla="*/ 19946862 w 20349121"/>
                <a:gd name="connsiteY20" fmla="*/ 2228350 h 6061796"/>
                <a:gd name="connsiteX21" fmla="*/ 19911693 w 20349121"/>
                <a:gd name="connsiteY21" fmla="*/ 2415919 h 6061796"/>
                <a:gd name="connsiteX22" fmla="*/ 19888247 w 20349121"/>
                <a:gd name="connsiteY22" fmla="*/ 2802781 h 6061796"/>
                <a:gd name="connsiteX23" fmla="*/ 19888247 w 20349121"/>
                <a:gd name="connsiteY23" fmla="*/ 3060688 h 6061796"/>
                <a:gd name="connsiteX24" fmla="*/ 19993754 w 20349121"/>
                <a:gd name="connsiteY24" fmla="*/ 3271704 h 6061796"/>
                <a:gd name="connsiteX25" fmla="*/ 19982031 w 20349121"/>
                <a:gd name="connsiteY25" fmla="*/ 3447550 h 6061796"/>
                <a:gd name="connsiteX26" fmla="*/ 19935139 w 20349121"/>
                <a:gd name="connsiteY26" fmla="*/ 3635119 h 6061796"/>
                <a:gd name="connsiteX27" fmla="*/ 20134431 w 20349121"/>
                <a:gd name="connsiteY27" fmla="*/ 3705457 h 6061796"/>
                <a:gd name="connsiteX28" fmla="*/ 20275108 w 20349121"/>
                <a:gd name="connsiteY28" fmla="*/ 3752350 h 6061796"/>
                <a:gd name="connsiteX29" fmla="*/ 20345447 w 20349121"/>
                <a:gd name="connsiteY29" fmla="*/ 3846134 h 6061796"/>
                <a:gd name="connsiteX30" fmla="*/ 20333724 w 20349121"/>
                <a:gd name="connsiteY30" fmla="*/ 4010257 h 6061796"/>
                <a:gd name="connsiteX31" fmla="*/ 20286831 w 20349121"/>
                <a:gd name="connsiteY31" fmla="*/ 4186104 h 6061796"/>
                <a:gd name="connsiteX32" fmla="*/ 20275108 w 20349121"/>
                <a:gd name="connsiteY32" fmla="*/ 4397119 h 6061796"/>
                <a:gd name="connsiteX33" fmla="*/ 20181324 w 20349121"/>
                <a:gd name="connsiteY33" fmla="*/ 4397119 h 6061796"/>
                <a:gd name="connsiteX34" fmla="*/ 20087539 w 20349121"/>
                <a:gd name="connsiteY34" fmla="*/ 4748811 h 6061796"/>
                <a:gd name="connsiteX35" fmla="*/ 20064093 w 20349121"/>
                <a:gd name="connsiteY35" fmla="*/ 5182565 h 6061796"/>
                <a:gd name="connsiteX36" fmla="*/ 20157877 w 20349121"/>
                <a:gd name="connsiteY36" fmla="*/ 5475642 h 6061796"/>
                <a:gd name="connsiteX37" fmla="*/ 20052370 w 20349121"/>
                <a:gd name="connsiteY37" fmla="*/ 5510811 h 6061796"/>
                <a:gd name="connsiteX38" fmla="*/ 19548277 w 20349121"/>
                <a:gd name="connsiteY38" fmla="*/ 5534257 h 6061796"/>
                <a:gd name="connsiteX39" fmla="*/ 19454493 w 20349121"/>
                <a:gd name="connsiteY39" fmla="*/ 5756996 h 6061796"/>
                <a:gd name="connsiteX40" fmla="*/ 19290370 w 20349121"/>
                <a:gd name="connsiteY40" fmla="*/ 5780442 h 6061796"/>
                <a:gd name="connsiteX41" fmla="*/ 18223570 w 20349121"/>
                <a:gd name="connsiteY41" fmla="*/ 5768719 h 6061796"/>
                <a:gd name="connsiteX42" fmla="*/ 18223570 w 20349121"/>
                <a:gd name="connsiteY42" fmla="*/ 5581150 h 6061796"/>
                <a:gd name="connsiteX43" fmla="*/ 17989108 w 20349121"/>
                <a:gd name="connsiteY43" fmla="*/ 4725365 h 6061796"/>
                <a:gd name="connsiteX44" fmla="*/ 17602247 w 20349121"/>
                <a:gd name="connsiteY44" fmla="*/ 4162657 h 6061796"/>
                <a:gd name="connsiteX45" fmla="*/ 17145047 w 20349121"/>
                <a:gd name="connsiteY45" fmla="*/ 3857857 h 6061796"/>
                <a:gd name="connsiteX46" fmla="*/ 16429939 w 20349121"/>
                <a:gd name="connsiteY46" fmla="*/ 3682011 h 6061796"/>
                <a:gd name="connsiteX47" fmla="*/ 15902401 w 20349121"/>
                <a:gd name="connsiteY47" fmla="*/ 3728904 h 6061796"/>
                <a:gd name="connsiteX48" fmla="*/ 15386585 w 20349121"/>
                <a:gd name="connsiteY48" fmla="*/ 3951642 h 6061796"/>
                <a:gd name="connsiteX49" fmla="*/ 14964554 w 20349121"/>
                <a:gd name="connsiteY49" fmla="*/ 4397119 h 6061796"/>
                <a:gd name="connsiteX50" fmla="*/ 14636308 w 20349121"/>
                <a:gd name="connsiteY50" fmla="*/ 4912934 h 6061796"/>
                <a:gd name="connsiteX51" fmla="*/ 14542524 w 20349121"/>
                <a:gd name="connsiteY51" fmla="*/ 5393581 h 6061796"/>
                <a:gd name="connsiteX52" fmla="*/ 14542524 w 20349121"/>
                <a:gd name="connsiteY52" fmla="*/ 5768719 h 6061796"/>
                <a:gd name="connsiteX53" fmla="*/ 14554247 w 20349121"/>
                <a:gd name="connsiteY53" fmla="*/ 5991457 h 6061796"/>
                <a:gd name="connsiteX54" fmla="*/ 14472185 w 20349121"/>
                <a:gd name="connsiteY54" fmla="*/ 6014904 h 6061796"/>
                <a:gd name="connsiteX55" fmla="*/ 14073601 w 20349121"/>
                <a:gd name="connsiteY55" fmla="*/ 6014904 h 6061796"/>
                <a:gd name="connsiteX56" fmla="*/ 11693816 w 20349121"/>
                <a:gd name="connsiteY56" fmla="*/ 6038350 h 6061796"/>
                <a:gd name="connsiteX57" fmla="*/ 5457139 w 20349121"/>
                <a:gd name="connsiteY57" fmla="*/ 6061796 h 6061796"/>
                <a:gd name="connsiteX58" fmla="*/ 5328185 w 20349121"/>
                <a:gd name="connsiteY58" fmla="*/ 6003181 h 6061796"/>
                <a:gd name="connsiteX59" fmla="*/ 5351631 w 20349121"/>
                <a:gd name="connsiteY59" fmla="*/ 5604596 h 6061796"/>
                <a:gd name="connsiteX60" fmla="*/ 5222677 w 20349121"/>
                <a:gd name="connsiteY60" fmla="*/ 4678473 h 6061796"/>
                <a:gd name="connsiteX61" fmla="*/ 4554462 w 20349121"/>
                <a:gd name="connsiteY61" fmla="*/ 3881304 h 6061796"/>
                <a:gd name="connsiteX62" fmla="*/ 3804185 w 20349121"/>
                <a:gd name="connsiteY62" fmla="*/ 3635119 h 6061796"/>
                <a:gd name="connsiteX63" fmla="*/ 2995293 w 20349121"/>
                <a:gd name="connsiteY63" fmla="*/ 3693734 h 6061796"/>
                <a:gd name="connsiteX64" fmla="*/ 2432585 w 20349121"/>
                <a:gd name="connsiteY64" fmla="*/ 3975088 h 6061796"/>
                <a:gd name="connsiteX65" fmla="*/ 1987108 w 20349121"/>
                <a:gd name="connsiteY65" fmla="*/ 4584688 h 6061796"/>
                <a:gd name="connsiteX66" fmla="*/ 1799539 w 20349121"/>
                <a:gd name="connsiteY66" fmla="*/ 5159119 h 6061796"/>
                <a:gd name="connsiteX67" fmla="*/ 1787816 w 20349121"/>
                <a:gd name="connsiteY67" fmla="*/ 5745273 h 6061796"/>
                <a:gd name="connsiteX68" fmla="*/ 1776093 w 20349121"/>
                <a:gd name="connsiteY68" fmla="*/ 5944565 h 6061796"/>
                <a:gd name="connsiteX69" fmla="*/ 1647139 w 20349121"/>
                <a:gd name="connsiteY69" fmla="*/ 5956288 h 6061796"/>
                <a:gd name="connsiteX70" fmla="*/ 709293 w 20349121"/>
                <a:gd name="connsiteY70" fmla="*/ 5932842 h 6061796"/>
                <a:gd name="connsiteX71" fmla="*/ 556893 w 20349121"/>
                <a:gd name="connsiteY71" fmla="*/ 5909396 h 6061796"/>
                <a:gd name="connsiteX72" fmla="*/ 474831 w 20349121"/>
                <a:gd name="connsiteY72" fmla="*/ 5803888 h 6061796"/>
                <a:gd name="connsiteX73" fmla="*/ 404493 w 20349121"/>
                <a:gd name="connsiteY73" fmla="*/ 5745273 h 6061796"/>
                <a:gd name="connsiteX74" fmla="*/ 263816 w 20349121"/>
                <a:gd name="connsiteY74" fmla="*/ 5581150 h 6061796"/>
                <a:gd name="connsiteX75" fmla="*/ 404493 w 20349121"/>
                <a:gd name="connsiteY75" fmla="*/ 5534257 h 6061796"/>
                <a:gd name="connsiteX76" fmla="*/ 334154 w 20349121"/>
                <a:gd name="connsiteY76" fmla="*/ 5428750 h 6061796"/>
                <a:gd name="connsiteX77" fmla="*/ 240370 w 20349121"/>
                <a:gd name="connsiteY77" fmla="*/ 5030165 h 6061796"/>
                <a:gd name="connsiteX78" fmla="*/ 205201 w 20349121"/>
                <a:gd name="connsiteY78" fmla="*/ 4983273 h 6061796"/>
                <a:gd name="connsiteX79" fmla="*/ 76247 w 20349121"/>
                <a:gd name="connsiteY79" fmla="*/ 4971550 h 6061796"/>
                <a:gd name="connsiteX80" fmla="*/ 52801 w 20349121"/>
                <a:gd name="connsiteY80" fmla="*/ 4842596 h 6061796"/>
                <a:gd name="connsiteX81" fmla="*/ 5908 w 20349121"/>
                <a:gd name="connsiteY81" fmla="*/ 4385396 h 6061796"/>
                <a:gd name="connsiteX82" fmla="*/ 17631 w 20349121"/>
                <a:gd name="connsiteY82" fmla="*/ 4315057 h 6061796"/>
                <a:gd name="connsiteX83" fmla="*/ 158308 w 20349121"/>
                <a:gd name="connsiteY83" fmla="*/ 4279888 h 6061796"/>
                <a:gd name="connsiteX84" fmla="*/ 240370 w 20349121"/>
                <a:gd name="connsiteY84" fmla="*/ 4150934 h 6061796"/>
                <a:gd name="connsiteX85" fmla="*/ 205201 w 20349121"/>
                <a:gd name="connsiteY85" fmla="*/ 3963365 h 6061796"/>
                <a:gd name="connsiteX86" fmla="*/ 193477 w 20349121"/>
                <a:gd name="connsiteY86" fmla="*/ 3623396 h 6061796"/>
                <a:gd name="connsiteX87" fmla="*/ 357601 w 20349121"/>
                <a:gd name="connsiteY87" fmla="*/ 3283427 h 6061796"/>
                <a:gd name="connsiteX88" fmla="*/ 1154770 w 20349121"/>
                <a:gd name="connsiteY88" fmla="*/ 2861396 h 6061796"/>
                <a:gd name="connsiteX89" fmla="*/ 2104339 w 20349121"/>
                <a:gd name="connsiteY89" fmla="*/ 2626934 h 6061796"/>
                <a:gd name="connsiteX90" fmla="*/ 3780739 w 20349121"/>
                <a:gd name="connsiteY90" fmla="*/ 2333857 h 6061796"/>
                <a:gd name="connsiteX91" fmla="*/ 5199231 w 20349121"/>
                <a:gd name="connsiteY91" fmla="*/ 2169734 h 6061796"/>
                <a:gd name="connsiteX92" fmla="*/ 5574370 w 20349121"/>
                <a:gd name="connsiteY92" fmla="*/ 2146288 h 6061796"/>
                <a:gd name="connsiteX93" fmla="*/ 5726770 w 20349121"/>
                <a:gd name="connsiteY93" fmla="*/ 2158011 h 6061796"/>
                <a:gd name="connsiteX94" fmla="*/ 5937785 w 20349121"/>
                <a:gd name="connsiteY94" fmla="*/ 2251796 h 6061796"/>
                <a:gd name="connsiteX95" fmla="*/ 5996401 w 20349121"/>
                <a:gd name="connsiteY95" fmla="*/ 2228350 h 6061796"/>
                <a:gd name="connsiteX0" fmla="*/ 5996401 w 20349121"/>
                <a:gd name="connsiteY0" fmla="*/ 2228350 h 6045759"/>
                <a:gd name="connsiteX1" fmla="*/ 6899077 w 20349121"/>
                <a:gd name="connsiteY1" fmla="*/ 1700811 h 6045759"/>
                <a:gd name="connsiteX2" fmla="*/ 8212062 w 20349121"/>
                <a:gd name="connsiteY2" fmla="*/ 915365 h 6045759"/>
                <a:gd name="connsiteX3" fmla="*/ 9032677 w 20349121"/>
                <a:gd name="connsiteY3" fmla="*/ 528504 h 6045759"/>
                <a:gd name="connsiteX4" fmla="*/ 9079570 w 20349121"/>
                <a:gd name="connsiteY4" fmla="*/ 469888 h 6045759"/>
                <a:gd name="connsiteX5" fmla="*/ 9220247 w 20349121"/>
                <a:gd name="connsiteY5" fmla="*/ 411273 h 6045759"/>
                <a:gd name="connsiteX6" fmla="*/ 10005693 w 20349121"/>
                <a:gd name="connsiteY6" fmla="*/ 188534 h 6045759"/>
                <a:gd name="connsiteX7" fmla="*/ 11365570 w 20349121"/>
                <a:gd name="connsiteY7" fmla="*/ 47857 h 6045759"/>
                <a:gd name="connsiteX8" fmla="*/ 12948185 w 20349121"/>
                <a:gd name="connsiteY8" fmla="*/ 965 h 6045759"/>
                <a:gd name="connsiteX9" fmla="*/ 14565970 w 20349121"/>
                <a:gd name="connsiteY9" fmla="*/ 83027 h 6045759"/>
                <a:gd name="connsiteX10" fmla="*/ 16054801 w 20349121"/>
                <a:gd name="connsiteY10" fmla="*/ 165088 h 6045759"/>
                <a:gd name="connsiteX11" fmla="*/ 17496739 w 20349121"/>
                <a:gd name="connsiteY11" fmla="*/ 364381 h 6045759"/>
                <a:gd name="connsiteX12" fmla="*/ 18012554 w 20349121"/>
                <a:gd name="connsiteY12" fmla="*/ 481611 h 6045759"/>
                <a:gd name="connsiteX13" fmla="*/ 18352524 w 20349121"/>
                <a:gd name="connsiteY13" fmla="*/ 528504 h 6045759"/>
                <a:gd name="connsiteX14" fmla="*/ 18434585 w 20349121"/>
                <a:gd name="connsiteY14" fmla="*/ 575396 h 6045759"/>
                <a:gd name="connsiteX15" fmla="*/ 18469754 w 20349121"/>
                <a:gd name="connsiteY15" fmla="*/ 634011 h 6045759"/>
                <a:gd name="connsiteX16" fmla="*/ 18903508 w 20349121"/>
                <a:gd name="connsiteY16" fmla="*/ 1091211 h 6045759"/>
                <a:gd name="connsiteX17" fmla="*/ 19560001 w 20349121"/>
                <a:gd name="connsiteY17" fmla="*/ 1853211 h 6045759"/>
                <a:gd name="connsiteX18" fmla="*/ 19665508 w 20349121"/>
                <a:gd name="connsiteY18" fmla="*/ 1993888 h 6045759"/>
                <a:gd name="connsiteX19" fmla="*/ 19864801 w 20349121"/>
                <a:gd name="connsiteY19" fmla="*/ 2099396 h 6045759"/>
                <a:gd name="connsiteX20" fmla="*/ 19946862 w 20349121"/>
                <a:gd name="connsiteY20" fmla="*/ 2228350 h 6045759"/>
                <a:gd name="connsiteX21" fmla="*/ 19911693 w 20349121"/>
                <a:gd name="connsiteY21" fmla="*/ 2415919 h 6045759"/>
                <a:gd name="connsiteX22" fmla="*/ 19888247 w 20349121"/>
                <a:gd name="connsiteY22" fmla="*/ 2802781 h 6045759"/>
                <a:gd name="connsiteX23" fmla="*/ 19888247 w 20349121"/>
                <a:gd name="connsiteY23" fmla="*/ 3060688 h 6045759"/>
                <a:gd name="connsiteX24" fmla="*/ 19993754 w 20349121"/>
                <a:gd name="connsiteY24" fmla="*/ 3271704 h 6045759"/>
                <a:gd name="connsiteX25" fmla="*/ 19982031 w 20349121"/>
                <a:gd name="connsiteY25" fmla="*/ 3447550 h 6045759"/>
                <a:gd name="connsiteX26" fmla="*/ 19935139 w 20349121"/>
                <a:gd name="connsiteY26" fmla="*/ 3635119 h 6045759"/>
                <a:gd name="connsiteX27" fmla="*/ 20134431 w 20349121"/>
                <a:gd name="connsiteY27" fmla="*/ 3705457 h 6045759"/>
                <a:gd name="connsiteX28" fmla="*/ 20275108 w 20349121"/>
                <a:gd name="connsiteY28" fmla="*/ 3752350 h 6045759"/>
                <a:gd name="connsiteX29" fmla="*/ 20345447 w 20349121"/>
                <a:gd name="connsiteY29" fmla="*/ 3846134 h 6045759"/>
                <a:gd name="connsiteX30" fmla="*/ 20333724 w 20349121"/>
                <a:gd name="connsiteY30" fmla="*/ 4010257 h 6045759"/>
                <a:gd name="connsiteX31" fmla="*/ 20286831 w 20349121"/>
                <a:gd name="connsiteY31" fmla="*/ 4186104 h 6045759"/>
                <a:gd name="connsiteX32" fmla="*/ 20275108 w 20349121"/>
                <a:gd name="connsiteY32" fmla="*/ 4397119 h 6045759"/>
                <a:gd name="connsiteX33" fmla="*/ 20181324 w 20349121"/>
                <a:gd name="connsiteY33" fmla="*/ 4397119 h 6045759"/>
                <a:gd name="connsiteX34" fmla="*/ 20087539 w 20349121"/>
                <a:gd name="connsiteY34" fmla="*/ 4748811 h 6045759"/>
                <a:gd name="connsiteX35" fmla="*/ 20064093 w 20349121"/>
                <a:gd name="connsiteY35" fmla="*/ 5182565 h 6045759"/>
                <a:gd name="connsiteX36" fmla="*/ 20157877 w 20349121"/>
                <a:gd name="connsiteY36" fmla="*/ 5475642 h 6045759"/>
                <a:gd name="connsiteX37" fmla="*/ 20052370 w 20349121"/>
                <a:gd name="connsiteY37" fmla="*/ 5510811 h 6045759"/>
                <a:gd name="connsiteX38" fmla="*/ 19548277 w 20349121"/>
                <a:gd name="connsiteY38" fmla="*/ 5534257 h 6045759"/>
                <a:gd name="connsiteX39" fmla="*/ 19454493 w 20349121"/>
                <a:gd name="connsiteY39" fmla="*/ 5756996 h 6045759"/>
                <a:gd name="connsiteX40" fmla="*/ 19290370 w 20349121"/>
                <a:gd name="connsiteY40" fmla="*/ 5780442 h 6045759"/>
                <a:gd name="connsiteX41" fmla="*/ 18223570 w 20349121"/>
                <a:gd name="connsiteY41" fmla="*/ 5768719 h 6045759"/>
                <a:gd name="connsiteX42" fmla="*/ 18223570 w 20349121"/>
                <a:gd name="connsiteY42" fmla="*/ 5581150 h 6045759"/>
                <a:gd name="connsiteX43" fmla="*/ 17989108 w 20349121"/>
                <a:gd name="connsiteY43" fmla="*/ 4725365 h 6045759"/>
                <a:gd name="connsiteX44" fmla="*/ 17602247 w 20349121"/>
                <a:gd name="connsiteY44" fmla="*/ 4162657 h 6045759"/>
                <a:gd name="connsiteX45" fmla="*/ 17145047 w 20349121"/>
                <a:gd name="connsiteY45" fmla="*/ 3857857 h 6045759"/>
                <a:gd name="connsiteX46" fmla="*/ 16429939 w 20349121"/>
                <a:gd name="connsiteY46" fmla="*/ 3682011 h 6045759"/>
                <a:gd name="connsiteX47" fmla="*/ 15902401 w 20349121"/>
                <a:gd name="connsiteY47" fmla="*/ 3728904 h 6045759"/>
                <a:gd name="connsiteX48" fmla="*/ 15386585 w 20349121"/>
                <a:gd name="connsiteY48" fmla="*/ 3951642 h 6045759"/>
                <a:gd name="connsiteX49" fmla="*/ 14964554 w 20349121"/>
                <a:gd name="connsiteY49" fmla="*/ 4397119 h 6045759"/>
                <a:gd name="connsiteX50" fmla="*/ 14636308 w 20349121"/>
                <a:gd name="connsiteY50" fmla="*/ 4912934 h 6045759"/>
                <a:gd name="connsiteX51" fmla="*/ 14542524 w 20349121"/>
                <a:gd name="connsiteY51" fmla="*/ 5393581 h 6045759"/>
                <a:gd name="connsiteX52" fmla="*/ 14542524 w 20349121"/>
                <a:gd name="connsiteY52" fmla="*/ 5768719 h 6045759"/>
                <a:gd name="connsiteX53" fmla="*/ 14554247 w 20349121"/>
                <a:gd name="connsiteY53" fmla="*/ 5991457 h 6045759"/>
                <a:gd name="connsiteX54" fmla="*/ 14472185 w 20349121"/>
                <a:gd name="connsiteY54" fmla="*/ 6014904 h 6045759"/>
                <a:gd name="connsiteX55" fmla="*/ 14073601 w 20349121"/>
                <a:gd name="connsiteY55" fmla="*/ 6014904 h 6045759"/>
                <a:gd name="connsiteX56" fmla="*/ 11693816 w 20349121"/>
                <a:gd name="connsiteY56" fmla="*/ 6038350 h 6045759"/>
                <a:gd name="connsiteX57" fmla="*/ 7121816 w 20349121"/>
                <a:gd name="connsiteY57" fmla="*/ 6038350 h 6045759"/>
                <a:gd name="connsiteX58" fmla="*/ 5328185 w 20349121"/>
                <a:gd name="connsiteY58" fmla="*/ 6003181 h 6045759"/>
                <a:gd name="connsiteX59" fmla="*/ 5351631 w 20349121"/>
                <a:gd name="connsiteY59" fmla="*/ 5604596 h 6045759"/>
                <a:gd name="connsiteX60" fmla="*/ 5222677 w 20349121"/>
                <a:gd name="connsiteY60" fmla="*/ 4678473 h 6045759"/>
                <a:gd name="connsiteX61" fmla="*/ 4554462 w 20349121"/>
                <a:gd name="connsiteY61" fmla="*/ 3881304 h 6045759"/>
                <a:gd name="connsiteX62" fmla="*/ 3804185 w 20349121"/>
                <a:gd name="connsiteY62" fmla="*/ 3635119 h 6045759"/>
                <a:gd name="connsiteX63" fmla="*/ 2995293 w 20349121"/>
                <a:gd name="connsiteY63" fmla="*/ 3693734 h 6045759"/>
                <a:gd name="connsiteX64" fmla="*/ 2432585 w 20349121"/>
                <a:gd name="connsiteY64" fmla="*/ 3975088 h 6045759"/>
                <a:gd name="connsiteX65" fmla="*/ 1987108 w 20349121"/>
                <a:gd name="connsiteY65" fmla="*/ 4584688 h 6045759"/>
                <a:gd name="connsiteX66" fmla="*/ 1799539 w 20349121"/>
                <a:gd name="connsiteY66" fmla="*/ 5159119 h 6045759"/>
                <a:gd name="connsiteX67" fmla="*/ 1787816 w 20349121"/>
                <a:gd name="connsiteY67" fmla="*/ 5745273 h 6045759"/>
                <a:gd name="connsiteX68" fmla="*/ 1776093 w 20349121"/>
                <a:gd name="connsiteY68" fmla="*/ 5944565 h 6045759"/>
                <a:gd name="connsiteX69" fmla="*/ 1647139 w 20349121"/>
                <a:gd name="connsiteY69" fmla="*/ 5956288 h 6045759"/>
                <a:gd name="connsiteX70" fmla="*/ 709293 w 20349121"/>
                <a:gd name="connsiteY70" fmla="*/ 5932842 h 6045759"/>
                <a:gd name="connsiteX71" fmla="*/ 556893 w 20349121"/>
                <a:gd name="connsiteY71" fmla="*/ 5909396 h 6045759"/>
                <a:gd name="connsiteX72" fmla="*/ 474831 w 20349121"/>
                <a:gd name="connsiteY72" fmla="*/ 5803888 h 6045759"/>
                <a:gd name="connsiteX73" fmla="*/ 404493 w 20349121"/>
                <a:gd name="connsiteY73" fmla="*/ 5745273 h 6045759"/>
                <a:gd name="connsiteX74" fmla="*/ 263816 w 20349121"/>
                <a:gd name="connsiteY74" fmla="*/ 5581150 h 6045759"/>
                <a:gd name="connsiteX75" fmla="*/ 404493 w 20349121"/>
                <a:gd name="connsiteY75" fmla="*/ 5534257 h 6045759"/>
                <a:gd name="connsiteX76" fmla="*/ 334154 w 20349121"/>
                <a:gd name="connsiteY76" fmla="*/ 5428750 h 6045759"/>
                <a:gd name="connsiteX77" fmla="*/ 240370 w 20349121"/>
                <a:gd name="connsiteY77" fmla="*/ 5030165 h 6045759"/>
                <a:gd name="connsiteX78" fmla="*/ 205201 w 20349121"/>
                <a:gd name="connsiteY78" fmla="*/ 4983273 h 6045759"/>
                <a:gd name="connsiteX79" fmla="*/ 76247 w 20349121"/>
                <a:gd name="connsiteY79" fmla="*/ 4971550 h 6045759"/>
                <a:gd name="connsiteX80" fmla="*/ 52801 w 20349121"/>
                <a:gd name="connsiteY80" fmla="*/ 4842596 h 6045759"/>
                <a:gd name="connsiteX81" fmla="*/ 5908 w 20349121"/>
                <a:gd name="connsiteY81" fmla="*/ 4385396 h 6045759"/>
                <a:gd name="connsiteX82" fmla="*/ 17631 w 20349121"/>
                <a:gd name="connsiteY82" fmla="*/ 4315057 h 6045759"/>
                <a:gd name="connsiteX83" fmla="*/ 158308 w 20349121"/>
                <a:gd name="connsiteY83" fmla="*/ 4279888 h 6045759"/>
                <a:gd name="connsiteX84" fmla="*/ 240370 w 20349121"/>
                <a:gd name="connsiteY84" fmla="*/ 4150934 h 6045759"/>
                <a:gd name="connsiteX85" fmla="*/ 205201 w 20349121"/>
                <a:gd name="connsiteY85" fmla="*/ 3963365 h 6045759"/>
                <a:gd name="connsiteX86" fmla="*/ 193477 w 20349121"/>
                <a:gd name="connsiteY86" fmla="*/ 3623396 h 6045759"/>
                <a:gd name="connsiteX87" fmla="*/ 357601 w 20349121"/>
                <a:gd name="connsiteY87" fmla="*/ 3283427 h 6045759"/>
                <a:gd name="connsiteX88" fmla="*/ 1154770 w 20349121"/>
                <a:gd name="connsiteY88" fmla="*/ 2861396 h 6045759"/>
                <a:gd name="connsiteX89" fmla="*/ 2104339 w 20349121"/>
                <a:gd name="connsiteY89" fmla="*/ 2626934 h 6045759"/>
                <a:gd name="connsiteX90" fmla="*/ 3780739 w 20349121"/>
                <a:gd name="connsiteY90" fmla="*/ 2333857 h 6045759"/>
                <a:gd name="connsiteX91" fmla="*/ 5199231 w 20349121"/>
                <a:gd name="connsiteY91" fmla="*/ 2169734 h 6045759"/>
                <a:gd name="connsiteX92" fmla="*/ 5574370 w 20349121"/>
                <a:gd name="connsiteY92" fmla="*/ 2146288 h 6045759"/>
                <a:gd name="connsiteX93" fmla="*/ 5726770 w 20349121"/>
                <a:gd name="connsiteY93" fmla="*/ 2158011 h 6045759"/>
                <a:gd name="connsiteX94" fmla="*/ 5937785 w 20349121"/>
                <a:gd name="connsiteY94" fmla="*/ 2251796 h 6045759"/>
                <a:gd name="connsiteX95" fmla="*/ 5996401 w 20349121"/>
                <a:gd name="connsiteY95" fmla="*/ 2228350 h 6045759"/>
                <a:gd name="connsiteX0" fmla="*/ 5996401 w 20349121"/>
                <a:gd name="connsiteY0" fmla="*/ 2228350 h 6080632"/>
                <a:gd name="connsiteX1" fmla="*/ 6899077 w 20349121"/>
                <a:gd name="connsiteY1" fmla="*/ 1700811 h 6080632"/>
                <a:gd name="connsiteX2" fmla="*/ 8212062 w 20349121"/>
                <a:gd name="connsiteY2" fmla="*/ 915365 h 6080632"/>
                <a:gd name="connsiteX3" fmla="*/ 9032677 w 20349121"/>
                <a:gd name="connsiteY3" fmla="*/ 528504 h 6080632"/>
                <a:gd name="connsiteX4" fmla="*/ 9079570 w 20349121"/>
                <a:gd name="connsiteY4" fmla="*/ 469888 h 6080632"/>
                <a:gd name="connsiteX5" fmla="*/ 9220247 w 20349121"/>
                <a:gd name="connsiteY5" fmla="*/ 411273 h 6080632"/>
                <a:gd name="connsiteX6" fmla="*/ 10005693 w 20349121"/>
                <a:gd name="connsiteY6" fmla="*/ 188534 h 6080632"/>
                <a:gd name="connsiteX7" fmla="*/ 11365570 w 20349121"/>
                <a:gd name="connsiteY7" fmla="*/ 47857 h 6080632"/>
                <a:gd name="connsiteX8" fmla="*/ 12948185 w 20349121"/>
                <a:gd name="connsiteY8" fmla="*/ 965 h 6080632"/>
                <a:gd name="connsiteX9" fmla="*/ 14565970 w 20349121"/>
                <a:gd name="connsiteY9" fmla="*/ 83027 h 6080632"/>
                <a:gd name="connsiteX10" fmla="*/ 16054801 w 20349121"/>
                <a:gd name="connsiteY10" fmla="*/ 165088 h 6080632"/>
                <a:gd name="connsiteX11" fmla="*/ 17496739 w 20349121"/>
                <a:gd name="connsiteY11" fmla="*/ 364381 h 6080632"/>
                <a:gd name="connsiteX12" fmla="*/ 18012554 w 20349121"/>
                <a:gd name="connsiteY12" fmla="*/ 481611 h 6080632"/>
                <a:gd name="connsiteX13" fmla="*/ 18352524 w 20349121"/>
                <a:gd name="connsiteY13" fmla="*/ 528504 h 6080632"/>
                <a:gd name="connsiteX14" fmla="*/ 18434585 w 20349121"/>
                <a:gd name="connsiteY14" fmla="*/ 575396 h 6080632"/>
                <a:gd name="connsiteX15" fmla="*/ 18469754 w 20349121"/>
                <a:gd name="connsiteY15" fmla="*/ 634011 h 6080632"/>
                <a:gd name="connsiteX16" fmla="*/ 18903508 w 20349121"/>
                <a:gd name="connsiteY16" fmla="*/ 1091211 h 6080632"/>
                <a:gd name="connsiteX17" fmla="*/ 19560001 w 20349121"/>
                <a:gd name="connsiteY17" fmla="*/ 1853211 h 6080632"/>
                <a:gd name="connsiteX18" fmla="*/ 19665508 w 20349121"/>
                <a:gd name="connsiteY18" fmla="*/ 1993888 h 6080632"/>
                <a:gd name="connsiteX19" fmla="*/ 19864801 w 20349121"/>
                <a:gd name="connsiteY19" fmla="*/ 2099396 h 6080632"/>
                <a:gd name="connsiteX20" fmla="*/ 19946862 w 20349121"/>
                <a:gd name="connsiteY20" fmla="*/ 2228350 h 6080632"/>
                <a:gd name="connsiteX21" fmla="*/ 19911693 w 20349121"/>
                <a:gd name="connsiteY21" fmla="*/ 2415919 h 6080632"/>
                <a:gd name="connsiteX22" fmla="*/ 19888247 w 20349121"/>
                <a:gd name="connsiteY22" fmla="*/ 2802781 h 6080632"/>
                <a:gd name="connsiteX23" fmla="*/ 19888247 w 20349121"/>
                <a:gd name="connsiteY23" fmla="*/ 3060688 h 6080632"/>
                <a:gd name="connsiteX24" fmla="*/ 19993754 w 20349121"/>
                <a:gd name="connsiteY24" fmla="*/ 3271704 h 6080632"/>
                <a:gd name="connsiteX25" fmla="*/ 19982031 w 20349121"/>
                <a:gd name="connsiteY25" fmla="*/ 3447550 h 6080632"/>
                <a:gd name="connsiteX26" fmla="*/ 19935139 w 20349121"/>
                <a:gd name="connsiteY26" fmla="*/ 3635119 h 6080632"/>
                <a:gd name="connsiteX27" fmla="*/ 20134431 w 20349121"/>
                <a:gd name="connsiteY27" fmla="*/ 3705457 h 6080632"/>
                <a:gd name="connsiteX28" fmla="*/ 20275108 w 20349121"/>
                <a:gd name="connsiteY28" fmla="*/ 3752350 h 6080632"/>
                <a:gd name="connsiteX29" fmla="*/ 20345447 w 20349121"/>
                <a:gd name="connsiteY29" fmla="*/ 3846134 h 6080632"/>
                <a:gd name="connsiteX30" fmla="*/ 20333724 w 20349121"/>
                <a:gd name="connsiteY30" fmla="*/ 4010257 h 6080632"/>
                <a:gd name="connsiteX31" fmla="*/ 20286831 w 20349121"/>
                <a:gd name="connsiteY31" fmla="*/ 4186104 h 6080632"/>
                <a:gd name="connsiteX32" fmla="*/ 20275108 w 20349121"/>
                <a:gd name="connsiteY32" fmla="*/ 4397119 h 6080632"/>
                <a:gd name="connsiteX33" fmla="*/ 20181324 w 20349121"/>
                <a:gd name="connsiteY33" fmla="*/ 4397119 h 6080632"/>
                <a:gd name="connsiteX34" fmla="*/ 20087539 w 20349121"/>
                <a:gd name="connsiteY34" fmla="*/ 4748811 h 6080632"/>
                <a:gd name="connsiteX35" fmla="*/ 20064093 w 20349121"/>
                <a:gd name="connsiteY35" fmla="*/ 5182565 h 6080632"/>
                <a:gd name="connsiteX36" fmla="*/ 20157877 w 20349121"/>
                <a:gd name="connsiteY36" fmla="*/ 5475642 h 6080632"/>
                <a:gd name="connsiteX37" fmla="*/ 20052370 w 20349121"/>
                <a:gd name="connsiteY37" fmla="*/ 5510811 h 6080632"/>
                <a:gd name="connsiteX38" fmla="*/ 19548277 w 20349121"/>
                <a:gd name="connsiteY38" fmla="*/ 5534257 h 6080632"/>
                <a:gd name="connsiteX39" fmla="*/ 19454493 w 20349121"/>
                <a:gd name="connsiteY39" fmla="*/ 5756996 h 6080632"/>
                <a:gd name="connsiteX40" fmla="*/ 19290370 w 20349121"/>
                <a:gd name="connsiteY40" fmla="*/ 5780442 h 6080632"/>
                <a:gd name="connsiteX41" fmla="*/ 18223570 w 20349121"/>
                <a:gd name="connsiteY41" fmla="*/ 5768719 h 6080632"/>
                <a:gd name="connsiteX42" fmla="*/ 18223570 w 20349121"/>
                <a:gd name="connsiteY42" fmla="*/ 5581150 h 6080632"/>
                <a:gd name="connsiteX43" fmla="*/ 17989108 w 20349121"/>
                <a:gd name="connsiteY43" fmla="*/ 4725365 h 6080632"/>
                <a:gd name="connsiteX44" fmla="*/ 17602247 w 20349121"/>
                <a:gd name="connsiteY44" fmla="*/ 4162657 h 6080632"/>
                <a:gd name="connsiteX45" fmla="*/ 17145047 w 20349121"/>
                <a:gd name="connsiteY45" fmla="*/ 3857857 h 6080632"/>
                <a:gd name="connsiteX46" fmla="*/ 16429939 w 20349121"/>
                <a:gd name="connsiteY46" fmla="*/ 3682011 h 6080632"/>
                <a:gd name="connsiteX47" fmla="*/ 15902401 w 20349121"/>
                <a:gd name="connsiteY47" fmla="*/ 3728904 h 6080632"/>
                <a:gd name="connsiteX48" fmla="*/ 15386585 w 20349121"/>
                <a:gd name="connsiteY48" fmla="*/ 3951642 h 6080632"/>
                <a:gd name="connsiteX49" fmla="*/ 14964554 w 20349121"/>
                <a:gd name="connsiteY49" fmla="*/ 4397119 h 6080632"/>
                <a:gd name="connsiteX50" fmla="*/ 14636308 w 20349121"/>
                <a:gd name="connsiteY50" fmla="*/ 4912934 h 6080632"/>
                <a:gd name="connsiteX51" fmla="*/ 14542524 w 20349121"/>
                <a:gd name="connsiteY51" fmla="*/ 5393581 h 6080632"/>
                <a:gd name="connsiteX52" fmla="*/ 14542524 w 20349121"/>
                <a:gd name="connsiteY52" fmla="*/ 5768719 h 6080632"/>
                <a:gd name="connsiteX53" fmla="*/ 14554247 w 20349121"/>
                <a:gd name="connsiteY53" fmla="*/ 5991457 h 6080632"/>
                <a:gd name="connsiteX54" fmla="*/ 14472185 w 20349121"/>
                <a:gd name="connsiteY54" fmla="*/ 6014904 h 6080632"/>
                <a:gd name="connsiteX55" fmla="*/ 14073601 w 20349121"/>
                <a:gd name="connsiteY55" fmla="*/ 6014904 h 6080632"/>
                <a:gd name="connsiteX56" fmla="*/ 11693816 w 20349121"/>
                <a:gd name="connsiteY56" fmla="*/ 6038350 h 6080632"/>
                <a:gd name="connsiteX57" fmla="*/ 7121816 w 20349121"/>
                <a:gd name="connsiteY57" fmla="*/ 6038350 h 6080632"/>
                <a:gd name="connsiteX58" fmla="*/ 5328185 w 20349121"/>
                <a:gd name="connsiteY58" fmla="*/ 6003181 h 6080632"/>
                <a:gd name="connsiteX59" fmla="*/ 5351631 w 20349121"/>
                <a:gd name="connsiteY59" fmla="*/ 5604596 h 6080632"/>
                <a:gd name="connsiteX60" fmla="*/ 5222677 w 20349121"/>
                <a:gd name="connsiteY60" fmla="*/ 4678473 h 6080632"/>
                <a:gd name="connsiteX61" fmla="*/ 4554462 w 20349121"/>
                <a:gd name="connsiteY61" fmla="*/ 3881304 h 6080632"/>
                <a:gd name="connsiteX62" fmla="*/ 3804185 w 20349121"/>
                <a:gd name="connsiteY62" fmla="*/ 3635119 h 6080632"/>
                <a:gd name="connsiteX63" fmla="*/ 2995293 w 20349121"/>
                <a:gd name="connsiteY63" fmla="*/ 3693734 h 6080632"/>
                <a:gd name="connsiteX64" fmla="*/ 2432585 w 20349121"/>
                <a:gd name="connsiteY64" fmla="*/ 3975088 h 6080632"/>
                <a:gd name="connsiteX65" fmla="*/ 1987108 w 20349121"/>
                <a:gd name="connsiteY65" fmla="*/ 4584688 h 6080632"/>
                <a:gd name="connsiteX66" fmla="*/ 1799539 w 20349121"/>
                <a:gd name="connsiteY66" fmla="*/ 5159119 h 6080632"/>
                <a:gd name="connsiteX67" fmla="*/ 1787816 w 20349121"/>
                <a:gd name="connsiteY67" fmla="*/ 5745273 h 6080632"/>
                <a:gd name="connsiteX68" fmla="*/ 1776093 w 20349121"/>
                <a:gd name="connsiteY68" fmla="*/ 5944565 h 6080632"/>
                <a:gd name="connsiteX69" fmla="*/ 1647139 w 20349121"/>
                <a:gd name="connsiteY69" fmla="*/ 5956288 h 6080632"/>
                <a:gd name="connsiteX70" fmla="*/ 709293 w 20349121"/>
                <a:gd name="connsiteY70" fmla="*/ 5932842 h 6080632"/>
                <a:gd name="connsiteX71" fmla="*/ 556893 w 20349121"/>
                <a:gd name="connsiteY71" fmla="*/ 5909396 h 6080632"/>
                <a:gd name="connsiteX72" fmla="*/ 474831 w 20349121"/>
                <a:gd name="connsiteY72" fmla="*/ 5803888 h 6080632"/>
                <a:gd name="connsiteX73" fmla="*/ 404493 w 20349121"/>
                <a:gd name="connsiteY73" fmla="*/ 5745273 h 6080632"/>
                <a:gd name="connsiteX74" fmla="*/ 263816 w 20349121"/>
                <a:gd name="connsiteY74" fmla="*/ 5581150 h 6080632"/>
                <a:gd name="connsiteX75" fmla="*/ 404493 w 20349121"/>
                <a:gd name="connsiteY75" fmla="*/ 5534257 h 6080632"/>
                <a:gd name="connsiteX76" fmla="*/ 334154 w 20349121"/>
                <a:gd name="connsiteY76" fmla="*/ 5428750 h 6080632"/>
                <a:gd name="connsiteX77" fmla="*/ 240370 w 20349121"/>
                <a:gd name="connsiteY77" fmla="*/ 5030165 h 6080632"/>
                <a:gd name="connsiteX78" fmla="*/ 205201 w 20349121"/>
                <a:gd name="connsiteY78" fmla="*/ 4983273 h 6080632"/>
                <a:gd name="connsiteX79" fmla="*/ 76247 w 20349121"/>
                <a:gd name="connsiteY79" fmla="*/ 4971550 h 6080632"/>
                <a:gd name="connsiteX80" fmla="*/ 52801 w 20349121"/>
                <a:gd name="connsiteY80" fmla="*/ 4842596 h 6080632"/>
                <a:gd name="connsiteX81" fmla="*/ 5908 w 20349121"/>
                <a:gd name="connsiteY81" fmla="*/ 4385396 h 6080632"/>
                <a:gd name="connsiteX82" fmla="*/ 17631 w 20349121"/>
                <a:gd name="connsiteY82" fmla="*/ 4315057 h 6080632"/>
                <a:gd name="connsiteX83" fmla="*/ 158308 w 20349121"/>
                <a:gd name="connsiteY83" fmla="*/ 4279888 h 6080632"/>
                <a:gd name="connsiteX84" fmla="*/ 240370 w 20349121"/>
                <a:gd name="connsiteY84" fmla="*/ 4150934 h 6080632"/>
                <a:gd name="connsiteX85" fmla="*/ 205201 w 20349121"/>
                <a:gd name="connsiteY85" fmla="*/ 3963365 h 6080632"/>
                <a:gd name="connsiteX86" fmla="*/ 193477 w 20349121"/>
                <a:gd name="connsiteY86" fmla="*/ 3623396 h 6080632"/>
                <a:gd name="connsiteX87" fmla="*/ 357601 w 20349121"/>
                <a:gd name="connsiteY87" fmla="*/ 3283427 h 6080632"/>
                <a:gd name="connsiteX88" fmla="*/ 1154770 w 20349121"/>
                <a:gd name="connsiteY88" fmla="*/ 2861396 h 6080632"/>
                <a:gd name="connsiteX89" fmla="*/ 2104339 w 20349121"/>
                <a:gd name="connsiteY89" fmla="*/ 2626934 h 6080632"/>
                <a:gd name="connsiteX90" fmla="*/ 3780739 w 20349121"/>
                <a:gd name="connsiteY90" fmla="*/ 2333857 h 6080632"/>
                <a:gd name="connsiteX91" fmla="*/ 5199231 w 20349121"/>
                <a:gd name="connsiteY91" fmla="*/ 2169734 h 6080632"/>
                <a:gd name="connsiteX92" fmla="*/ 5574370 w 20349121"/>
                <a:gd name="connsiteY92" fmla="*/ 2146288 h 6080632"/>
                <a:gd name="connsiteX93" fmla="*/ 5726770 w 20349121"/>
                <a:gd name="connsiteY93" fmla="*/ 2158011 h 6080632"/>
                <a:gd name="connsiteX94" fmla="*/ 5937785 w 20349121"/>
                <a:gd name="connsiteY94" fmla="*/ 2251796 h 6080632"/>
                <a:gd name="connsiteX95" fmla="*/ 5996401 w 20349121"/>
                <a:gd name="connsiteY95" fmla="*/ 2228350 h 6080632"/>
                <a:gd name="connsiteX0" fmla="*/ 5996401 w 20349121"/>
                <a:gd name="connsiteY0" fmla="*/ 2228350 h 6055371"/>
                <a:gd name="connsiteX1" fmla="*/ 6899077 w 20349121"/>
                <a:gd name="connsiteY1" fmla="*/ 1700811 h 6055371"/>
                <a:gd name="connsiteX2" fmla="*/ 8212062 w 20349121"/>
                <a:gd name="connsiteY2" fmla="*/ 915365 h 6055371"/>
                <a:gd name="connsiteX3" fmla="*/ 9032677 w 20349121"/>
                <a:gd name="connsiteY3" fmla="*/ 528504 h 6055371"/>
                <a:gd name="connsiteX4" fmla="*/ 9079570 w 20349121"/>
                <a:gd name="connsiteY4" fmla="*/ 469888 h 6055371"/>
                <a:gd name="connsiteX5" fmla="*/ 9220247 w 20349121"/>
                <a:gd name="connsiteY5" fmla="*/ 411273 h 6055371"/>
                <a:gd name="connsiteX6" fmla="*/ 10005693 w 20349121"/>
                <a:gd name="connsiteY6" fmla="*/ 188534 h 6055371"/>
                <a:gd name="connsiteX7" fmla="*/ 11365570 w 20349121"/>
                <a:gd name="connsiteY7" fmla="*/ 47857 h 6055371"/>
                <a:gd name="connsiteX8" fmla="*/ 12948185 w 20349121"/>
                <a:gd name="connsiteY8" fmla="*/ 965 h 6055371"/>
                <a:gd name="connsiteX9" fmla="*/ 14565970 w 20349121"/>
                <a:gd name="connsiteY9" fmla="*/ 83027 h 6055371"/>
                <a:gd name="connsiteX10" fmla="*/ 16054801 w 20349121"/>
                <a:gd name="connsiteY10" fmla="*/ 165088 h 6055371"/>
                <a:gd name="connsiteX11" fmla="*/ 17496739 w 20349121"/>
                <a:gd name="connsiteY11" fmla="*/ 364381 h 6055371"/>
                <a:gd name="connsiteX12" fmla="*/ 18012554 w 20349121"/>
                <a:gd name="connsiteY12" fmla="*/ 481611 h 6055371"/>
                <a:gd name="connsiteX13" fmla="*/ 18352524 w 20349121"/>
                <a:gd name="connsiteY13" fmla="*/ 528504 h 6055371"/>
                <a:gd name="connsiteX14" fmla="*/ 18434585 w 20349121"/>
                <a:gd name="connsiteY14" fmla="*/ 575396 h 6055371"/>
                <a:gd name="connsiteX15" fmla="*/ 18469754 w 20349121"/>
                <a:gd name="connsiteY15" fmla="*/ 634011 h 6055371"/>
                <a:gd name="connsiteX16" fmla="*/ 18903508 w 20349121"/>
                <a:gd name="connsiteY16" fmla="*/ 1091211 h 6055371"/>
                <a:gd name="connsiteX17" fmla="*/ 19560001 w 20349121"/>
                <a:gd name="connsiteY17" fmla="*/ 1853211 h 6055371"/>
                <a:gd name="connsiteX18" fmla="*/ 19665508 w 20349121"/>
                <a:gd name="connsiteY18" fmla="*/ 1993888 h 6055371"/>
                <a:gd name="connsiteX19" fmla="*/ 19864801 w 20349121"/>
                <a:gd name="connsiteY19" fmla="*/ 2099396 h 6055371"/>
                <a:gd name="connsiteX20" fmla="*/ 19946862 w 20349121"/>
                <a:gd name="connsiteY20" fmla="*/ 2228350 h 6055371"/>
                <a:gd name="connsiteX21" fmla="*/ 19911693 w 20349121"/>
                <a:gd name="connsiteY21" fmla="*/ 2415919 h 6055371"/>
                <a:gd name="connsiteX22" fmla="*/ 19888247 w 20349121"/>
                <a:gd name="connsiteY22" fmla="*/ 2802781 h 6055371"/>
                <a:gd name="connsiteX23" fmla="*/ 19888247 w 20349121"/>
                <a:gd name="connsiteY23" fmla="*/ 3060688 h 6055371"/>
                <a:gd name="connsiteX24" fmla="*/ 19993754 w 20349121"/>
                <a:gd name="connsiteY24" fmla="*/ 3271704 h 6055371"/>
                <a:gd name="connsiteX25" fmla="*/ 19982031 w 20349121"/>
                <a:gd name="connsiteY25" fmla="*/ 3447550 h 6055371"/>
                <a:gd name="connsiteX26" fmla="*/ 19935139 w 20349121"/>
                <a:gd name="connsiteY26" fmla="*/ 3635119 h 6055371"/>
                <a:gd name="connsiteX27" fmla="*/ 20134431 w 20349121"/>
                <a:gd name="connsiteY27" fmla="*/ 3705457 h 6055371"/>
                <a:gd name="connsiteX28" fmla="*/ 20275108 w 20349121"/>
                <a:gd name="connsiteY28" fmla="*/ 3752350 h 6055371"/>
                <a:gd name="connsiteX29" fmla="*/ 20345447 w 20349121"/>
                <a:gd name="connsiteY29" fmla="*/ 3846134 h 6055371"/>
                <a:gd name="connsiteX30" fmla="*/ 20333724 w 20349121"/>
                <a:gd name="connsiteY30" fmla="*/ 4010257 h 6055371"/>
                <a:gd name="connsiteX31" fmla="*/ 20286831 w 20349121"/>
                <a:gd name="connsiteY31" fmla="*/ 4186104 h 6055371"/>
                <a:gd name="connsiteX32" fmla="*/ 20275108 w 20349121"/>
                <a:gd name="connsiteY32" fmla="*/ 4397119 h 6055371"/>
                <a:gd name="connsiteX33" fmla="*/ 20181324 w 20349121"/>
                <a:gd name="connsiteY33" fmla="*/ 4397119 h 6055371"/>
                <a:gd name="connsiteX34" fmla="*/ 20087539 w 20349121"/>
                <a:gd name="connsiteY34" fmla="*/ 4748811 h 6055371"/>
                <a:gd name="connsiteX35" fmla="*/ 20064093 w 20349121"/>
                <a:gd name="connsiteY35" fmla="*/ 5182565 h 6055371"/>
                <a:gd name="connsiteX36" fmla="*/ 20157877 w 20349121"/>
                <a:gd name="connsiteY36" fmla="*/ 5475642 h 6055371"/>
                <a:gd name="connsiteX37" fmla="*/ 20052370 w 20349121"/>
                <a:gd name="connsiteY37" fmla="*/ 5510811 h 6055371"/>
                <a:gd name="connsiteX38" fmla="*/ 19548277 w 20349121"/>
                <a:gd name="connsiteY38" fmla="*/ 5534257 h 6055371"/>
                <a:gd name="connsiteX39" fmla="*/ 19454493 w 20349121"/>
                <a:gd name="connsiteY39" fmla="*/ 5756996 h 6055371"/>
                <a:gd name="connsiteX40" fmla="*/ 19290370 w 20349121"/>
                <a:gd name="connsiteY40" fmla="*/ 5780442 h 6055371"/>
                <a:gd name="connsiteX41" fmla="*/ 18223570 w 20349121"/>
                <a:gd name="connsiteY41" fmla="*/ 5768719 h 6055371"/>
                <a:gd name="connsiteX42" fmla="*/ 18223570 w 20349121"/>
                <a:gd name="connsiteY42" fmla="*/ 5581150 h 6055371"/>
                <a:gd name="connsiteX43" fmla="*/ 17989108 w 20349121"/>
                <a:gd name="connsiteY43" fmla="*/ 4725365 h 6055371"/>
                <a:gd name="connsiteX44" fmla="*/ 17602247 w 20349121"/>
                <a:gd name="connsiteY44" fmla="*/ 4162657 h 6055371"/>
                <a:gd name="connsiteX45" fmla="*/ 17145047 w 20349121"/>
                <a:gd name="connsiteY45" fmla="*/ 3857857 h 6055371"/>
                <a:gd name="connsiteX46" fmla="*/ 16429939 w 20349121"/>
                <a:gd name="connsiteY46" fmla="*/ 3682011 h 6055371"/>
                <a:gd name="connsiteX47" fmla="*/ 15902401 w 20349121"/>
                <a:gd name="connsiteY47" fmla="*/ 3728904 h 6055371"/>
                <a:gd name="connsiteX48" fmla="*/ 15386585 w 20349121"/>
                <a:gd name="connsiteY48" fmla="*/ 3951642 h 6055371"/>
                <a:gd name="connsiteX49" fmla="*/ 14964554 w 20349121"/>
                <a:gd name="connsiteY49" fmla="*/ 4397119 h 6055371"/>
                <a:gd name="connsiteX50" fmla="*/ 14636308 w 20349121"/>
                <a:gd name="connsiteY50" fmla="*/ 4912934 h 6055371"/>
                <a:gd name="connsiteX51" fmla="*/ 14542524 w 20349121"/>
                <a:gd name="connsiteY51" fmla="*/ 5393581 h 6055371"/>
                <a:gd name="connsiteX52" fmla="*/ 14542524 w 20349121"/>
                <a:gd name="connsiteY52" fmla="*/ 5768719 h 6055371"/>
                <a:gd name="connsiteX53" fmla="*/ 14554247 w 20349121"/>
                <a:gd name="connsiteY53" fmla="*/ 5991457 h 6055371"/>
                <a:gd name="connsiteX54" fmla="*/ 14472185 w 20349121"/>
                <a:gd name="connsiteY54" fmla="*/ 6014904 h 6055371"/>
                <a:gd name="connsiteX55" fmla="*/ 14073601 w 20349121"/>
                <a:gd name="connsiteY55" fmla="*/ 6014904 h 6055371"/>
                <a:gd name="connsiteX56" fmla="*/ 11693816 w 20349121"/>
                <a:gd name="connsiteY56" fmla="*/ 6038350 h 6055371"/>
                <a:gd name="connsiteX57" fmla="*/ 7121816 w 20349121"/>
                <a:gd name="connsiteY57" fmla="*/ 6038350 h 6055371"/>
                <a:gd name="connsiteX58" fmla="*/ 5328185 w 20349121"/>
                <a:gd name="connsiteY58" fmla="*/ 6003181 h 6055371"/>
                <a:gd name="connsiteX59" fmla="*/ 5351631 w 20349121"/>
                <a:gd name="connsiteY59" fmla="*/ 5604596 h 6055371"/>
                <a:gd name="connsiteX60" fmla="*/ 5222677 w 20349121"/>
                <a:gd name="connsiteY60" fmla="*/ 4678473 h 6055371"/>
                <a:gd name="connsiteX61" fmla="*/ 4554462 w 20349121"/>
                <a:gd name="connsiteY61" fmla="*/ 3881304 h 6055371"/>
                <a:gd name="connsiteX62" fmla="*/ 3804185 w 20349121"/>
                <a:gd name="connsiteY62" fmla="*/ 3635119 h 6055371"/>
                <a:gd name="connsiteX63" fmla="*/ 2995293 w 20349121"/>
                <a:gd name="connsiteY63" fmla="*/ 3693734 h 6055371"/>
                <a:gd name="connsiteX64" fmla="*/ 2432585 w 20349121"/>
                <a:gd name="connsiteY64" fmla="*/ 3975088 h 6055371"/>
                <a:gd name="connsiteX65" fmla="*/ 1987108 w 20349121"/>
                <a:gd name="connsiteY65" fmla="*/ 4584688 h 6055371"/>
                <a:gd name="connsiteX66" fmla="*/ 1799539 w 20349121"/>
                <a:gd name="connsiteY66" fmla="*/ 5159119 h 6055371"/>
                <a:gd name="connsiteX67" fmla="*/ 1787816 w 20349121"/>
                <a:gd name="connsiteY67" fmla="*/ 5745273 h 6055371"/>
                <a:gd name="connsiteX68" fmla="*/ 1776093 w 20349121"/>
                <a:gd name="connsiteY68" fmla="*/ 5944565 h 6055371"/>
                <a:gd name="connsiteX69" fmla="*/ 1647139 w 20349121"/>
                <a:gd name="connsiteY69" fmla="*/ 5956288 h 6055371"/>
                <a:gd name="connsiteX70" fmla="*/ 709293 w 20349121"/>
                <a:gd name="connsiteY70" fmla="*/ 5932842 h 6055371"/>
                <a:gd name="connsiteX71" fmla="*/ 556893 w 20349121"/>
                <a:gd name="connsiteY71" fmla="*/ 5909396 h 6055371"/>
                <a:gd name="connsiteX72" fmla="*/ 474831 w 20349121"/>
                <a:gd name="connsiteY72" fmla="*/ 5803888 h 6055371"/>
                <a:gd name="connsiteX73" fmla="*/ 404493 w 20349121"/>
                <a:gd name="connsiteY73" fmla="*/ 5745273 h 6055371"/>
                <a:gd name="connsiteX74" fmla="*/ 263816 w 20349121"/>
                <a:gd name="connsiteY74" fmla="*/ 5581150 h 6055371"/>
                <a:gd name="connsiteX75" fmla="*/ 404493 w 20349121"/>
                <a:gd name="connsiteY75" fmla="*/ 5534257 h 6055371"/>
                <a:gd name="connsiteX76" fmla="*/ 334154 w 20349121"/>
                <a:gd name="connsiteY76" fmla="*/ 5428750 h 6055371"/>
                <a:gd name="connsiteX77" fmla="*/ 240370 w 20349121"/>
                <a:gd name="connsiteY77" fmla="*/ 5030165 h 6055371"/>
                <a:gd name="connsiteX78" fmla="*/ 205201 w 20349121"/>
                <a:gd name="connsiteY78" fmla="*/ 4983273 h 6055371"/>
                <a:gd name="connsiteX79" fmla="*/ 76247 w 20349121"/>
                <a:gd name="connsiteY79" fmla="*/ 4971550 h 6055371"/>
                <a:gd name="connsiteX80" fmla="*/ 52801 w 20349121"/>
                <a:gd name="connsiteY80" fmla="*/ 4842596 h 6055371"/>
                <a:gd name="connsiteX81" fmla="*/ 5908 w 20349121"/>
                <a:gd name="connsiteY81" fmla="*/ 4385396 h 6055371"/>
                <a:gd name="connsiteX82" fmla="*/ 17631 w 20349121"/>
                <a:gd name="connsiteY82" fmla="*/ 4315057 h 6055371"/>
                <a:gd name="connsiteX83" fmla="*/ 158308 w 20349121"/>
                <a:gd name="connsiteY83" fmla="*/ 4279888 h 6055371"/>
                <a:gd name="connsiteX84" fmla="*/ 240370 w 20349121"/>
                <a:gd name="connsiteY84" fmla="*/ 4150934 h 6055371"/>
                <a:gd name="connsiteX85" fmla="*/ 205201 w 20349121"/>
                <a:gd name="connsiteY85" fmla="*/ 3963365 h 6055371"/>
                <a:gd name="connsiteX86" fmla="*/ 193477 w 20349121"/>
                <a:gd name="connsiteY86" fmla="*/ 3623396 h 6055371"/>
                <a:gd name="connsiteX87" fmla="*/ 357601 w 20349121"/>
                <a:gd name="connsiteY87" fmla="*/ 3283427 h 6055371"/>
                <a:gd name="connsiteX88" fmla="*/ 1154770 w 20349121"/>
                <a:gd name="connsiteY88" fmla="*/ 2861396 h 6055371"/>
                <a:gd name="connsiteX89" fmla="*/ 2104339 w 20349121"/>
                <a:gd name="connsiteY89" fmla="*/ 2626934 h 6055371"/>
                <a:gd name="connsiteX90" fmla="*/ 3780739 w 20349121"/>
                <a:gd name="connsiteY90" fmla="*/ 2333857 h 6055371"/>
                <a:gd name="connsiteX91" fmla="*/ 5199231 w 20349121"/>
                <a:gd name="connsiteY91" fmla="*/ 2169734 h 6055371"/>
                <a:gd name="connsiteX92" fmla="*/ 5574370 w 20349121"/>
                <a:gd name="connsiteY92" fmla="*/ 2146288 h 6055371"/>
                <a:gd name="connsiteX93" fmla="*/ 5726770 w 20349121"/>
                <a:gd name="connsiteY93" fmla="*/ 2158011 h 6055371"/>
                <a:gd name="connsiteX94" fmla="*/ 5937785 w 20349121"/>
                <a:gd name="connsiteY94" fmla="*/ 2251796 h 6055371"/>
                <a:gd name="connsiteX95" fmla="*/ 5996401 w 20349121"/>
                <a:gd name="connsiteY95" fmla="*/ 2228350 h 605537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222677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8166"/>
                <a:gd name="connsiteY0" fmla="*/ 2228350 h 6050491"/>
                <a:gd name="connsiteX1" fmla="*/ 6899077 w 20348166"/>
                <a:gd name="connsiteY1" fmla="*/ 1700811 h 6050491"/>
                <a:gd name="connsiteX2" fmla="*/ 8212062 w 20348166"/>
                <a:gd name="connsiteY2" fmla="*/ 915365 h 6050491"/>
                <a:gd name="connsiteX3" fmla="*/ 9032677 w 20348166"/>
                <a:gd name="connsiteY3" fmla="*/ 528504 h 6050491"/>
                <a:gd name="connsiteX4" fmla="*/ 9079570 w 20348166"/>
                <a:gd name="connsiteY4" fmla="*/ 469888 h 6050491"/>
                <a:gd name="connsiteX5" fmla="*/ 9220247 w 20348166"/>
                <a:gd name="connsiteY5" fmla="*/ 411273 h 6050491"/>
                <a:gd name="connsiteX6" fmla="*/ 10005693 w 20348166"/>
                <a:gd name="connsiteY6" fmla="*/ 188534 h 6050491"/>
                <a:gd name="connsiteX7" fmla="*/ 11365570 w 20348166"/>
                <a:gd name="connsiteY7" fmla="*/ 47857 h 6050491"/>
                <a:gd name="connsiteX8" fmla="*/ 12948185 w 20348166"/>
                <a:gd name="connsiteY8" fmla="*/ 965 h 6050491"/>
                <a:gd name="connsiteX9" fmla="*/ 14565970 w 20348166"/>
                <a:gd name="connsiteY9" fmla="*/ 83027 h 6050491"/>
                <a:gd name="connsiteX10" fmla="*/ 16054801 w 20348166"/>
                <a:gd name="connsiteY10" fmla="*/ 165088 h 6050491"/>
                <a:gd name="connsiteX11" fmla="*/ 17496739 w 20348166"/>
                <a:gd name="connsiteY11" fmla="*/ 364381 h 6050491"/>
                <a:gd name="connsiteX12" fmla="*/ 18012554 w 20348166"/>
                <a:gd name="connsiteY12" fmla="*/ 481611 h 6050491"/>
                <a:gd name="connsiteX13" fmla="*/ 18352524 w 20348166"/>
                <a:gd name="connsiteY13" fmla="*/ 528504 h 6050491"/>
                <a:gd name="connsiteX14" fmla="*/ 18434585 w 20348166"/>
                <a:gd name="connsiteY14" fmla="*/ 575396 h 6050491"/>
                <a:gd name="connsiteX15" fmla="*/ 18469754 w 20348166"/>
                <a:gd name="connsiteY15" fmla="*/ 634011 h 6050491"/>
                <a:gd name="connsiteX16" fmla="*/ 18903508 w 20348166"/>
                <a:gd name="connsiteY16" fmla="*/ 1091211 h 6050491"/>
                <a:gd name="connsiteX17" fmla="*/ 19560001 w 20348166"/>
                <a:gd name="connsiteY17" fmla="*/ 1853211 h 6050491"/>
                <a:gd name="connsiteX18" fmla="*/ 19665508 w 20348166"/>
                <a:gd name="connsiteY18" fmla="*/ 1993888 h 6050491"/>
                <a:gd name="connsiteX19" fmla="*/ 19864801 w 20348166"/>
                <a:gd name="connsiteY19" fmla="*/ 2099396 h 6050491"/>
                <a:gd name="connsiteX20" fmla="*/ 19946862 w 20348166"/>
                <a:gd name="connsiteY20" fmla="*/ 2228350 h 6050491"/>
                <a:gd name="connsiteX21" fmla="*/ 19911693 w 20348166"/>
                <a:gd name="connsiteY21" fmla="*/ 2415919 h 6050491"/>
                <a:gd name="connsiteX22" fmla="*/ 19923417 w 20348166"/>
                <a:gd name="connsiteY22" fmla="*/ 2779335 h 6050491"/>
                <a:gd name="connsiteX23" fmla="*/ 19888247 w 20348166"/>
                <a:gd name="connsiteY23" fmla="*/ 3060688 h 6050491"/>
                <a:gd name="connsiteX24" fmla="*/ 19993754 w 20348166"/>
                <a:gd name="connsiteY24" fmla="*/ 3271704 h 6050491"/>
                <a:gd name="connsiteX25" fmla="*/ 19982031 w 20348166"/>
                <a:gd name="connsiteY25" fmla="*/ 3447550 h 6050491"/>
                <a:gd name="connsiteX26" fmla="*/ 19935139 w 20348166"/>
                <a:gd name="connsiteY26" fmla="*/ 3635119 h 6050491"/>
                <a:gd name="connsiteX27" fmla="*/ 20134431 w 20348166"/>
                <a:gd name="connsiteY27" fmla="*/ 3705457 h 6050491"/>
                <a:gd name="connsiteX28" fmla="*/ 20275108 w 20348166"/>
                <a:gd name="connsiteY28" fmla="*/ 3752350 h 6050491"/>
                <a:gd name="connsiteX29" fmla="*/ 20345447 w 20348166"/>
                <a:gd name="connsiteY29" fmla="*/ 3846134 h 6050491"/>
                <a:gd name="connsiteX30" fmla="*/ 20333724 w 20348166"/>
                <a:gd name="connsiteY30" fmla="*/ 4010257 h 6050491"/>
                <a:gd name="connsiteX31" fmla="*/ 20333725 w 20348166"/>
                <a:gd name="connsiteY31" fmla="*/ 4209550 h 6050491"/>
                <a:gd name="connsiteX32" fmla="*/ 20275108 w 20348166"/>
                <a:gd name="connsiteY32" fmla="*/ 4397119 h 6050491"/>
                <a:gd name="connsiteX33" fmla="*/ 20169601 w 20348166"/>
                <a:gd name="connsiteY33" fmla="*/ 4432288 h 6050491"/>
                <a:gd name="connsiteX34" fmla="*/ 20087539 w 20348166"/>
                <a:gd name="connsiteY34" fmla="*/ 4748811 h 6050491"/>
                <a:gd name="connsiteX35" fmla="*/ 20064093 w 20348166"/>
                <a:gd name="connsiteY35" fmla="*/ 5182565 h 6050491"/>
                <a:gd name="connsiteX36" fmla="*/ 20157877 w 20348166"/>
                <a:gd name="connsiteY36" fmla="*/ 5475642 h 6050491"/>
                <a:gd name="connsiteX37" fmla="*/ 20052370 w 20348166"/>
                <a:gd name="connsiteY37" fmla="*/ 5510811 h 6050491"/>
                <a:gd name="connsiteX38" fmla="*/ 19548277 w 20348166"/>
                <a:gd name="connsiteY38" fmla="*/ 5534257 h 6050491"/>
                <a:gd name="connsiteX39" fmla="*/ 19454493 w 20348166"/>
                <a:gd name="connsiteY39" fmla="*/ 5756996 h 6050491"/>
                <a:gd name="connsiteX40" fmla="*/ 19290370 w 20348166"/>
                <a:gd name="connsiteY40" fmla="*/ 5780442 h 6050491"/>
                <a:gd name="connsiteX41" fmla="*/ 18223570 w 20348166"/>
                <a:gd name="connsiteY41" fmla="*/ 5768719 h 6050491"/>
                <a:gd name="connsiteX42" fmla="*/ 18223570 w 20348166"/>
                <a:gd name="connsiteY42" fmla="*/ 5581150 h 6050491"/>
                <a:gd name="connsiteX43" fmla="*/ 17989108 w 20348166"/>
                <a:gd name="connsiteY43" fmla="*/ 4725365 h 6050491"/>
                <a:gd name="connsiteX44" fmla="*/ 17602247 w 20348166"/>
                <a:gd name="connsiteY44" fmla="*/ 4162657 h 6050491"/>
                <a:gd name="connsiteX45" fmla="*/ 17145047 w 20348166"/>
                <a:gd name="connsiteY45" fmla="*/ 3857857 h 6050491"/>
                <a:gd name="connsiteX46" fmla="*/ 16429939 w 20348166"/>
                <a:gd name="connsiteY46" fmla="*/ 3682011 h 6050491"/>
                <a:gd name="connsiteX47" fmla="*/ 15902401 w 20348166"/>
                <a:gd name="connsiteY47" fmla="*/ 3728904 h 6050491"/>
                <a:gd name="connsiteX48" fmla="*/ 15386585 w 20348166"/>
                <a:gd name="connsiteY48" fmla="*/ 3951642 h 6050491"/>
                <a:gd name="connsiteX49" fmla="*/ 14964554 w 20348166"/>
                <a:gd name="connsiteY49" fmla="*/ 4397119 h 6050491"/>
                <a:gd name="connsiteX50" fmla="*/ 14636308 w 20348166"/>
                <a:gd name="connsiteY50" fmla="*/ 4912934 h 6050491"/>
                <a:gd name="connsiteX51" fmla="*/ 14542524 w 20348166"/>
                <a:gd name="connsiteY51" fmla="*/ 5393581 h 6050491"/>
                <a:gd name="connsiteX52" fmla="*/ 14542524 w 20348166"/>
                <a:gd name="connsiteY52" fmla="*/ 5768719 h 6050491"/>
                <a:gd name="connsiteX53" fmla="*/ 14554247 w 20348166"/>
                <a:gd name="connsiteY53" fmla="*/ 5991457 h 6050491"/>
                <a:gd name="connsiteX54" fmla="*/ 14472185 w 20348166"/>
                <a:gd name="connsiteY54" fmla="*/ 6014904 h 6050491"/>
                <a:gd name="connsiteX55" fmla="*/ 14073601 w 20348166"/>
                <a:gd name="connsiteY55" fmla="*/ 6014904 h 6050491"/>
                <a:gd name="connsiteX56" fmla="*/ 11693816 w 20348166"/>
                <a:gd name="connsiteY56" fmla="*/ 6038350 h 6050491"/>
                <a:gd name="connsiteX57" fmla="*/ 7121816 w 20348166"/>
                <a:gd name="connsiteY57" fmla="*/ 6038350 h 6050491"/>
                <a:gd name="connsiteX58" fmla="*/ 5328185 w 20348166"/>
                <a:gd name="connsiteY58" fmla="*/ 6003181 h 6050491"/>
                <a:gd name="connsiteX59" fmla="*/ 5351631 w 20348166"/>
                <a:gd name="connsiteY59" fmla="*/ 5604596 h 6050491"/>
                <a:gd name="connsiteX60" fmla="*/ 5187508 w 20348166"/>
                <a:gd name="connsiteY60" fmla="*/ 4678473 h 6050491"/>
                <a:gd name="connsiteX61" fmla="*/ 4613077 w 20348166"/>
                <a:gd name="connsiteY61" fmla="*/ 3939920 h 6050491"/>
                <a:gd name="connsiteX62" fmla="*/ 3804185 w 20348166"/>
                <a:gd name="connsiteY62" fmla="*/ 3635119 h 6050491"/>
                <a:gd name="connsiteX63" fmla="*/ 3077355 w 20348166"/>
                <a:gd name="connsiteY63" fmla="*/ 3693734 h 6050491"/>
                <a:gd name="connsiteX64" fmla="*/ 2479477 w 20348166"/>
                <a:gd name="connsiteY64" fmla="*/ 3998534 h 6050491"/>
                <a:gd name="connsiteX65" fmla="*/ 1987108 w 20348166"/>
                <a:gd name="connsiteY65" fmla="*/ 4584688 h 6050491"/>
                <a:gd name="connsiteX66" fmla="*/ 1799539 w 20348166"/>
                <a:gd name="connsiteY66" fmla="*/ 5159119 h 6050491"/>
                <a:gd name="connsiteX67" fmla="*/ 1787816 w 20348166"/>
                <a:gd name="connsiteY67" fmla="*/ 5745273 h 6050491"/>
                <a:gd name="connsiteX68" fmla="*/ 1776093 w 20348166"/>
                <a:gd name="connsiteY68" fmla="*/ 5944565 h 6050491"/>
                <a:gd name="connsiteX69" fmla="*/ 1647139 w 20348166"/>
                <a:gd name="connsiteY69" fmla="*/ 5956288 h 6050491"/>
                <a:gd name="connsiteX70" fmla="*/ 709293 w 20348166"/>
                <a:gd name="connsiteY70" fmla="*/ 5932842 h 6050491"/>
                <a:gd name="connsiteX71" fmla="*/ 556893 w 20348166"/>
                <a:gd name="connsiteY71" fmla="*/ 5909396 h 6050491"/>
                <a:gd name="connsiteX72" fmla="*/ 474831 w 20348166"/>
                <a:gd name="connsiteY72" fmla="*/ 5803888 h 6050491"/>
                <a:gd name="connsiteX73" fmla="*/ 404493 w 20348166"/>
                <a:gd name="connsiteY73" fmla="*/ 5745273 h 6050491"/>
                <a:gd name="connsiteX74" fmla="*/ 263816 w 20348166"/>
                <a:gd name="connsiteY74" fmla="*/ 5581150 h 6050491"/>
                <a:gd name="connsiteX75" fmla="*/ 404493 w 20348166"/>
                <a:gd name="connsiteY75" fmla="*/ 5534257 h 6050491"/>
                <a:gd name="connsiteX76" fmla="*/ 334154 w 20348166"/>
                <a:gd name="connsiteY76" fmla="*/ 5428750 h 6050491"/>
                <a:gd name="connsiteX77" fmla="*/ 240370 w 20348166"/>
                <a:gd name="connsiteY77" fmla="*/ 5030165 h 6050491"/>
                <a:gd name="connsiteX78" fmla="*/ 205201 w 20348166"/>
                <a:gd name="connsiteY78" fmla="*/ 4983273 h 6050491"/>
                <a:gd name="connsiteX79" fmla="*/ 76247 w 20348166"/>
                <a:gd name="connsiteY79" fmla="*/ 4971550 h 6050491"/>
                <a:gd name="connsiteX80" fmla="*/ 52801 w 20348166"/>
                <a:gd name="connsiteY80" fmla="*/ 4842596 h 6050491"/>
                <a:gd name="connsiteX81" fmla="*/ 5908 w 20348166"/>
                <a:gd name="connsiteY81" fmla="*/ 4385396 h 6050491"/>
                <a:gd name="connsiteX82" fmla="*/ 17631 w 20348166"/>
                <a:gd name="connsiteY82" fmla="*/ 4315057 h 6050491"/>
                <a:gd name="connsiteX83" fmla="*/ 158308 w 20348166"/>
                <a:gd name="connsiteY83" fmla="*/ 4279888 h 6050491"/>
                <a:gd name="connsiteX84" fmla="*/ 240370 w 20348166"/>
                <a:gd name="connsiteY84" fmla="*/ 4150934 h 6050491"/>
                <a:gd name="connsiteX85" fmla="*/ 205201 w 20348166"/>
                <a:gd name="connsiteY85" fmla="*/ 3963365 h 6050491"/>
                <a:gd name="connsiteX86" fmla="*/ 193477 w 20348166"/>
                <a:gd name="connsiteY86" fmla="*/ 3623396 h 6050491"/>
                <a:gd name="connsiteX87" fmla="*/ 357601 w 20348166"/>
                <a:gd name="connsiteY87" fmla="*/ 3283427 h 6050491"/>
                <a:gd name="connsiteX88" fmla="*/ 1154770 w 20348166"/>
                <a:gd name="connsiteY88" fmla="*/ 2861396 h 6050491"/>
                <a:gd name="connsiteX89" fmla="*/ 2104339 w 20348166"/>
                <a:gd name="connsiteY89" fmla="*/ 2626934 h 6050491"/>
                <a:gd name="connsiteX90" fmla="*/ 3780739 w 20348166"/>
                <a:gd name="connsiteY90" fmla="*/ 2333857 h 6050491"/>
                <a:gd name="connsiteX91" fmla="*/ 5199231 w 20348166"/>
                <a:gd name="connsiteY91" fmla="*/ 2169734 h 6050491"/>
                <a:gd name="connsiteX92" fmla="*/ 5574370 w 20348166"/>
                <a:gd name="connsiteY92" fmla="*/ 2146288 h 6050491"/>
                <a:gd name="connsiteX93" fmla="*/ 5726770 w 20348166"/>
                <a:gd name="connsiteY93" fmla="*/ 2158011 h 6050491"/>
                <a:gd name="connsiteX94" fmla="*/ 5937785 w 20348166"/>
                <a:gd name="connsiteY94" fmla="*/ 2251796 h 6050491"/>
                <a:gd name="connsiteX95" fmla="*/ 5996401 w 20348166"/>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12554 w 20358094"/>
                <a:gd name="connsiteY12" fmla="*/ 481611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36001 w 20358094"/>
                <a:gd name="connsiteY12" fmla="*/ 469888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49690"/>
                <a:gd name="connsiteX1" fmla="*/ 6899077 w 20358094"/>
                <a:gd name="connsiteY1" fmla="*/ 1700811 h 6049690"/>
                <a:gd name="connsiteX2" fmla="*/ 8212062 w 20358094"/>
                <a:gd name="connsiteY2" fmla="*/ 915365 h 6049690"/>
                <a:gd name="connsiteX3" fmla="*/ 9032677 w 20358094"/>
                <a:gd name="connsiteY3" fmla="*/ 528504 h 6049690"/>
                <a:gd name="connsiteX4" fmla="*/ 9079570 w 20358094"/>
                <a:gd name="connsiteY4" fmla="*/ 469888 h 6049690"/>
                <a:gd name="connsiteX5" fmla="*/ 9220247 w 20358094"/>
                <a:gd name="connsiteY5" fmla="*/ 411273 h 6049690"/>
                <a:gd name="connsiteX6" fmla="*/ 10005693 w 20358094"/>
                <a:gd name="connsiteY6" fmla="*/ 188534 h 6049690"/>
                <a:gd name="connsiteX7" fmla="*/ 11365570 w 20358094"/>
                <a:gd name="connsiteY7" fmla="*/ 47857 h 6049690"/>
                <a:gd name="connsiteX8" fmla="*/ 12948185 w 20358094"/>
                <a:gd name="connsiteY8" fmla="*/ 965 h 6049690"/>
                <a:gd name="connsiteX9" fmla="*/ 14565970 w 20358094"/>
                <a:gd name="connsiteY9" fmla="*/ 83027 h 6049690"/>
                <a:gd name="connsiteX10" fmla="*/ 16054801 w 20358094"/>
                <a:gd name="connsiteY10" fmla="*/ 165088 h 6049690"/>
                <a:gd name="connsiteX11" fmla="*/ 17496739 w 20358094"/>
                <a:gd name="connsiteY11" fmla="*/ 364381 h 6049690"/>
                <a:gd name="connsiteX12" fmla="*/ 18036001 w 20358094"/>
                <a:gd name="connsiteY12" fmla="*/ 469888 h 6049690"/>
                <a:gd name="connsiteX13" fmla="*/ 18352524 w 20358094"/>
                <a:gd name="connsiteY13" fmla="*/ 528504 h 6049690"/>
                <a:gd name="connsiteX14" fmla="*/ 18434585 w 20358094"/>
                <a:gd name="connsiteY14" fmla="*/ 575396 h 6049690"/>
                <a:gd name="connsiteX15" fmla="*/ 18469754 w 20358094"/>
                <a:gd name="connsiteY15" fmla="*/ 634011 h 6049690"/>
                <a:gd name="connsiteX16" fmla="*/ 18903508 w 20358094"/>
                <a:gd name="connsiteY16" fmla="*/ 1091211 h 6049690"/>
                <a:gd name="connsiteX17" fmla="*/ 19560001 w 20358094"/>
                <a:gd name="connsiteY17" fmla="*/ 1853211 h 6049690"/>
                <a:gd name="connsiteX18" fmla="*/ 19665508 w 20358094"/>
                <a:gd name="connsiteY18" fmla="*/ 1993888 h 6049690"/>
                <a:gd name="connsiteX19" fmla="*/ 19864801 w 20358094"/>
                <a:gd name="connsiteY19" fmla="*/ 2099396 h 6049690"/>
                <a:gd name="connsiteX20" fmla="*/ 19946862 w 20358094"/>
                <a:gd name="connsiteY20" fmla="*/ 2228350 h 6049690"/>
                <a:gd name="connsiteX21" fmla="*/ 19911693 w 20358094"/>
                <a:gd name="connsiteY21" fmla="*/ 2415919 h 6049690"/>
                <a:gd name="connsiteX22" fmla="*/ 19923417 w 20358094"/>
                <a:gd name="connsiteY22" fmla="*/ 2779335 h 6049690"/>
                <a:gd name="connsiteX23" fmla="*/ 19888247 w 20358094"/>
                <a:gd name="connsiteY23" fmla="*/ 3060688 h 6049690"/>
                <a:gd name="connsiteX24" fmla="*/ 19993754 w 20358094"/>
                <a:gd name="connsiteY24" fmla="*/ 3271704 h 6049690"/>
                <a:gd name="connsiteX25" fmla="*/ 19982031 w 20358094"/>
                <a:gd name="connsiteY25" fmla="*/ 3447550 h 6049690"/>
                <a:gd name="connsiteX26" fmla="*/ 19935139 w 20358094"/>
                <a:gd name="connsiteY26" fmla="*/ 3635119 h 6049690"/>
                <a:gd name="connsiteX27" fmla="*/ 20134431 w 20358094"/>
                <a:gd name="connsiteY27" fmla="*/ 3705457 h 6049690"/>
                <a:gd name="connsiteX28" fmla="*/ 20275108 w 20358094"/>
                <a:gd name="connsiteY28" fmla="*/ 3752350 h 6049690"/>
                <a:gd name="connsiteX29" fmla="*/ 20345447 w 20358094"/>
                <a:gd name="connsiteY29" fmla="*/ 3846134 h 6049690"/>
                <a:gd name="connsiteX30" fmla="*/ 20357170 w 20358094"/>
                <a:gd name="connsiteY30" fmla="*/ 4010257 h 6049690"/>
                <a:gd name="connsiteX31" fmla="*/ 20333725 w 20358094"/>
                <a:gd name="connsiteY31" fmla="*/ 4209550 h 6049690"/>
                <a:gd name="connsiteX32" fmla="*/ 20275108 w 20358094"/>
                <a:gd name="connsiteY32" fmla="*/ 4397119 h 6049690"/>
                <a:gd name="connsiteX33" fmla="*/ 20169601 w 20358094"/>
                <a:gd name="connsiteY33" fmla="*/ 4432288 h 6049690"/>
                <a:gd name="connsiteX34" fmla="*/ 20087539 w 20358094"/>
                <a:gd name="connsiteY34" fmla="*/ 4748811 h 6049690"/>
                <a:gd name="connsiteX35" fmla="*/ 20064093 w 20358094"/>
                <a:gd name="connsiteY35" fmla="*/ 5182565 h 6049690"/>
                <a:gd name="connsiteX36" fmla="*/ 20157877 w 20358094"/>
                <a:gd name="connsiteY36" fmla="*/ 5475642 h 6049690"/>
                <a:gd name="connsiteX37" fmla="*/ 20052370 w 20358094"/>
                <a:gd name="connsiteY37" fmla="*/ 5510811 h 6049690"/>
                <a:gd name="connsiteX38" fmla="*/ 19548277 w 20358094"/>
                <a:gd name="connsiteY38" fmla="*/ 5534257 h 6049690"/>
                <a:gd name="connsiteX39" fmla="*/ 19454493 w 20358094"/>
                <a:gd name="connsiteY39" fmla="*/ 5756996 h 6049690"/>
                <a:gd name="connsiteX40" fmla="*/ 19290370 w 20358094"/>
                <a:gd name="connsiteY40" fmla="*/ 5780442 h 6049690"/>
                <a:gd name="connsiteX41" fmla="*/ 18223570 w 20358094"/>
                <a:gd name="connsiteY41" fmla="*/ 5768719 h 6049690"/>
                <a:gd name="connsiteX42" fmla="*/ 18223570 w 20358094"/>
                <a:gd name="connsiteY42" fmla="*/ 5581150 h 6049690"/>
                <a:gd name="connsiteX43" fmla="*/ 17989108 w 20358094"/>
                <a:gd name="connsiteY43" fmla="*/ 4725365 h 6049690"/>
                <a:gd name="connsiteX44" fmla="*/ 17602247 w 20358094"/>
                <a:gd name="connsiteY44" fmla="*/ 4162657 h 6049690"/>
                <a:gd name="connsiteX45" fmla="*/ 17145047 w 20358094"/>
                <a:gd name="connsiteY45" fmla="*/ 3857857 h 6049690"/>
                <a:gd name="connsiteX46" fmla="*/ 16429939 w 20358094"/>
                <a:gd name="connsiteY46" fmla="*/ 3682011 h 6049690"/>
                <a:gd name="connsiteX47" fmla="*/ 15902401 w 20358094"/>
                <a:gd name="connsiteY47" fmla="*/ 3728904 h 6049690"/>
                <a:gd name="connsiteX48" fmla="*/ 15386585 w 20358094"/>
                <a:gd name="connsiteY48" fmla="*/ 3951642 h 6049690"/>
                <a:gd name="connsiteX49" fmla="*/ 14964554 w 20358094"/>
                <a:gd name="connsiteY49" fmla="*/ 4397119 h 6049690"/>
                <a:gd name="connsiteX50" fmla="*/ 14636308 w 20358094"/>
                <a:gd name="connsiteY50" fmla="*/ 4912934 h 6049690"/>
                <a:gd name="connsiteX51" fmla="*/ 14542524 w 20358094"/>
                <a:gd name="connsiteY51" fmla="*/ 5393581 h 6049690"/>
                <a:gd name="connsiteX52" fmla="*/ 14542524 w 20358094"/>
                <a:gd name="connsiteY52" fmla="*/ 5768719 h 6049690"/>
                <a:gd name="connsiteX53" fmla="*/ 14554247 w 20358094"/>
                <a:gd name="connsiteY53" fmla="*/ 5991457 h 6049690"/>
                <a:gd name="connsiteX54" fmla="*/ 14472185 w 20358094"/>
                <a:gd name="connsiteY54" fmla="*/ 6014904 h 6049690"/>
                <a:gd name="connsiteX55" fmla="*/ 14073601 w 20358094"/>
                <a:gd name="connsiteY55" fmla="*/ 6014904 h 6049690"/>
                <a:gd name="connsiteX56" fmla="*/ 11693816 w 20358094"/>
                <a:gd name="connsiteY56" fmla="*/ 6038350 h 6049690"/>
                <a:gd name="connsiteX57" fmla="*/ 7121816 w 20358094"/>
                <a:gd name="connsiteY57" fmla="*/ 6038350 h 6049690"/>
                <a:gd name="connsiteX58" fmla="*/ 5328185 w 20358094"/>
                <a:gd name="connsiteY58" fmla="*/ 6003181 h 6049690"/>
                <a:gd name="connsiteX59" fmla="*/ 5375077 w 20358094"/>
                <a:gd name="connsiteY59" fmla="*/ 5545980 h 6049690"/>
                <a:gd name="connsiteX60" fmla="*/ 5187508 w 20358094"/>
                <a:gd name="connsiteY60" fmla="*/ 4678473 h 6049690"/>
                <a:gd name="connsiteX61" fmla="*/ 4613077 w 20358094"/>
                <a:gd name="connsiteY61" fmla="*/ 3939920 h 6049690"/>
                <a:gd name="connsiteX62" fmla="*/ 3804185 w 20358094"/>
                <a:gd name="connsiteY62" fmla="*/ 3635119 h 6049690"/>
                <a:gd name="connsiteX63" fmla="*/ 3077355 w 20358094"/>
                <a:gd name="connsiteY63" fmla="*/ 3693734 h 6049690"/>
                <a:gd name="connsiteX64" fmla="*/ 2479477 w 20358094"/>
                <a:gd name="connsiteY64" fmla="*/ 3998534 h 6049690"/>
                <a:gd name="connsiteX65" fmla="*/ 1987108 w 20358094"/>
                <a:gd name="connsiteY65" fmla="*/ 4584688 h 6049690"/>
                <a:gd name="connsiteX66" fmla="*/ 1799539 w 20358094"/>
                <a:gd name="connsiteY66" fmla="*/ 5159119 h 6049690"/>
                <a:gd name="connsiteX67" fmla="*/ 1787816 w 20358094"/>
                <a:gd name="connsiteY67" fmla="*/ 5745273 h 6049690"/>
                <a:gd name="connsiteX68" fmla="*/ 1776093 w 20358094"/>
                <a:gd name="connsiteY68" fmla="*/ 5944565 h 6049690"/>
                <a:gd name="connsiteX69" fmla="*/ 1647139 w 20358094"/>
                <a:gd name="connsiteY69" fmla="*/ 5956288 h 6049690"/>
                <a:gd name="connsiteX70" fmla="*/ 709293 w 20358094"/>
                <a:gd name="connsiteY70" fmla="*/ 5932842 h 6049690"/>
                <a:gd name="connsiteX71" fmla="*/ 556893 w 20358094"/>
                <a:gd name="connsiteY71" fmla="*/ 5909396 h 6049690"/>
                <a:gd name="connsiteX72" fmla="*/ 474831 w 20358094"/>
                <a:gd name="connsiteY72" fmla="*/ 5803888 h 6049690"/>
                <a:gd name="connsiteX73" fmla="*/ 404493 w 20358094"/>
                <a:gd name="connsiteY73" fmla="*/ 5745273 h 6049690"/>
                <a:gd name="connsiteX74" fmla="*/ 263816 w 20358094"/>
                <a:gd name="connsiteY74" fmla="*/ 5581150 h 6049690"/>
                <a:gd name="connsiteX75" fmla="*/ 404493 w 20358094"/>
                <a:gd name="connsiteY75" fmla="*/ 5534257 h 6049690"/>
                <a:gd name="connsiteX76" fmla="*/ 334154 w 20358094"/>
                <a:gd name="connsiteY76" fmla="*/ 5428750 h 6049690"/>
                <a:gd name="connsiteX77" fmla="*/ 240370 w 20358094"/>
                <a:gd name="connsiteY77" fmla="*/ 5030165 h 6049690"/>
                <a:gd name="connsiteX78" fmla="*/ 205201 w 20358094"/>
                <a:gd name="connsiteY78" fmla="*/ 4983273 h 6049690"/>
                <a:gd name="connsiteX79" fmla="*/ 76247 w 20358094"/>
                <a:gd name="connsiteY79" fmla="*/ 4971550 h 6049690"/>
                <a:gd name="connsiteX80" fmla="*/ 52801 w 20358094"/>
                <a:gd name="connsiteY80" fmla="*/ 4842596 h 6049690"/>
                <a:gd name="connsiteX81" fmla="*/ 5908 w 20358094"/>
                <a:gd name="connsiteY81" fmla="*/ 4385396 h 6049690"/>
                <a:gd name="connsiteX82" fmla="*/ 17631 w 20358094"/>
                <a:gd name="connsiteY82" fmla="*/ 4315057 h 6049690"/>
                <a:gd name="connsiteX83" fmla="*/ 158308 w 20358094"/>
                <a:gd name="connsiteY83" fmla="*/ 4279888 h 6049690"/>
                <a:gd name="connsiteX84" fmla="*/ 240370 w 20358094"/>
                <a:gd name="connsiteY84" fmla="*/ 4150934 h 6049690"/>
                <a:gd name="connsiteX85" fmla="*/ 205201 w 20358094"/>
                <a:gd name="connsiteY85" fmla="*/ 3963365 h 6049690"/>
                <a:gd name="connsiteX86" fmla="*/ 193477 w 20358094"/>
                <a:gd name="connsiteY86" fmla="*/ 3623396 h 6049690"/>
                <a:gd name="connsiteX87" fmla="*/ 357601 w 20358094"/>
                <a:gd name="connsiteY87" fmla="*/ 3283427 h 6049690"/>
                <a:gd name="connsiteX88" fmla="*/ 1154770 w 20358094"/>
                <a:gd name="connsiteY88" fmla="*/ 2861396 h 6049690"/>
                <a:gd name="connsiteX89" fmla="*/ 2104339 w 20358094"/>
                <a:gd name="connsiteY89" fmla="*/ 2626934 h 6049690"/>
                <a:gd name="connsiteX90" fmla="*/ 3780739 w 20358094"/>
                <a:gd name="connsiteY90" fmla="*/ 2333857 h 6049690"/>
                <a:gd name="connsiteX91" fmla="*/ 5199231 w 20358094"/>
                <a:gd name="connsiteY91" fmla="*/ 2169734 h 6049690"/>
                <a:gd name="connsiteX92" fmla="*/ 5574370 w 20358094"/>
                <a:gd name="connsiteY92" fmla="*/ 2146288 h 6049690"/>
                <a:gd name="connsiteX93" fmla="*/ 5726770 w 20358094"/>
                <a:gd name="connsiteY93" fmla="*/ 2158011 h 6049690"/>
                <a:gd name="connsiteX94" fmla="*/ 5937785 w 20358094"/>
                <a:gd name="connsiteY94" fmla="*/ 2251796 h 6049690"/>
                <a:gd name="connsiteX95" fmla="*/ 5996401 w 20358094"/>
                <a:gd name="connsiteY95" fmla="*/ 2228350 h 6049690"/>
                <a:gd name="connsiteX0" fmla="*/ 5996401 w 20358094"/>
                <a:gd name="connsiteY0" fmla="*/ 2228350 h 6054551"/>
                <a:gd name="connsiteX1" fmla="*/ 6899077 w 20358094"/>
                <a:gd name="connsiteY1" fmla="*/ 1700811 h 6054551"/>
                <a:gd name="connsiteX2" fmla="*/ 8212062 w 20358094"/>
                <a:gd name="connsiteY2" fmla="*/ 915365 h 6054551"/>
                <a:gd name="connsiteX3" fmla="*/ 9032677 w 20358094"/>
                <a:gd name="connsiteY3" fmla="*/ 528504 h 6054551"/>
                <a:gd name="connsiteX4" fmla="*/ 9079570 w 20358094"/>
                <a:gd name="connsiteY4" fmla="*/ 469888 h 6054551"/>
                <a:gd name="connsiteX5" fmla="*/ 9220247 w 20358094"/>
                <a:gd name="connsiteY5" fmla="*/ 411273 h 6054551"/>
                <a:gd name="connsiteX6" fmla="*/ 10005693 w 20358094"/>
                <a:gd name="connsiteY6" fmla="*/ 188534 h 6054551"/>
                <a:gd name="connsiteX7" fmla="*/ 11365570 w 20358094"/>
                <a:gd name="connsiteY7" fmla="*/ 47857 h 6054551"/>
                <a:gd name="connsiteX8" fmla="*/ 12948185 w 20358094"/>
                <a:gd name="connsiteY8" fmla="*/ 965 h 6054551"/>
                <a:gd name="connsiteX9" fmla="*/ 14565970 w 20358094"/>
                <a:gd name="connsiteY9" fmla="*/ 83027 h 6054551"/>
                <a:gd name="connsiteX10" fmla="*/ 16054801 w 20358094"/>
                <a:gd name="connsiteY10" fmla="*/ 165088 h 6054551"/>
                <a:gd name="connsiteX11" fmla="*/ 17496739 w 20358094"/>
                <a:gd name="connsiteY11" fmla="*/ 364381 h 6054551"/>
                <a:gd name="connsiteX12" fmla="*/ 18036001 w 20358094"/>
                <a:gd name="connsiteY12" fmla="*/ 469888 h 6054551"/>
                <a:gd name="connsiteX13" fmla="*/ 18352524 w 20358094"/>
                <a:gd name="connsiteY13" fmla="*/ 528504 h 6054551"/>
                <a:gd name="connsiteX14" fmla="*/ 18434585 w 20358094"/>
                <a:gd name="connsiteY14" fmla="*/ 575396 h 6054551"/>
                <a:gd name="connsiteX15" fmla="*/ 18469754 w 20358094"/>
                <a:gd name="connsiteY15" fmla="*/ 634011 h 6054551"/>
                <a:gd name="connsiteX16" fmla="*/ 18903508 w 20358094"/>
                <a:gd name="connsiteY16" fmla="*/ 1091211 h 6054551"/>
                <a:gd name="connsiteX17" fmla="*/ 19560001 w 20358094"/>
                <a:gd name="connsiteY17" fmla="*/ 1853211 h 6054551"/>
                <a:gd name="connsiteX18" fmla="*/ 19665508 w 20358094"/>
                <a:gd name="connsiteY18" fmla="*/ 1993888 h 6054551"/>
                <a:gd name="connsiteX19" fmla="*/ 19864801 w 20358094"/>
                <a:gd name="connsiteY19" fmla="*/ 2099396 h 6054551"/>
                <a:gd name="connsiteX20" fmla="*/ 19946862 w 20358094"/>
                <a:gd name="connsiteY20" fmla="*/ 2228350 h 6054551"/>
                <a:gd name="connsiteX21" fmla="*/ 19911693 w 20358094"/>
                <a:gd name="connsiteY21" fmla="*/ 2415919 h 6054551"/>
                <a:gd name="connsiteX22" fmla="*/ 19923417 w 20358094"/>
                <a:gd name="connsiteY22" fmla="*/ 2779335 h 6054551"/>
                <a:gd name="connsiteX23" fmla="*/ 19888247 w 20358094"/>
                <a:gd name="connsiteY23" fmla="*/ 3060688 h 6054551"/>
                <a:gd name="connsiteX24" fmla="*/ 19993754 w 20358094"/>
                <a:gd name="connsiteY24" fmla="*/ 3271704 h 6054551"/>
                <a:gd name="connsiteX25" fmla="*/ 19982031 w 20358094"/>
                <a:gd name="connsiteY25" fmla="*/ 3447550 h 6054551"/>
                <a:gd name="connsiteX26" fmla="*/ 19935139 w 20358094"/>
                <a:gd name="connsiteY26" fmla="*/ 3635119 h 6054551"/>
                <a:gd name="connsiteX27" fmla="*/ 20134431 w 20358094"/>
                <a:gd name="connsiteY27" fmla="*/ 3705457 h 6054551"/>
                <a:gd name="connsiteX28" fmla="*/ 20275108 w 20358094"/>
                <a:gd name="connsiteY28" fmla="*/ 3752350 h 6054551"/>
                <a:gd name="connsiteX29" fmla="*/ 20345447 w 20358094"/>
                <a:gd name="connsiteY29" fmla="*/ 3846134 h 6054551"/>
                <a:gd name="connsiteX30" fmla="*/ 20357170 w 20358094"/>
                <a:gd name="connsiteY30" fmla="*/ 4010257 h 6054551"/>
                <a:gd name="connsiteX31" fmla="*/ 20333725 w 20358094"/>
                <a:gd name="connsiteY31" fmla="*/ 4209550 h 6054551"/>
                <a:gd name="connsiteX32" fmla="*/ 20275108 w 20358094"/>
                <a:gd name="connsiteY32" fmla="*/ 4397119 h 6054551"/>
                <a:gd name="connsiteX33" fmla="*/ 20169601 w 20358094"/>
                <a:gd name="connsiteY33" fmla="*/ 4432288 h 6054551"/>
                <a:gd name="connsiteX34" fmla="*/ 20087539 w 20358094"/>
                <a:gd name="connsiteY34" fmla="*/ 4748811 h 6054551"/>
                <a:gd name="connsiteX35" fmla="*/ 20064093 w 20358094"/>
                <a:gd name="connsiteY35" fmla="*/ 5182565 h 6054551"/>
                <a:gd name="connsiteX36" fmla="*/ 20157877 w 20358094"/>
                <a:gd name="connsiteY36" fmla="*/ 5475642 h 6054551"/>
                <a:gd name="connsiteX37" fmla="*/ 20052370 w 20358094"/>
                <a:gd name="connsiteY37" fmla="*/ 5510811 h 6054551"/>
                <a:gd name="connsiteX38" fmla="*/ 19548277 w 20358094"/>
                <a:gd name="connsiteY38" fmla="*/ 5534257 h 6054551"/>
                <a:gd name="connsiteX39" fmla="*/ 19454493 w 20358094"/>
                <a:gd name="connsiteY39" fmla="*/ 5756996 h 6054551"/>
                <a:gd name="connsiteX40" fmla="*/ 19290370 w 20358094"/>
                <a:gd name="connsiteY40" fmla="*/ 5780442 h 6054551"/>
                <a:gd name="connsiteX41" fmla="*/ 18223570 w 20358094"/>
                <a:gd name="connsiteY41" fmla="*/ 5768719 h 6054551"/>
                <a:gd name="connsiteX42" fmla="*/ 18223570 w 20358094"/>
                <a:gd name="connsiteY42" fmla="*/ 5581150 h 6054551"/>
                <a:gd name="connsiteX43" fmla="*/ 17989108 w 20358094"/>
                <a:gd name="connsiteY43" fmla="*/ 4725365 h 6054551"/>
                <a:gd name="connsiteX44" fmla="*/ 17602247 w 20358094"/>
                <a:gd name="connsiteY44" fmla="*/ 4162657 h 6054551"/>
                <a:gd name="connsiteX45" fmla="*/ 17145047 w 20358094"/>
                <a:gd name="connsiteY45" fmla="*/ 3857857 h 6054551"/>
                <a:gd name="connsiteX46" fmla="*/ 16429939 w 20358094"/>
                <a:gd name="connsiteY46" fmla="*/ 3682011 h 6054551"/>
                <a:gd name="connsiteX47" fmla="*/ 15902401 w 20358094"/>
                <a:gd name="connsiteY47" fmla="*/ 3728904 h 6054551"/>
                <a:gd name="connsiteX48" fmla="*/ 15386585 w 20358094"/>
                <a:gd name="connsiteY48" fmla="*/ 3951642 h 6054551"/>
                <a:gd name="connsiteX49" fmla="*/ 14964554 w 20358094"/>
                <a:gd name="connsiteY49" fmla="*/ 4397119 h 6054551"/>
                <a:gd name="connsiteX50" fmla="*/ 14636308 w 20358094"/>
                <a:gd name="connsiteY50" fmla="*/ 4912934 h 6054551"/>
                <a:gd name="connsiteX51" fmla="*/ 14542524 w 20358094"/>
                <a:gd name="connsiteY51" fmla="*/ 5393581 h 6054551"/>
                <a:gd name="connsiteX52" fmla="*/ 14542524 w 20358094"/>
                <a:gd name="connsiteY52" fmla="*/ 5768719 h 6054551"/>
                <a:gd name="connsiteX53" fmla="*/ 14554247 w 20358094"/>
                <a:gd name="connsiteY53" fmla="*/ 5991457 h 6054551"/>
                <a:gd name="connsiteX54" fmla="*/ 14472185 w 20358094"/>
                <a:gd name="connsiteY54" fmla="*/ 6014904 h 6054551"/>
                <a:gd name="connsiteX55" fmla="*/ 14073601 w 20358094"/>
                <a:gd name="connsiteY55" fmla="*/ 6014904 h 6054551"/>
                <a:gd name="connsiteX56" fmla="*/ 11693816 w 20358094"/>
                <a:gd name="connsiteY56" fmla="*/ 6038350 h 6054551"/>
                <a:gd name="connsiteX57" fmla="*/ 7121816 w 20358094"/>
                <a:gd name="connsiteY57" fmla="*/ 6038350 h 6054551"/>
                <a:gd name="connsiteX58" fmla="*/ 5328185 w 20358094"/>
                <a:gd name="connsiteY58" fmla="*/ 6003181 h 6054551"/>
                <a:gd name="connsiteX59" fmla="*/ 5375077 w 20358094"/>
                <a:gd name="connsiteY59" fmla="*/ 5545980 h 6054551"/>
                <a:gd name="connsiteX60" fmla="*/ 5187508 w 20358094"/>
                <a:gd name="connsiteY60" fmla="*/ 4678473 h 6054551"/>
                <a:gd name="connsiteX61" fmla="*/ 4613077 w 20358094"/>
                <a:gd name="connsiteY61" fmla="*/ 3939920 h 6054551"/>
                <a:gd name="connsiteX62" fmla="*/ 3804185 w 20358094"/>
                <a:gd name="connsiteY62" fmla="*/ 3635119 h 6054551"/>
                <a:gd name="connsiteX63" fmla="*/ 3077355 w 20358094"/>
                <a:gd name="connsiteY63" fmla="*/ 3693734 h 6054551"/>
                <a:gd name="connsiteX64" fmla="*/ 2479477 w 20358094"/>
                <a:gd name="connsiteY64" fmla="*/ 3998534 h 6054551"/>
                <a:gd name="connsiteX65" fmla="*/ 1987108 w 20358094"/>
                <a:gd name="connsiteY65" fmla="*/ 4584688 h 6054551"/>
                <a:gd name="connsiteX66" fmla="*/ 1799539 w 20358094"/>
                <a:gd name="connsiteY66" fmla="*/ 5159119 h 6054551"/>
                <a:gd name="connsiteX67" fmla="*/ 1787816 w 20358094"/>
                <a:gd name="connsiteY67" fmla="*/ 5745273 h 6054551"/>
                <a:gd name="connsiteX68" fmla="*/ 1776093 w 20358094"/>
                <a:gd name="connsiteY68" fmla="*/ 5944565 h 6054551"/>
                <a:gd name="connsiteX69" fmla="*/ 1647139 w 20358094"/>
                <a:gd name="connsiteY69" fmla="*/ 5956288 h 6054551"/>
                <a:gd name="connsiteX70" fmla="*/ 709293 w 20358094"/>
                <a:gd name="connsiteY70" fmla="*/ 5932842 h 6054551"/>
                <a:gd name="connsiteX71" fmla="*/ 556893 w 20358094"/>
                <a:gd name="connsiteY71" fmla="*/ 5909396 h 6054551"/>
                <a:gd name="connsiteX72" fmla="*/ 474831 w 20358094"/>
                <a:gd name="connsiteY72" fmla="*/ 5803888 h 6054551"/>
                <a:gd name="connsiteX73" fmla="*/ 404493 w 20358094"/>
                <a:gd name="connsiteY73" fmla="*/ 5745273 h 6054551"/>
                <a:gd name="connsiteX74" fmla="*/ 263816 w 20358094"/>
                <a:gd name="connsiteY74" fmla="*/ 5581150 h 6054551"/>
                <a:gd name="connsiteX75" fmla="*/ 404493 w 20358094"/>
                <a:gd name="connsiteY75" fmla="*/ 5534257 h 6054551"/>
                <a:gd name="connsiteX76" fmla="*/ 334154 w 20358094"/>
                <a:gd name="connsiteY76" fmla="*/ 5428750 h 6054551"/>
                <a:gd name="connsiteX77" fmla="*/ 240370 w 20358094"/>
                <a:gd name="connsiteY77" fmla="*/ 5030165 h 6054551"/>
                <a:gd name="connsiteX78" fmla="*/ 205201 w 20358094"/>
                <a:gd name="connsiteY78" fmla="*/ 4983273 h 6054551"/>
                <a:gd name="connsiteX79" fmla="*/ 76247 w 20358094"/>
                <a:gd name="connsiteY79" fmla="*/ 4971550 h 6054551"/>
                <a:gd name="connsiteX80" fmla="*/ 52801 w 20358094"/>
                <a:gd name="connsiteY80" fmla="*/ 4842596 h 6054551"/>
                <a:gd name="connsiteX81" fmla="*/ 5908 w 20358094"/>
                <a:gd name="connsiteY81" fmla="*/ 4385396 h 6054551"/>
                <a:gd name="connsiteX82" fmla="*/ 17631 w 20358094"/>
                <a:gd name="connsiteY82" fmla="*/ 4315057 h 6054551"/>
                <a:gd name="connsiteX83" fmla="*/ 158308 w 20358094"/>
                <a:gd name="connsiteY83" fmla="*/ 4279888 h 6054551"/>
                <a:gd name="connsiteX84" fmla="*/ 240370 w 20358094"/>
                <a:gd name="connsiteY84" fmla="*/ 4150934 h 6054551"/>
                <a:gd name="connsiteX85" fmla="*/ 205201 w 20358094"/>
                <a:gd name="connsiteY85" fmla="*/ 3963365 h 6054551"/>
                <a:gd name="connsiteX86" fmla="*/ 193477 w 20358094"/>
                <a:gd name="connsiteY86" fmla="*/ 3623396 h 6054551"/>
                <a:gd name="connsiteX87" fmla="*/ 357601 w 20358094"/>
                <a:gd name="connsiteY87" fmla="*/ 3283427 h 6054551"/>
                <a:gd name="connsiteX88" fmla="*/ 1154770 w 20358094"/>
                <a:gd name="connsiteY88" fmla="*/ 2861396 h 6054551"/>
                <a:gd name="connsiteX89" fmla="*/ 2104339 w 20358094"/>
                <a:gd name="connsiteY89" fmla="*/ 2626934 h 6054551"/>
                <a:gd name="connsiteX90" fmla="*/ 3780739 w 20358094"/>
                <a:gd name="connsiteY90" fmla="*/ 2333857 h 6054551"/>
                <a:gd name="connsiteX91" fmla="*/ 5199231 w 20358094"/>
                <a:gd name="connsiteY91" fmla="*/ 2169734 h 6054551"/>
                <a:gd name="connsiteX92" fmla="*/ 5574370 w 20358094"/>
                <a:gd name="connsiteY92" fmla="*/ 2146288 h 6054551"/>
                <a:gd name="connsiteX93" fmla="*/ 5726770 w 20358094"/>
                <a:gd name="connsiteY93" fmla="*/ 2158011 h 6054551"/>
                <a:gd name="connsiteX94" fmla="*/ 5937785 w 20358094"/>
                <a:gd name="connsiteY94" fmla="*/ 2251796 h 6054551"/>
                <a:gd name="connsiteX95" fmla="*/ 5996401 w 20358094"/>
                <a:gd name="connsiteY95" fmla="*/ 2228350 h 6054551"/>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51631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36308 w 20358094"/>
                <a:gd name="connsiteY50" fmla="*/ 4912934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48994 w 20358094"/>
                <a:gd name="connsiteY26" fmla="*/ 3648974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37785 w 20358094"/>
                <a:gd name="connsiteY0" fmla="*/ 2251796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144 h 6042876"/>
                <a:gd name="connsiteX1" fmla="*/ 6899077 w 20358094"/>
                <a:gd name="connsiteY1" fmla="*/ 1680159 h 6042876"/>
                <a:gd name="connsiteX2" fmla="*/ 8218989 w 20358094"/>
                <a:gd name="connsiteY2" fmla="*/ 929350 h 6042876"/>
                <a:gd name="connsiteX3" fmla="*/ 9032677 w 20358094"/>
                <a:gd name="connsiteY3" fmla="*/ 528634 h 6042876"/>
                <a:gd name="connsiteX4" fmla="*/ 9079570 w 20358094"/>
                <a:gd name="connsiteY4" fmla="*/ 470018 h 6042876"/>
                <a:gd name="connsiteX5" fmla="*/ 9220247 w 20358094"/>
                <a:gd name="connsiteY5" fmla="*/ 411403 h 6042876"/>
                <a:gd name="connsiteX6" fmla="*/ 10022627 w 20358094"/>
                <a:gd name="connsiteY6" fmla="*/ 209830 h 6042876"/>
                <a:gd name="connsiteX7" fmla="*/ 11365570 w 20358094"/>
                <a:gd name="connsiteY7" fmla="*/ 47987 h 6042876"/>
                <a:gd name="connsiteX8" fmla="*/ 12948185 w 20358094"/>
                <a:gd name="connsiteY8" fmla="*/ 1095 h 6042876"/>
                <a:gd name="connsiteX9" fmla="*/ 14565970 w 20358094"/>
                <a:gd name="connsiteY9" fmla="*/ 83157 h 6042876"/>
                <a:gd name="connsiteX10" fmla="*/ 16054801 w 20358094"/>
                <a:gd name="connsiteY10" fmla="*/ 165218 h 6042876"/>
                <a:gd name="connsiteX11" fmla="*/ 17496739 w 20358094"/>
                <a:gd name="connsiteY11" fmla="*/ 364511 h 6042876"/>
                <a:gd name="connsiteX12" fmla="*/ 18036001 w 20358094"/>
                <a:gd name="connsiteY12" fmla="*/ 470018 h 6042876"/>
                <a:gd name="connsiteX13" fmla="*/ 18352524 w 20358094"/>
                <a:gd name="connsiteY13" fmla="*/ 528634 h 6042876"/>
                <a:gd name="connsiteX14" fmla="*/ 18434585 w 20358094"/>
                <a:gd name="connsiteY14" fmla="*/ 575526 h 6042876"/>
                <a:gd name="connsiteX15" fmla="*/ 18469754 w 20358094"/>
                <a:gd name="connsiteY15" fmla="*/ 634141 h 6042876"/>
                <a:gd name="connsiteX16" fmla="*/ 18903508 w 20358094"/>
                <a:gd name="connsiteY16" fmla="*/ 1091341 h 6042876"/>
                <a:gd name="connsiteX17" fmla="*/ 19560001 w 20358094"/>
                <a:gd name="connsiteY17" fmla="*/ 1853341 h 6042876"/>
                <a:gd name="connsiteX18" fmla="*/ 19665508 w 20358094"/>
                <a:gd name="connsiteY18" fmla="*/ 1994018 h 6042876"/>
                <a:gd name="connsiteX19" fmla="*/ 19864801 w 20358094"/>
                <a:gd name="connsiteY19" fmla="*/ 2099526 h 6042876"/>
                <a:gd name="connsiteX20" fmla="*/ 19946862 w 20358094"/>
                <a:gd name="connsiteY20" fmla="*/ 2228480 h 6042876"/>
                <a:gd name="connsiteX21" fmla="*/ 19911693 w 20358094"/>
                <a:gd name="connsiteY21" fmla="*/ 2416049 h 6042876"/>
                <a:gd name="connsiteX22" fmla="*/ 19958052 w 20358094"/>
                <a:gd name="connsiteY22" fmla="*/ 2744828 h 6042876"/>
                <a:gd name="connsiteX23" fmla="*/ 19922884 w 20358094"/>
                <a:gd name="connsiteY23" fmla="*/ 3046963 h 6042876"/>
                <a:gd name="connsiteX24" fmla="*/ 19993754 w 20358094"/>
                <a:gd name="connsiteY24" fmla="*/ 3271834 h 6042876"/>
                <a:gd name="connsiteX25" fmla="*/ 19982031 w 20358094"/>
                <a:gd name="connsiteY25" fmla="*/ 3447680 h 6042876"/>
                <a:gd name="connsiteX26" fmla="*/ 19962849 w 20358094"/>
                <a:gd name="connsiteY26" fmla="*/ 3642177 h 6042876"/>
                <a:gd name="connsiteX27" fmla="*/ 20134431 w 20358094"/>
                <a:gd name="connsiteY27" fmla="*/ 3705587 h 6042876"/>
                <a:gd name="connsiteX28" fmla="*/ 20275108 w 20358094"/>
                <a:gd name="connsiteY28" fmla="*/ 3752480 h 6042876"/>
                <a:gd name="connsiteX29" fmla="*/ 20345447 w 20358094"/>
                <a:gd name="connsiteY29" fmla="*/ 3846264 h 6042876"/>
                <a:gd name="connsiteX30" fmla="*/ 20357170 w 20358094"/>
                <a:gd name="connsiteY30" fmla="*/ 4010387 h 6042876"/>
                <a:gd name="connsiteX31" fmla="*/ 20333725 w 20358094"/>
                <a:gd name="connsiteY31" fmla="*/ 4209680 h 6042876"/>
                <a:gd name="connsiteX32" fmla="*/ 20275108 w 20358094"/>
                <a:gd name="connsiteY32" fmla="*/ 4397249 h 6042876"/>
                <a:gd name="connsiteX33" fmla="*/ 20169601 w 20358094"/>
                <a:gd name="connsiteY33" fmla="*/ 4432418 h 6042876"/>
                <a:gd name="connsiteX34" fmla="*/ 20087539 w 20358094"/>
                <a:gd name="connsiteY34" fmla="*/ 4748941 h 6042876"/>
                <a:gd name="connsiteX35" fmla="*/ 20064093 w 20358094"/>
                <a:gd name="connsiteY35" fmla="*/ 5182695 h 6042876"/>
                <a:gd name="connsiteX36" fmla="*/ 20157877 w 20358094"/>
                <a:gd name="connsiteY36" fmla="*/ 5475772 h 6042876"/>
                <a:gd name="connsiteX37" fmla="*/ 20052370 w 20358094"/>
                <a:gd name="connsiteY37" fmla="*/ 5510941 h 6042876"/>
                <a:gd name="connsiteX38" fmla="*/ 19548277 w 20358094"/>
                <a:gd name="connsiteY38" fmla="*/ 5534387 h 6042876"/>
                <a:gd name="connsiteX39" fmla="*/ 19454493 w 20358094"/>
                <a:gd name="connsiteY39" fmla="*/ 5757126 h 6042876"/>
                <a:gd name="connsiteX40" fmla="*/ 19290370 w 20358094"/>
                <a:gd name="connsiteY40" fmla="*/ 5780572 h 6042876"/>
                <a:gd name="connsiteX41" fmla="*/ 18223570 w 20358094"/>
                <a:gd name="connsiteY41" fmla="*/ 5768849 h 6042876"/>
                <a:gd name="connsiteX42" fmla="*/ 18223570 w 20358094"/>
                <a:gd name="connsiteY42" fmla="*/ 5581280 h 6042876"/>
                <a:gd name="connsiteX43" fmla="*/ 18009890 w 20358094"/>
                <a:gd name="connsiteY43" fmla="*/ 4725495 h 6042876"/>
                <a:gd name="connsiteX44" fmla="*/ 17602247 w 20358094"/>
                <a:gd name="connsiteY44" fmla="*/ 4162787 h 6042876"/>
                <a:gd name="connsiteX45" fmla="*/ 17145047 w 20358094"/>
                <a:gd name="connsiteY45" fmla="*/ 3857987 h 6042876"/>
                <a:gd name="connsiteX46" fmla="*/ 16429939 w 20358094"/>
                <a:gd name="connsiteY46" fmla="*/ 3682141 h 6042876"/>
                <a:gd name="connsiteX47" fmla="*/ 15902401 w 20358094"/>
                <a:gd name="connsiteY47" fmla="*/ 3729034 h 6042876"/>
                <a:gd name="connsiteX48" fmla="*/ 15386585 w 20358094"/>
                <a:gd name="connsiteY48" fmla="*/ 3979481 h 6042876"/>
                <a:gd name="connsiteX49" fmla="*/ 14964554 w 20358094"/>
                <a:gd name="connsiteY49" fmla="*/ 4397249 h 6042876"/>
                <a:gd name="connsiteX50" fmla="*/ 14664550 w 20358094"/>
                <a:gd name="connsiteY50" fmla="*/ 4936510 h 6042876"/>
                <a:gd name="connsiteX51" fmla="*/ 14542524 w 20358094"/>
                <a:gd name="connsiteY51" fmla="*/ 5393711 h 6042876"/>
                <a:gd name="connsiteX52" fmla="*/ 14542524 w 20358094"/>
                <a:gd name="connsiteY52" fmla="*/ 5768849 h 6042876"/>
                <a:gd name="connsiteX53" fmla="*/ 14554247 w 20358094"/>
                <a:gd name="connsiteY53" fmla="*/ 5991587 h 6042876"/>
                <a:gd name="connsiteX54" fmla="*/ 14472185 w 20358094"/>
                <a:gd name="connsiteY54" fmla="*/ 6015034 h 6042876"/>
                <a:gd name="connsiteX55" fmla="*/ 14073601 w 20358094"/>
                <a:gd name="connsiteY55" fmla="*/ 6015034 h 6042876"/>
                <a:gd name="connsiteX56" fmla="*/ 11693816 w 20358094"/>
                <a:gd name="connsiteY56" fmla="*/ 6038480 h 6042876"/>
                <a:gd name="connsiteX57" fmla="*/ 7121816 w 20358094"/>
                <a:gd name="connsiteY57" fmla="*/ 6038480 h 6042876"/>
                <a:gd name="connsiteX58" fmla="*/ 5328185 w 20358094"/>
                <a:gd name="connsiteY58" fmla="*/ 6003311 h 6042876"/>
                <a:gd name="connsiteX59" fmla="*/ 5351631 w 20358094"/>
                <a:gd name="connsiteY59" fmla="*/ 5510941 h 6042876"/>
                <a:gd name="connsiteX60" fmla="*/ 5187508 w 20358094"/>
                <a:gd name="connsiteY60" fmla="*/ 4678603 h 6042876"/>
                <a:gd name="connsiteX61" fmla="*/ 4613077 w 20358094"/>
                <a:gd name="connsiteY61" fmla="*/ 3940050 h 6042876"/>
                <a:gd name="connsiteX62" fmla="*/ 3804185 w 20358094"/>
                <a:gd name="connsiteY62" fmla="*/ 3635249 h 6042876"/>
                <a:gd name="connsiteX63" fmla="*/ 3077355 w 20358094"/>
                <a:gd name="connsiteY63" fmla="*/ 3693864 h 6042876"/>
                <a:gd name="connsiteX64" fmla="*/ 2479477 w 20358094"/>
                <a:gd name="connsiteY64" fmla="*/ 3998664 h 6042876"/>
                <a:gd name="connsiteX65" fmla="*/ 1987108 w 20358094"/>
                <a:gd name="connsiteY65" fmla="*/ 4584818 h 6042876"/>
                <a:gd name="connsiteX66" fmla="*/ 1799539 w 20358094"/>
                <a:gd name="connsiteY66" fmla="*/ 5159249 h 6042876"/>
                <a:gd name="connsiteX67" fmla="*/ 1787816 w 20358094"/>
                <a:gd name="connsiteY67" fmla="*/ 5745403 h 6042876"/>
                <a:gd name="connsiteX68" fmla="*/ 1776093 w 20358094"/>
                <a:gd name="connsiteY68" fmla="*/ 5944695 h 6042876"/>
                <a:gd name="connsiteX69" fmla="*/ 1647139 w 20358094"/>
                <a:gd name="connsiteY69" fmla="*/ 5956418 h 6042876"/>
                <a:gd name="connsiteX70" fmla="*/ 709293 w 20358094"/>
                <a:gd name="connsiteY70" fmla="*/ 5932972 h 6042876"/>
                <a:gd name="connsiteX71" fmla="*/ 556893 w 20358094"/>
                <a:gd name="connsiteY71" fmla="*/ 5909526 h 6042876"/>
                <a:gd name="connsiteX72" fmla="*/ 474831 w 20358094"/>
                <a:gd name="connsiteY72" fmla="*/ 5804018 h 6042876"/>
                <a:gd name="connsiteX73" fmla="*/ 404493 w 20358094"/>
                <a:gd name="connsiteY73" fmla="*/ 5745403 h 6042876"/>
                <a:gd name="connsiteX74" fmla="*/ 263816 w 20358094"/>
                <a:gd name="connsiteY74" fmla="*/ 5581280 h 6042876"/>
                <a:gd name="connsiteX75" fmla="*/ 404493 w 20358094"/>
                <a:gd name="connsiteY75" fmla="*/ 5534387 h 6042876"/>
                <a:gd name="connsiteX76" fmla="*/ 334154 w 20358094"/>
                <a:gd name="connsiteY76" fmla="*/ 5428880 h 6042876"/>
                <a:gd name="connsiteX77" fmla="*/ 240370 w 20358094"/>
                <a:gd name="connsiteY77" fmla="*/ 5030295 h 6042876"/>
                <a:gd name="connsiteX78" fmla="*/ 205201 w 20358094"/>
                <a:gd name="connsiteY78" fmla="*/ 4983403 h 6042876"/>
                <a:gd name="connsiteX79" fmla="*/ 76247 w 20358094"/>
                <a:gd name="connsiteY79" fmla="*/ 4971680 h 6042876"/>
                <a:gd name="connsiteX80" fmla="*/ 52801 w 20358094"/>
                <a:gd name="connsiteY80" fmla="*/ 4842726 h 6042876"/>
                <a:gd name="connsiteX81" fmla="*/ 5908 w 20358094"/>
                <a:gd name="connsiteY81" fmla="*/ 4385526 h 6042876"/>
                <a:gd name="connsiteX82" fmla="*/ 17631 w 20358094"/>
                <a:gd name="connsiteY82" fmla="*/ 4315187 h 6042876"/>
                <a:gd name="connsiteX83" fmla="*/ 158308 w 20358094"/>
                <a:gd name="connsiteY83" fmla="*/ 4280018 h 6042876"/>
                <a:gd name="connsiteX84" fmla="*/ 240370 w 20358094"/>
                <a:gd name="connsiteY84" fmla="*/ 4151064 h 6042876"/>
                <a:gd name="connsiteX85" fmla="*/ 205201 w 20358094"/>
                <a:gd name="connsiteY85" fmla="*/ 3963495 h 6042876"/>
                <a:gd name="connsiteX86" fmla="*/ 193477 w 20358094"/>
                <a:gd name="connsiteY86" fmla="*/ 3623526 h 6042876"/>
                <a:gd name="connsiteX87" fmla="*/ 357601 w 20358094"/>
                <a:gd name="connsiteY87" fmla="*/ 3283557 h 6042876"/>
                <a:gd name="connsiteX88" fmla="*/ 1154770 w 20358094"/>
                <a:gd name="connsiteY88" fmla="*/ 2861526 h 6042876"/>
                <a:gd name="connsiteX89" fmla="*/ 2104339 w 20358094"/>
                <a:gd name="connsiteY89" fmla="*/ 2627064 h 6042876"/>
                <a:gd name="connsiteX90" fmla="*/ 3780739 w 20358094"/>
                <a:gd name="connsiteY90" fmla="*/ 2333987 h 6042876"/>
                <a:gd name="connsiteX91" fmla="*/ 5199231 w 20358094"/>
                <a:gd name="connsiteY91" fmla="*/ 2169864 h 6042876"/>
                <a:gd name="connsiteX92" fmla="*/ 5574370 w 20358094"/>
                <a:gd name="connsiteY92" fmla="*/ 2146418 h 6042876"/>
                <a:gd name="connsiteX93" fmla="*/ 5726770 w 20358094"/>
                <a:gd name="connsiteY93" fmla="*/ 2158141 h 6042876"/>
                <a:gd name="connsiteX94" fmla="*/ 5972421 w 20358094"/>
                <a:gd name="connsiteY94" fmla="*/ 2231144 h 6042876"/>
                <a:gd name="connsiteX0" fmla="*/ 5972421 w 20358094"/>
                <a:gd name="connsiteY0" fmla="*/ 2219181 h 6030913"/>
                <a:gd name="connsiteX1" fmla="*/ 6899077 w 20358094"/>
                <a:gd name="connsiteY1" fmla="*/ 1668196 h 6030913"/>
                <a:gd name="connsiteX2" fmla="*/ 8218989 w 20358094"/>
                <a:gd name="connsiteY2" fmla="*/ 917387 h 6030913"/>
                <a:gd name="connsiteX3" fmla="*/ 9032677 w 20358094"/>
                <a:gd name="connsiteY3" fmla="*/ 516671 h 6030913"/>
                <a:gd name="connsiteX4" fmla="*/ 9079570 w 20358094"/>
                <a:gd name="connsiteY4" fmla="*/ 458055 h 6030913"/>
                <a:gd name="connsiteX5" fmla="*/ 9220247 w 20358094"/>
                <a:gd name="connsiteY5" fmla="*/ 399440 h 6030913"/>
                <a:gd name="connsiteX6" fmla="*/ 10022627 w 20358094"/>
                <a:gd name="connsiteY6" fmla="*/ 197867 h 6030913"/>
                <a:gd name="connsiteX7" fmla="*/ 11365570 w 20358094"/>
                <a:gd name="connsiteY7" fmla="*/ 36024 h 6030913"/>
                <a:gd name="connsiteX8" fmla="*/ 12943952 w 20358094"/>
                <a:gd name="connsiteY8" fmla="*/ 1832 h 6030913"/>
                <a:gd name="connsiteX9" fmla="*/ 14565970 w 20358094"/>
                <a:gd name="connsiteY9" fmla="*/ 71194 h 6030913"/>
                <a:gd name="connsiteX10" fmla="*/ 16054801 w 20358094"/>
                <a:gd name="connsiteY10" fmla="*/ 153255 h 6030913"/>
                <a:gd name="connsiteX11" fmla="*/ 17496739 w 20358094"/>
                <a:gd name="connsiteY11" fmla="*/ 352548 h 6030913"/>
                <a:gd name="connsiteX12" fmla="*/ 18036001 w 20358094"/>
                <a:gd name="connsiteY12" fmla="*/ 458055 h 6030913"/>
                <a:gd name="connsiteX13" fmla="*/ 18352524 w 20358094"/>
                <a:gd name="connsiteY13" fmla="*/ 516671 h 6030913"/>
                <a:gd name="connsiteX14" fmla="*/ 18434585 w 20358094"/>
                <a:gd name="connsiteY14" fmla="*/ 563563 h 6030913"/>
                <a:gd name="connsiteX15" fmla="*/ 18469754 w 20358094"/>
                <a:gd name="connsiteY15" fmla="*/ 622178 h 6030913"/>
                <a:gd name="connsiteX16" fmla="*/ 18903508 w 20358094"/>
                <a:gd name="connsiteY16" fmla="*/ 1079378 h 6030913"/>
                <a:gd name="connsiteX17" fmla="*/ 19560001 w 20358094"/>
                <a:gd name="connsiteY17" fmla="*/ 1841378 h 6030913"/>
                <a:gd name="connsiteX18" fmla="*/ 19665508 w 20358094"/>
                <a:gd name="connsiteY18" fmla="*/ 1982055 h 6030913"/>
                <a:gd name="connsiteX19" fmla="*/ 19864801 w 20358094"/>
                <a:gd name="connsiteY19" fmla="*/ 2087563 h 6030913"/>
                <a:gd name="connsiteX20" fmla="*/ 19946862 w 20358094"/>
                <a:gd name="connsiteY20" fmla="*/ 2216517 h 6030913"/>
                <a:gd name="connsiteX21" fmla="*/ 19911693 w 20358094"/>
                <a:gd name="connsiteY21" fmla="*/ 2404086 h 6030913"/>
                <a:gd name="connsiteX22" fmla="*/ 19958052 w 20358094"/>
                <a:gd name="connsiteY22" fmla="*/ 2732865 h 6030913"/>
                <a:gd name="connsiteX23" fmla="*/ 19922884 w 20358094"/>
                <a:gd name="connsiteY23" fmla="*/ 3035000 h 6030913"/>
                <a:gd name="connsiteX24" fmla="*/ 19993754 w 20358094"/>
                <a:gd name="connsiteY24" fmla="*/ 3259871 h 6030913"/>
                <a:gd name="connsiteX25" fmla="*/ 19982031 w 20358094"/>
                <a:gd name="connsiteY25" fmla="*/ 3435717 h 6030913"/>
                <a:gd name="connsiteX26" fmla="*/ 19962849 w 20358094"/>
                <a:gd name="connsiteY26" fmla="*/ 3630214 h 6030913"/>
                <a:gd name="connsiteX27" fmla="*/ 20134431 w 20358094"/>
                <a:gd name="connsiteY27" fmla="*/ 3693624 h 6030913"/>
                <a:gd name="connsiteX28" fmla="*/ 20275108 w 20358094"/>
                <a:gd name="connsiteY28" fmla="*/ 3740517 h 6030913"/>
                <a:gd name="connsiteX29" fmla="*/ 20345447 w 20358094"/>
                <a:gd name="connsiteY29" fmla="*/ 3834301 h 6030913"/>
                <a:gd name="connsiteX30" fmla="*/ 20357170 w 20358094"/>
                <a:gd name="connsiteY30" fmla="*/ 3998424 h 6030913"/>
                <a:gd name="connsiteX31" fmla="*/ 20333725 w 20358094"/>
                <a:gd name="connsiteY31" fmla="*/ 4197717 h 6030913"/>
                <a:gd name="connsiteX32" fmla="*/ 20275108 w 20358094"/>
                <a:gd name="connsiteY32" fmla="*/ 4385286 h 6030913"/>
                <a:gd name="connsiteX33" fmla="*/ 20169601 w 20358094"/>
                <a:gd name="connsiteY33" fmla="*/ 4420455 h 6030913"/>
                <a:gd name="connsiteX34" fmla="*/ 20087539 w 20358094"/>
                <a:gd name="connsiteY34" fmla="*/ 4736978 h 6030913"/>
                <a:gd name="connsiteX35" fmla="*/ 20064093 w 20358094"/>
                <a:gd name="connsiteY35" fmla="*/ 5170732 h 6030913"/>
                <a:gd name="connsiteX36" fmla="*/ 20157877 w 20358094"/>
                <a:gd name="connsiteY36" fmla="*/ 5463809 h 6030913"/>
                <a:gd name="connsiteX37" fmla="*/ 20052370 w 20358094"/>
                <a:gd name="connsiteY37" fmla="*/ 5498978 h 6030913"/>
                <a:gd name="connsiteX38" fmla="*/ 19548277 w 20358094"/>
                <a:gd name="connsiteY38" fmla="*/ 5522424 h 6030913"/>
                <a:gd name="connsiteX39" fmla="*/ 19454493 w 20358094"/>
                <a:gd name="connsiteY39" fmla="*/ 5745163 h 6030913"/>
                <a:gd name="connsiteX40" fmla="*/ 19290370 w 20358094"/>
                <a:gd name="connsiteY40" fmla="*/ 5768609 h 6030913"/>
                <a:gd name="connsiteX41" fmla="*/ 18223570 w 20358094"/>
                <a:gd name="connsiteY41" fmla="*/ 5756886 h 6030913"/>
                <a:gd name="connsiteX42" fmla="*/ 18223570 w 20358094"/>
                <a:gd name="connsiteY42" fmla="*/ 5569317 h 6030913"/>
                <a:gd name="connsiteX43" fmla="*/ 18009890 w 20358094"/>
                <a:gd name="connsiteY43" fmla="*/ 4713532 h 6030913"/>
                <a:gd name="connsiteX44" fmla="*/ 17602247 w 20358094"/>
                <a:gd name="connsiteY44" fmla="*/ 4150824 h 6030913"/>
                <a:gd name="connsiteX45" fmla="*/ 17145047 w 20358094"/>
                <a:gd name="connsiteY45" fmla="*/ 3846024 h 6030913"/>
                <a:gd name="connsiteX46" fmla="*/ 16429939 w 20358094"/>
                <a:gd name="connsiteY46" fmla="*/ 3670178 h 6030913"/>
                <a:gd name="connsiteX47" fmla="*/ 15902401 w 20358094"/>
                <a:gd name="connsiteY47" fmla="*/ 3717071 h 6030913"/>
                <a:gd name="connsiteX48" fmla="*/ 15386585 w 20358094"/>
                <a:gd name="connsiteY48" fmla="*/ 3967518 h 6030913"/>
                <a:gd name="connsiteX49" fmla="*/ 14964554 w 20358094"/>
                <a:gd name="connsiteY49" fmla="*/ 4385286 h 6030913"/>
                <a:gd name="connsiteX50" fmla="*/ 14664550 w 20358094"/>
                <a:gd name="connsiteY50" fmla="*/ 4924547 h 6030913"/>
                <a:gd name="connsiteX51" fmla="*/ 14542524 w 20358094"/>
                <a:gd name="connsiteY51" fmla="*/ 5381748 h 6030913"/>
                <a:gd name="connsiteX52" fmla="*/ 14542524 w 20358094"/>
                <a:gd name="connsiteY52" fmla="*/ 5756886 h 6030913"/>
                <a:gd name="connsiteX53" fmla="*/ 14554247 w 20358094"/>
                <a:gd name="connsiteY53" fmla="*/ 5979624 h 6030913"/>
                <a:gd name="connsiteX54" fmla="*/ 14472185 w 20358094"/>
                <a:gd name="connsiteY54" fmla="*/ 6003071 h 6030913"/>
                <a:gd name="connsiteX55" fmla="*/ 14073601 w 20358094"/>
                <a:gd name="connsiteY55" fmla="*/ 6003071 h 6030913"/>
                <a:gd name="connsiteX56" fmla="*/ 11693816 w 20358094"/>
                <a:gd name="connsiteY56" fmla="*/ 6026517 h 6030913"/>
                <a:gd name="connsiteX57" fmla="*/ 7121816 w 20358094"/>
                <a:gd name="connsiteY57" fmla="*/ 6026517 h 6030913"/>
                <a:gd name="connsiteX58" fmla="*/ 5328185 w 20358094"/>
                <a:gd name="connsiteY58" fmla="*/ 5991348 h 6030913"/>
                <a:gd name="connsiteX59" fmla="*/ 5351631 w 20358094"/>
                <a:gd name="connsiteY59" fmla="*/ 5498978 h 6030913"/>
                <a:gd name="connsiteX60" fmla="*/ 5187508 w 20358094"/>
                <a:gd name="connsiteY60" fmla="*/ 4666640 h 6030913"/>
                <a:gd name="connsiteX61" fmla="*/ 4613077 w 20358094"/>
                <a:gd name="connsiteY61" fmla="*/ 3928087 h 6030913"/>
                <a:gd name="connsiteX62" fmla="*/ 3804185 w 20358094"/>
                <a:gd name="connsiteY62" fmla="*/ 3623286 h 6030913"/>
                <a:gd name="connsiteX63" fmla="*/ 3077355 w 20358094"/>
                <a:gd name="connsiteY63" fmla="*/ 3681901 h 6030913"/>
                <a:gd name="connsiteX64" fmla="*/ 2479477 w 20358094"/>
                <a:gd name="connsiteY64" fmla="*/ 3986701 h 6030913"/>
                <a:gd name="connsiteX65" fmla="*/ 1987108 w 20358094"/>
                <a:gd name="connsiteY65" fmla="*/ 4572855 h 6030913"/>
                <a:gd name="connsiteX66" fmla="*/ 1799539 w 20358094"/>
                <a:gd name="connsiteY66" fmla="*/ 5147286 h 6030913"/>
                <a:gd name="connsiteX67" fmla="*/ 1787816 w 20358094"/>
                <a:gd name="connsiteY67" fmla="*/ 5733440 h 6030913"/>
                <a:gd name="connsiteX68" fmla="*/ 1776093 w 20358094"/>
                <a:gd name="connsiteY68" fmla="*/ 5932732 h 6030913"/>
                <a:gd name="connsiteX69" fmla="*/ 1647139 w 20358094"/>
                <a:gd name="connsiteY69" fmla="*/ 5944455 h 6030913"/>
                <a:gd name="connsiteX70" fmla="*/ 709293 w 20358094"/>
                <a:gd name="connsiteY70" fmla="*/ 5921009 h 6030913"/>
                <a:gd name="connsiteX71" fmla="*/ 556893 w 20358094"/>
                <a:gd name="connsiteY71" fmla="*/ 5897563 h 6030913"/>
                <a:gd name="connsiteX72" fmla="*/ 474831 w 20358094"/>
                <a:gd name="connsiteY72" fmla="*/ 5792055 h 6030913"/>
                <a:gd name="connsiteX73" fmla="*/ 404493 w 20358094"/>
                <a:gd name="connsiteY73" fmla="*/ 5733440 h 6030913"/>
                <a:gd name="connsiteX74" fmla="*/ 263816 w 20358094"/>
                <a:gd name="connsiteY74" fmla="*/ 5569317 h 6030913"/>
                <a:gd name="connsiteX75" fmla="*/ 404493 w 20358094"/>
                <a:gd name="connsiteY75" fmla="*/ 5522424 h 6030913"/>
                <a:gd name="connsiteX76" fmla="*/ 334154 w 20358094"/>
                <a:gd name="connsiteY76" fmla="*/ 5416917 h 6030913"/>
                <a:gd name="connsiteX77" fmla="*/ 240370 w 20358094"/>
                <a:gd name="connsiteY77" fmla="*/ 5018332 h 6030913"/>
                <a:gd name="connsiteX78" fmla="*/ 205201 w 20358094"/>
                <a:gd name="connsiteY78" fmla="*/ 4971440 h 6030913"/>
                <a:gd name="connsiteX79" fmla="*/ 76247 w 20358094"/>
                <a:gd name="connsiteY79" fmla="*/ 4959717 h 6030913"/>
                <a:gd name="connsiteX80" fmla="*/ 52801 w 20358094"/>
                <a:gd name="connsiteY80" fmla="*/ 4830763 h 6030913"/>
                <a:gd name="connsiteX81" fmla="*/ 5908 w 20358094"/>
                <a:gd name="connsiteY81" fmla="*/ 4373563 h 6030913"/>
                <a:gd name="connsiteX82" fmla="*/ 17631 w 20358094"/>
                <a:gd name="connsiteY82" fmla="*/ 4303224 h 6030913"/>
                <a:gd name="connsiteX83" fmla="*/ 158308 w 20358094"/>
                <a:gd name="connsiteY83" fmla="*/ 4268055 h 6030913"/>
                <a:gd name="connsiteX84" fmla="*/ 240370 w 20358094"/>
                <a:gd name="connsiteY84" fmla="*/ 4139101 h 6030913"/>
                <a:gd name="connsiteX85" fmla="*/ 205201 w 20358094"/>
                <a:gd name="connsiteY85" fmla="*/ 3951532 h 6030913"/>
                <a:gd name="connsiteX86" fmla="*/ 193477 w 20358094"/>
                <a:gd name="connsiteY86" fmla="*/ 3611563 h 6030913"/>
                <a:gd name="connsiteX87" fmla="*/ 357601 w 20358094"/>
                <a:gd name="connsiteY87" fmla="*/ 3271594 h 6030913"/>
                <a:gd name="connsiteX88" fmla="*/ 1154770 w 20358094"/>
                <a:gd name="connsiteY88" fmla="*/ 2849563 h 6030913"/>
                <a:gd name="connsiteX89" fmla="*/ 2104339 w 20358094"/>
                <a:gd name="connsiteY89" fmla="*/ 2615101 h 6030913"/>
                <a:gd name="connsiteX90" fmla="*/ 3780739 w 20358094"/>
                <a:gd name="connsiteY90" fmla="*/ 2322024 h 6030913"/>
                <a:gd name="connsiteX91" fmla="*/ 5199231 w 20358094"/>
                <a:gd name="connsiteY91" fmla="*/ 2157901 h 6030913"/>
                <a:gd name="connsiteX92" fmla="*/ 5574370 w 20358094"/>
                <a:gd name="connsiteY92" fmla="*/ 2134455 h 6030913"/>
                <a:gd name="connsiteX93" fmla="*/ 5726770 w 20358094"/>
                <a:gd name="connsiteY93" fmla="*/ 2146178 h 6030913"/>
                <a:gd name="connsiteX94" fmla="*/ 5972421 w 20358094"/>
                <a:gd name="connsiteY94" fmla="*/ 2219181 h 603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0358094" h="6030913">
                  <a:moveTo>
                    <a:pt x="5972421" y="2219181"/>
                  </a:moveTo>
                  <a:cubicBezTo>
                    <a:pt x="6043114" y="2181081"/>
                    <a:pt x="6524649" y="1885162"/>
                    <a:pt x="6899077" y="1668196"/>
                  </a:cubicBezTo>
                  <a:cubicBezTo>
                    <a:pt x="7273505" y="1451230"/>
                    <a:pt x="7863389" y="1109308"/>
                    <a:pt x="8218989" y="917387"/>
                  </a:cubicBezTo>
                  <a:cubicBezTo>
                    <a:pt x="8574589" y="725466"/>
                    <a:pt x="8889247" y="593226"/>
                    <a:pt x="9032677" y="516671"/>
                  </a:cubicBezTo>
                  <a:cubicBezTo>
                    <a:pt x="9176107" y="440116"/>
                    <a:pt x="9048308" y="477593"/>
                    <a:pt x="9079570" y="458055"/>
                  </a:cubicBezTo>
                  <a:cubicBezTo>
                    <a:pt x="9110832" y="438516"/>
                    <a:pt x="9063071" y="442805"/>
                    <a:pt x="9220247" y="399440"/>
                  </a:cubicBezTo>
                  <a:cubicBezTo>
                    <a:pt x="9377423" y="356075"/>
                    <a:pt x="9665073" y="258436"/>
                    <a:pt x="10022627" y="197867"/>
                  </a:cubicBezTo>
                  <a:cubicBezTo>
                    <a:pt x="10380181" y="137298"/>
                    <a:pt x="10878683" y="68696"/>
                    <a:pt x="11365570" y="36024"/>
                  </a:cubicBezTo>
                  <a:cubicBezTo>
                    <a:pt x="11852457" y="3352"/>
                    <a:pt x="12410552" y="-4030"/>
                    <a:pt x="12943952" y="1832"/>
                  </a:cubicBezTo>
                  <a:cubicBezTo>
                    <a:pt x="13477352" y="7694"/>
                    <a:pt x="14047495" y="45957"/>
                    <a:pt x="14565970" y="71194"/>
                  </a:cubicBezTo>
                  <a:cubicBezTo>
                    <a:pt x="15084445" y="96431"/>
                    <a:pt x="15566340" y="106363"/>
                    <a:pt x="16054801" y="153255"/>
                  </a:cubicBezTo>
                  <a:cubicBezTo>
                    <a:pt x="16543262" y="200147"/>
                    <a:pt x="17166539" y="301748"/>
                    <a:pt x="17496739" y="352548"/>
                  </a:cubicBezTo>
                  <a:cubicBezTo>
                    <a:pt x="17826939" y="403348"/>
                    <a:pt x="17893370" y="430701"/>
                    <a:pt x="18036001" y="458055"/>
                  </a:cubicBezTo>
                  <a:cubicBezTo>
                    <a:pt x="18178632" y="485409"/>
                    <a:pt x="18286093" y="499086"/>
                    <a:pt x="18352524" y="516671"/>
                  </a:cubicBezTo>
                  <a:cubicBezTo>
                    <a:pt x="18418955" y="534256"/>
                    <a:pt x="18415047" y="545978"/>
                    <a:pt x="18434585" y="563563"/>
                  </a:cubicBezTo>
                  <a:cubicBezTo>
                    <a:pt x="18454123" y="581147"/>
                    <a:pt x="18391600" y="536209"/>
                    <a:pt x="18469754" y="622178"/>
                  </a:cubicBezTo>
                  <a:cubicBezTo>
                    <a:pt x="18547908" y="708147"/>
                    <a:pt x="18721800" y="876178"/>
                    <a:pt x="18903508" y="1079378"/>
                  </a:cubicBezTo>
                  <a:cubicBezTo>
                    <a:pt x="19085216" y="1282578"/>
                    <a:pt x="19433001" y="1690932"/>
                    <a:pt x="19560001" y="1841378"/>
                  </a:cubicBezTo>
                  <a:cubicBezTo>
                    <a:pt x="19687001" y="1991824"/>
                    <a:pt x="19614708" y="1941024"/>
                    <a:pt x="19665508" y="1982055"/>
                  </a:cubicBezTo>
                  <a:cubicBezTo>
                    <a:pt x="19716308" y="2023086"/>
                    <a:pt x="19817909" y="2048486"/>
                    <a:pt x="19864801" y="2087563"/>
                  </a:cubicBezTo>
                  <a:cubicBezTo>
                    <a:pt x="19911693" y="2126640"/>
                    <a:pt x="19939047" y="2163763"/>
                    <a:pt x="19946862" y="2216517"/>
                  </a:cubicBezTo>
                  <a:cubicBezTo>
                    <a:pt x="19954677" y="2269271"/>
                    <a:pt x="19909828" y="2318028"/>
                    <a:pt x="19911693" y="2404086"/>
                  </a:cubicBezTo>
                  <a:cubicBezTo>
                    <a:pt x="19913558" y="2490144"/>
                    <a:pt x="19956187" y="2627713"/>
                    <a:pt x="19958052" y="2732865"/>
                  </a:cubicBezTo>
                  <a:cubicBezTo>
                    <a:pt x="19959917" y="2838017"/>
                    <a:pt x="19916934" y="2947166"/>
                    <a:pt x="19922884" y="3035000"/>
                  </a:cubicBezTo>
                  <a:cubicBezTo>
                    <a:pt x="19928834" y="3122834"/>
                    <a:pt x="19983896" y="3193085"/>
                    <a:pt x="19993754" y="3259871"/>
                  </a:cubicBezTo>
                  <a:cubicBezTo>
                    <a:pt x="20003612" y="3326657"/>
                    <a:pt x="19987182" y="3373993"/>
                    <a:pt x="19982031" y="3435717"/>
                  </a:cubicBezTo>
                  <a:cubicBezTo>
                    <a:pt x="19976880" y="3497441"/>
                    <a:pt x="19965157" y="3587230"/>
                    <a:pt x="19962849" y="3630214"/>
                  </a:cubicBezTo>
                  <a:cubicBezTo>
                    <a:pt x="19960541" y="3673198"/>
                    <a:pt x="20082388" y="3675240"/>
                    <a:pt x="20134431" y="3693624"/>
                  </a:cubicBezTo>
                  <a:cubicBezTo>
                    <a:pt x="20186474" y="3712008"/>
                    <a:pt x="20239939" y="3717071"/>
                    <a:pt x="20275108" y="3740517"/>
                  </a:cubicBezTo>
                  <a:cubicBezTo>
                    <a:pt x="20310277" y="3763963"/>
                    <a:pt x="20331770" y="3791317"/>
                    <a:pt x="20345447" y="3834301"/>
                  </a:cubicBezTo>
                  <a:cubicBezTo>
                    <a:pt x="20359124" y="3877285"/>
                    <a:pt x="20359124" y="3937855"/>
                    <a:pt x="20357170" y="3998424"/>
                  </a:cubicBezTo>
                  <a:cubicBezTo>
                    <a:pt x="20355216" y="4058993"/>
                    <a:pt x="20347402" y="4133240"/>
                    <a:pt x="20333725" y="4197717"/>
                  </a:cubicBezTo>
                  <a:cubicBezTo>
                    <a:pt x="20320048" y="4262194"/>
                    <a:pt x="20302462" y="4348163"/>
                    <a:pt x="20275108" y="4385286"/>
                  </a:cubicBezTo>
                  <a:cubicBezTo>
                    <a:pt x="20247754" y="4422409"/>
                    <a:pt x="20200863" y="4361840"/>
                    <a:pt x="20169601" y="4420455"/>
                  </a:cubicBezTo>
                  <a:cubicBezTo>
                    <a:pt x="20138340" y="4479070"/>
                    <a:pt x="20091271" y="4653496"/>
                    <a:pt x="20087539" y="4736978"/>
                  </a:cubicBezTo>
                  <a:cubicBezTo>
                    <a:pt x="20083807" y="4820460"/>
                    <a:pt x="20093933" y="5063448"/>
                    <a:pt x="20064093" y="5170732"/>
                  </a:cubicBezTo>
                  <a:cubicBezTo>
                    <a:pt x="20034253" y="5278016"/>
                    <a:pt x="20159831" y="5409101"/>
                    <a:pt x="20157877" y="5463809"/>
                  </a:cubicBezTo>
                  <a:cubicBezTo>
                    <a:pt x="20155923" y="5518517"/>
                    <a:pt x="20153970" y="5489209"/>
                    <a:pt x="20052370" y="5498978"/>
                  </a:cubicBezTo>
                  <a:cubicBezTo>
                    <a:pt x="19950770" y="5508747"/>
                    <a:pt x="19647923" y="5481393"/>
                    <a:pt x="19548277" y="5522424"/>
                  </a:cubicBezTo>
                  <a:cubicBezTo>
                    <a:pt x="19448631" y="5563455"/>
                    <a:pt x="19497477" y="5704132"/>
                    <a:pt x="19454493" y="5745163"/>
                  </a:cubicBezTo>
                  <a:cubicBezTo>
                    <a:pt x="19411509" y="5786194"/>
                    <a:pt x="19290370" y="5768609"/>
                    <a:pt x="19290370" y="5768609"/>
                  </a:cubicBezTo>
                  <a:cubicBezTo>
                    <a:pt x="19085216" y="5770563"/>
                    <a:pt x="18401370" y="5790101"/>
                    <a:pt x="18223570" y="5756886"/>
                  </a:cubicBezTo>
                  <a:cubicBezTo>
                    <a:pt x="18045770" y="5723671"/>
                    <a:pt x="18238402" y="5777846"/>
                    <a:pt x="18223570" y="5569317"/>
                  </a:cubicBezTo>
                  <a:cubicBezTo>
                    <a:pt x="18208738" y="5360788"/>
                    <a:pt x="18113444" y="4949948"/>
                    <a:pt x="18009890" y="4713532"/>
                  </a:cubicBezTo>
                  <a:cubicBezTo>
                    <a:pt x="17906336" y="4477117"/>
                    <a:pt x="17746387" y="4295409"/>
                    <a:pt x="17602247" y="4150824"/>
                  </a:cubicBezTo>
                  <a:cubicBezTo>
                    <a:pt x="17458107" y="4006239"/>
                    <a:pt x="17326578" y="3933059"/>
                    <a:pt x="17145047" y="3846024"/>
                  </a:cubicBezTo>
                  <a:cubicBezTo>
                    <a:pt x="16963516" y="3758989"/>
                    <a:pt x="16637047" y="3670889"/>
                    <a:pt x="16429939" y="3670178"/>
                  </a:cubicBezTo>
                  <a:cubicBezTo>
                    <a:pt x="16222831" y="3669467"/>
                    <a:pt x="16076293" y="3667514"/>
                    <a:pt x="15902401" y="3717071"/>
                  </a:cubicBezTo>
                  <a:cubicBezTo>
                    <a:pt x="15728509" y="3766628"/>
                    <a:pt x="15542893" y="3856149"/>
                    <a:pt x="15386585" y="3967518"/>
                  </a:cubicBezTo>
                  <a:cubicBezTo>
                    <a:pt x="15230277" y="4078887"/>
                    <a:pt x="15084893" y="4225781"/>
                    <a:pt x="14964554" y="4385286"/>
                  </a:cubicBezTo>
                  <a:cubicBezTo>
                    <a:pt x="14844215" y="4544791"/>
                    <a:pt x="14727961" y="4744615"/>
                    <a:pt x="14664550" y="4924547"/>
                  </a:cubicBezTo>
                  <a:cubicBezTo>
                    <a:pt x="14601139" y="5104479"/>
                    <a:pt x="14562862" y="5243025"/>
                    <a:pt x="14542524" y="5381748"/>
                  </a:cubicBezTo>
                  <a:cubicBezTo>
                    <a:pt x="14522186" y="5520471"/>
                    <a:pt x="14540570" y="5657240"/>
                    <a:pt x="14542524" y="5756886"/>
                  </a:cubicBezTo>
                  <a:cubicBezTo>
                    <a:pt x="14544478" y="5856532"/>
                    <a:pt x="14565970" y="5938593"/>
                    <a:pt x="14554247" y="5979624"/>
                  </a:cubicBezTo>
                  <a:cubicBezTo>
                    <a:pt x="14542524" y="6020655"/>
                    <a:pt x="14552293" y="5999163"/>
                    <a:pt x="14472185" y="6003071"/>
                  </a:cubicBezTo>
                  <a:cubicBezTo>
                    <a:pt x="14392077" y="6006979"/>
                    <a:pt x="14073601" y="6003071"/>
                    <a:pt x="14073601" y="6003071"/>
                  </a:cubicBezTo>
                  <a:lnTo>
                    <a:pt x="11693816" y="6026517"/>
                  </a:lnTo>
                  <a:lnTo>
                    <a:pt x="7121816" y="6026517"/>
                  </a:lnTo>
                  <a:cubicBezTo>
                    <a:pt x="6060878" y="6020656"/>
                    <a:pt x="5318416" y="6055825"/>
                    <a:pt x="5328185" y="5991348"/>
                  </a:cubicBezTo>
                  <a:cubicBezTo>
                    <a:pt x="5337954" y="5926871"/>
                    <a:pt x="5363353" y="5708040"/>
                    <a:pt x="5351631" y="5498978"/>
                  </a:cubicBezTo>
                  <a:cubicBezTo>
                    <a:pt x="5339909" y="5289916"/>
                    <a:pt x="5310600" y="4928455"/>
                    <a:pt x="5187508" y="4666640"/>
                  </a:cubicBezTo>
                  <a:cubicBezTo>
                    <a:pt x="5064416" y="4404825"/>
                    <a:pt x="4843631" y="4101979"/>
                    <a:pt x="4613077" y="3928087"/>
                  </a:cubicBezTo>
                  <a:cubicBezTo>
                    <a:pt x="4382523" y="3754195"/>
                    <a:pt x="4060139" y="3664317"/>
                    <a:pt x="3804185" y="3623286"/>
                  </a:cubicBezTo>
                  <a:cubicBezTo>
                    <a:pt x="3548231" y="3582255"/>
                    <a:pt x="3298140" y="3621332"/>
                    <a:pt x="3077355" y="3681901"/>
                  </a:cubicBezTo>
                  <a:cubicBezTo>
                    <a:pt x="2856570" y="3742470"/>
                    <a:pt x="2661185" y="3838209"/>
                    <a:pt x="2479477" y="3986701"/>
                  </a:cubicBezTo>
                  <a:cubicBezTo>
                    <a:pt x="2297769" y="4135193"/>
                    <a:pt x="2100431" y="4379424"/>
                    <a:pt x="1987108" y="4572855"/>
                  </a:cubicBezTo>
                  <a:cubicBezTo>
                    <a:pt x="1873785" y="4766286"/>
                    <a:pt x="1832754" y="4953855"/>
                    <a:pt x="1799539" y="5147286"/>
                  </a:cubicBezTo>
                  <a:cubicBezTo>
                    <a:pt x="1766324" y="5340717"/>
                    <a:pt x="1791724" y="5602532"/>
                    <a:pt x="1787816" y="5733440"/>
                  </a:cubicBezTo>
                  <a:cubicBezTo>
                    <a:pt x="1783908" y="5864348"/>
                    <a:pt x="1799539" y="5897563"/>
                    <a:pt x="1776093" y="5932732"/>
                  </a:cubicBezTo>
                  <a:cubicBezTo>
                    <a:pt x="1752647" y="5967901"/>
                    <a:pt x="1824939" y="5946409"/>
                    <a:pt x="1647139" y="5944455"/>
                  </a:cubicBezTo>
                  <a:cubicBezTo>
                    <a:pt x="1469339" y="5942501"/>
                    <a:pt x="891001" y="5928824"/>
                    <a:pt x="709293" y="5921009"/>
                  </a:cubicBezTo>
                  <a:cubicBezTo>
                    <a:pt x="527585" y="5913194"/>
                    <a:pt x="595970" y="5919055"/>
                    <a:pt x="556893" y="5897563"/>
                  </a:cubicBezTo>
                  <a:cubicBezTo>
                    <a:pt x="517816" y="5876071"/>
                    <a:pt x="500231" y="5819409"/>
                    <a:pt x="474831" y="5792055"/>
                  </a:cubicBezTo>
                  <a:cubicBezTo>
                    <a:pt x="449431" y="5764701"/>
                    <a:pt x="439662" y="5770563"/>
                    <a:pt x="404493" y="5733440"/>
                  </a:cubicBezTo>
                  <a:cubicBezTo>
                    <a:pt x="369324" y="5696317"/>
                    <a:pt x="263816" y="5604486"/>
                    <a:pt x="263816" y="5569317"/>
                  </a:cubicBezTo>
                  <a:cubicBezTo>
                    <a:pt x="263816" y="5534148"/>
                    <a:pt x="392770" y="5547824"/>
                    <a:pt x="404493" y="5522424"/>
                  </a:cubicBezTo>
                  <a:cubicBezTo>
                    <a:pt x="416216" y="5497024"/>
                    <a:pt x="361508" y="5500932"/>
                    <a:pt x="334154" y="5416917"/>
                  </a:cubicBezTo>
                  <a:cubicBezTo>
                    <a:pt x="306800" y="5332902"/>
                    <a:pt x="240370" y="5018332"/>
                    <a:pt x="240370" y="5018332"/>
                  </a:cubicBezTo>
                  <a:cubicBezTo>
                    <a:pt x="218878" y="4944086"/>
                    <a:pt x="232555" y="4981209"/>
                    <a:pt x="205201" y="4971440"/>
                  </a:cubicBezTo>
                  <a:cubicBezTo>
                    <a:pt x="177847" y="4961671"/>
                    <a:pt x="101647" y="4983163"/>
                    <a:pt x="76247" y="4959717"/>
                  </a:cubicBezTo>
                  <a:cubicBezTo>
                    <a:pt x="50847" y="4936271"/>
                    <a:pt x="64524" y="4928455"/>
                    <a:pt x="52801" y="4830763"/>
                  </a:cubicBezTo>
                  <a:cubicBezTo>
                    <a:pt x="41078" y="4733071"/>
                    <a:pt x="11770" y="4461486"/>
                    <a:pt x="5908" y="4373563"/>
                  </a:cubicBezTo>
                  <a:cubicBezTo>
                    <a:pt x="46" y="4285640"/>
                    <a:pt x="-7769" y="4320809"/>
                    <a:pt x="17631" y="4303224"/>
                  </a:cubicBezTo>
                  <a:cubicBezTo>
                    <a:pt x="43031" y="4285639"/>
                    <a:pt x="121185" y="4295409"/>
                    <a:pt x="158308" y="4268055"/>
                  </a:cubicBezTo>
                  <a:cubicBezTo>
                    <a:pt x="195431" y="4240701"/>
                    <a:pt x="232555" y="4191855"/>
                    <a:pt x="240370" y="4139101"/>
                  </a:cubicBezTo>
                  <a:cubicBezTo>
                    <a:pt x="248185" y="4086347"/>
                    <a:pt x="213016" y="4039455"/>
                    <a:pt x="205201" y="3951532"/>
                  </a:cubicBezTo>
                  <a:cubicBezTo>
                    <a:pt x="197385" y="3863609"/>
                    <a:pt x="168077" y="3724886"/>
                    <a:pt x="193477" y="3611563"/>
                  </a:cubicBezTo>
                  <a:cubicBezTo>
                    <a:pt x="218877" y="3498240"/>
                    <a:pt x="197386" y="3398594"/>
                    <a:pt x="357601" y="3271594"/>
                  </a:cubicBezTo>
                  <a:cubicBezTo>
                    <a:pt x="517816" y="3144594"/>
                    <a:pt x="863647" y="2958978"/>
                    <a:pt x="1154770" y="2849563"/>
                  </a:cubicBezTo>
                  <a:cubicBezTo>
                    <a:pt x="1445893" y="2740148"/>
                    <a:pt x="1666678" y="2703024"/>
                    <a:pt x="2104339" y="2615101"/>
                  </a:cubicBezTo>
                  <a:cubicBezTo>
                    <a:pt x="2542000" y="2527178"/>
                    <a:pt x="3264924" y="2398224"/>
                    <a:pt x="3780739" y="2322024"/>
                  </a:cubicBezTo>
                  <a:cubicBezTo>
                    <a:pt x="4296554" y="2245824"/>
                    <a:pt x="4900293" y="2189162"/>
                    <a:pt x="5199231" y="2157901"/>
                  </a:cubicBezTo>
                  <a:cubicBezTo>
                    <a:pt x="5498169" y="2126640"/>
                    <a:pt x="5486447" y="2136409"/>
                    <a:pt x="5574370" y="2134455"/>
                  </a:cubicBezTo>
                  <a:cubicBezTo>
                    <a:pt x="5662293" y="2132501"/>
                    <a:pt x="5666201" y="2128593"/>
                    <a:pt x="5726770" y="2146178"/>
                  </a:cubicBezTo>
                  <a:cubicBezTo>
                    <a:pt x="5787339" y="2163763"/>
                    <a:pt x="5901728" y="2257281"/>
                    <a:pt x="5972421" y="2219181"/>
                  </a:cubicBezTo>
                  <a:close/>
                </a:path>
              </a:pathLst>
            </a:custGeom>
            <a:solidFill>
              <a:schemeClr val="accent1">
                <a:lumMod val="20000"/>
                <a:lumOff val="80000"/>
              </a:schemeClr>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p:cNvSpPr/>
            <p:nvPr/>
          </p:nvSpPr>
          <p:spPr bwMode="auto">
            <a:xfrm>
              <a:off x="3097263" y="2850856"/>
              <a:ext cx="1033331" cy="1033330"/>
            </a:xfrm>
            <a:prstGeom prst="ellipse">
              <a:avLst/>
            </a:prstGeom>
            <a:solidFill>
              <a:schemeClr val="bg1"/>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7421535" y="2850856"/>
              <a:ext cx="1033331" cy="1033330"/>
            </a:xfrm>
            <a:prstGeom prst="ellipse">
              <a:avLst/>
            </a:prstGeom>
            <a:solidFill>
              <a:schemeClr val="bg1"/>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p:cNvCxnSpPr/>
            <p:nvPr/>
          </p:nvCxnSpPr>
          <p:spPr>
            <a:xfrm flipV="1">
              <a:off x="3020769" y="3524787"/>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3" name="Straight Connector 22"/>
            <p:cNvCxnSpPr/>
            <p:nvPr/>
          </p:nvCxnSpPr>
          <p:spPr>
            <a:xfrm flipV="1">
              <a:off x="4110564" y="3524787"/>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4" name="Straight Connector 23"/>
            <p:cNvCxnSpPr/>
            <p:nvPr/>
          </p:nvCxnSpPr>
          <p:spPr>
            <a:xfrm flipV="1">
              <a:off x="8447117" y="3505005"/>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5" name="Straight Connector 24"/>
            <p:cNvCxnSpPr/>
            <p:nvPr/>
          </p:nvCxnSpPr>
          <p:spPr>
            <a:xfrm flipV="1">
              <a:off x="7318255" y="3516874"/>
              <a:ext cx="111028" cy="4282"/>
            </a:xfrm>
            <a:prstGeom prst="line">
              <a:avLst/>
            </a:prstGeom>
            <a:noFill/>
            <a:ln w="9525" cap="rnd" cmpd="sng" algn="ctr">
              <a:solidFill>
                <a:schemeClr val="bg1">
                  <a:lumMod val="50000"/>
                </a:schemeClr>
              </a:solidFill>
              <a:prstDash val="solid"/>
              <a:headEnd type="none"/>
              <a:tailEnd type="none"/>
            </a:ln>
            <a:effectLst/>
          </p:spPr>
        </p:cxnSp>
        <p:sp>
          <p:nvSpPr>
            <p:cNvPr id="26" name="Freeform: Shape 25"/>
            <p:cNvSpPr/>
            <p:nvPr/>
          </p:nvSpPr>
          <p:spPr bwMode="auto">
            <a:xfrm>
              <a:off x="4224355" y="3283448"/>
              <a:ext cx="3117622" cy="119835"/>
            </a:xfrm>
            <a:custGeom>
              <a:avLst/>
              <a:gdLst>
                <a:gd name="connsiteX0" fmla="*/ 0 w 9237785"/>
                <a:gd name="connsiteY0" fmla="*/ 152400 h 366891"/>
                <a:gd name="connsiteX1" fmla="*/ 4525108 w 9237785"/>
                <a:gd name="connsiteY1" fmla="*/ 363416 h 366891"/>
                <a:gd name="connsiteX2" fmla="*/ 9237785 w 9237785"/>
                <a:gd name="connsiteY2" fmla="*/ 0 h 366891"/>
                <a:gd name="connsiteX0" fmla="*/ 0 w 9237785"/>
                <a:gd name="connsiteY0" fmla="*/ 152400 h 374275"/>
                <a:gd name="connsiteX1" fmla="*/ 4525108 w 9237785"/>
                <a:gd name="connsiteY1" fmla="*/ 363416 h 374275"/>
                <a:gd name="connsiteX2" fmla="*/ 9237785 w 9237785"/>
                <a:gd name="connsiteY2" fmla="*/ 0 h 374275"/>
                <a:gd name="connsiteX0" fmla="*/ 0 w 9237785"/>
                <a:gd name="connsiteY0" fmla="*/ 152400 h 389310"/>
                <a:gd name="connsiteX1" fmla="*/ 4525108 w 9237785"/>
                <a:gd name="connsiteY1" fmla="*/ 363416 h 389310"/>
                <a:gd name="connsiteX2" fmla="*/ 9237785 w 9237785"/>
                <a:gd name="connsiteY2" fmla="*/ 0 h 389310"/>
                <a:gd name="connsiteX0" fmla="*/ 0 w 9237785"/>
                <a:gd name="connsiteY0" fmla="*/ 152400 h 361897"/>
                <a:gd name="connsiteX1" fmla="*/ 4513385 w 9237785"/>
                <a:gd name="connsiteY1" fmla="*/ 328247 h 361897"/>
                <a:gd name="connsiteX2" fmla="*/ 9237785 w 9237785"/>
                <a:gd name="connsiteY2" fmla="*/ 0 h 361897"/>
                <a:gd name="connsiteX0" fmla="*/ 0 w 9237785"/>
                <a:gd name="connsiteY0" fmla="*/ 175846 h 355082"/>
                <a:gd name="connsiteX1" fmla="*/ 4513385 w 9237785"/>
                <a:gd name="connsiteY1" fmla="*/ 328247 h 355082"/>
                <a:gd name="connsiteX2" fmla="*/ 9237785 w 9237785"/>
                <a:gd name="connsiteY2" fmla="*/ 0 h 355082"/>
              </a:gdLst>
              <a:ahLst/>
              <a:cxnLst>
                <a:cxn ang="0">
                  <a:pos x="connsiteX0" y="connsiteY0"/>
                </a:cxn>
                <a:cxn ang="0">
                  <a:pos x="connsiteX1" y="connsiteY1"/>
                </a:cxn>
                <a:cxn ang="0">
                  <a:pos x="connsiteX2" y="connsiteY2"/>
                </a:cxn>
              </a:cxnLst>
              <a:rect l="l" t="t" r="r" b="b"/>
              <a:pathLst>
                <a:path w="9237785" h="355082">
                  <a:moveTo>
                    <a:pt x="0" y="175846"/>
                  </a:moveTo>
                  <a:cubicBezTo>
                    <a:pt x="1445846" y="411285"/>
                    <a:pt x="2973754" y="357555"/>
                    <a:pt x="4513385" y="328247"/>
                  </a:cubicBezTo>
                  <a:cubicBezTo>
                    <a:pt x="6053016" y="298939"/>
                    <a:pt x="7651262" y="169008"/>
                    <a:pt x="9237785"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p:cNvSpPr/>
            <p:nvPr/>
          </p:nvSpPr>
          <p:spPr bwMode="auto">
            <a:xfrm>
              <a:off x="5427700" y="2237027"/>
              <a:ext cx="1339388" cy="1086482"/>
            </a:xfrm>
            <a:custGeom>
              <a:avLst/>
              <a:gdLst>
                <a:gd name="connsiteX0" fmla="*/ 2757283 w 3969686"/>
                <a:gd name="connsiteY0" fmla="*/ 2967952 h 3226746"/>
                <a:gd name="connsiteX1" fmla="*/ 2978956 w 3969686"/>
                <a:gd name="connsiteY1" fmla="*/ 2386061 h 3226746"/>
                <a:gd name="connsiteX2" fmla="*/ 3269901 w 3969686"/>
                <a:gd name="connsiteY2" fmla="*/ 1630988 h 3226746"/>
                <a:gd name="connsiteX3" fmla="*/ 3740956 w 3969686"/>
                <a:gd name="connsiteY3" fmla="*/ 785861 h 3226746"/>
                <a:gd name="connsiteX4" fmla="*/ 3782519 w 3969686"/>
                <a:gd name="connsiteY4" fmla="*/ 688879 h 3226746"/>
                <a:gd name="connsiteX5" fmla="*/ 3837937 w 3969686"/>
                <a:gd name="connsiteY5" fmla="*/ 640388 h 3226746"/>
                <a:gd name="connsiteX6" fmla="*/ 3921065 w 3969686"/>
                <a:gd name="connsiteY6" fmla="*/ 404861 h 3226746"/>
                <a:gd name="connsiteX7" fmla="*/ 3969556 w 3969686"/>
                <a:gd name="connsiteY7" fmla="*/ 93133 h 3226746"/>
                <a:gd name="connsiteX8" fmla="*/ 3907210 w 3969686"/>
                <a:gd name="connsiteY8" fmla="*/ 51570 h 3226746"/>
                <a:gd name="connsiteX9" fmla="*/ 3692465 w 3969686"/>
                <a:gd name="connsiteY9" fmla="*/ 3079 h 3226746"/>
                <a:gd name="connsiteX10" fmla="*/ 3477719 w 3969686"/>
                <a:gd name="connsiteY10" fmla="*/ 16933 h 3226746"/>
                <a:gd name="connsiteX11" fmla="*/ 3401519 w 3969686"/>
                <a:gd name="connsiteY11" fmla="*/ 113915 h 3226746"/>
                <a:gd name="connsiteX12" fmla="*/ 3304537 w 3969686"/>
                <a:gd name="connsiteY12" fmla="*/ 377152 h 3226746"/>
                <a:gd name="connsiteX13" fmla="*/ 3159065 w 3969686"/>
                <a:gd name="connsiteY13" fmla="*/ 605752 h 3226746"/>
                <a:gd name="connsiteX14" fmla="*/ 2888901 w 3969686"/>
                <a:gd name="connsiteY14" fmla="*/ 979824 h 3226746"/>
                <a:gd name="connsiteX15" fmla="*/ 2549465 w 3969686"/>
                <a:gd name="connsiteY15" fmla="*/ 1360824 h 3226746"/>
                <a:gd name="connsiteX16" fmla="*/ 2320865 w 3969686"/>
                <a:gd name="connsiteY16" fmla="*/ 1644842 h 3226746"/>
                <a:gd name="connsiteX17" fmla="*/ 2168465 w 3969686"/>
                <a:gd name="connsiteY17" fmla="*/ 2102042 h 3226746"/>
                <a:gd name="connsiteX18" fmla="*/ 2196174 w 3969686"/>
                <a:gd name="connsiteY18" fmla="*/ 2531533 h 3226746"/>
                <a:gd name="connsiteX19" fmla="*/ 2272374 w 3969686"/>
                <a:gd name="connsiteY19" fmla="*/ 2767061 h 3226746"/>
                <a:gd name="connsiteX20" fmla="*/ 2272374 w 3969686"/>
                <a:gd name="connsiteY20" fmla="*/ 2787842 h 3226746"/>
                <a:gd name="connsiteX21" fmla="*/ 2230810 w 3969686"/>
                <a:gd name="connsiteY21" fmla="*/ 2760133 h 3226746"/>
                <a:gd name="connsiteX22" fmla="*/ 1856737 w 3969686"/>
                <a:gd name="connsiteY22" fmla="*/ 2621588 h 3226746"/>
                <a:gd name="connsiteX23" fmla="*/ 1420319 w 3969686"/>
                <a:gd name="connsiteY23" fmla="*/ 2427624 h 3226746"/>
                <a:gd name="connsiteX24" fmla="*/ 1032392 w 3969686"/>
                <a:gd name="connsiteY24" fmla="*/ 2275224 h 3226746"/>
                <a:gd name="connsiteX25" fmla="*/ 727592 w 3969686"/>
                <a:gd name="connsiteY25" fmla="*/ 2219806 h 3226746"/>
                <a:gd name="connsiteX26" fmla="*/ 443574 w 3969686"/>
                <a:gd name="connsiteY26" fmla="*/ 2233661 h 3226746"/>
                <a:gd name="connsiteX27" fmla="*/ 249610 w 3969686"/>
                <a:gd name="connsiteY27" fmla="*/ 2302933 h 3226746"/>
                <a:gd name="connsiteX28" fmla="*/ 173410 w 3969686"/>
                <a:gd name="connsiteY28" fmla="*/ 2309861 h 3226746"/>
                <a:gd name="connsiteX29" fmla="*/ 83356 w 3969686"/>
                <a:gd name="connsiteY29" fmla="*/ 2302933 h 3226746"/>
                <a:gd name="connsiteX30" fmla="*/ 7156 w 3969686"/>
                <a:gd name="connsiteY30" fmla="*/ 2358352 h 3226746"/>
                <a:gd name="connsiteX31" fmla="*/ 7156 w 3969686"/>
                <a:gd name="connsiteY31" fmla="*/ 2573097 h 3226746"/>
                <a:gd name="connsiteX32" fmla="*/ 41792 w 3969686"/>
                <a:gd name="connsiteY32" fmla="*/ 2780915 h 3226746"/>
                <a:gd name="connsiteX33" fmla="*/ 48719 w 3969686"/>
                <a:gd name="connsiteY33" fmla="*/ 2850188 h 3226746"/>
                <a:gd name="connsiteX34" fmla="*/ 152628 w 3969686"/>
                <a:gd name="connsiteY34" fmla="*/ 2870970 h 3226746"/>
                <a:gd name="connsiteX35" fmla="*/ 803792 w 3969686"/>
                <a:gd name="connsiteY35" fmla="*/ 2954097 h 3226746"/>
                <a:gd name="connsiteX36" fmla="*/ 1822101 w 3969686"/>
                <a:gd name="connsiteY36" fmla="*/ 3099570 h 3226746"/>
                <a:gd name="connsiteX37" fmla="*/ 2376283 w 3969686"/>
                <a:gd name="connsiteY37" fmla="*/ 3189624 h 3226746"/>
                <a:gd name="connsiteX38" fmla="*/ 2701865 w 3969686"/>
                <a:gd name="connsiteY38" fmla="*/ 3224261 h 3226746"/>
                <a:gd name="connsiteX39" fmla="*/ 2743428 w 3969686"/>
                <a:gd name="connsiteY39" fmla="*/ 3127279 h 3226746"/>
                <a:gd name="connsiteX40" fmla="*/ 2757283 w 3969686"/>
                <a:gd name="connsiteY40" fmla="*/ 2967952 h 3226746"/>
                <a:gd name="connsiteX0" fmla="*/ 2756944 w 3969347"/>
                <a:gd name="connsiteY0" fmla="*/ 2967952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56944 w 3969347"/>
                <a:gd name="connsiteY40" fmla="*/ 2967952 h 3226746"/>
                <a:gd name="connsiteX0" fmla="*/ 2770799 w 3969347"/>
                <a:gd name="connsiteY0" fmla="*/ 2961024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70799 w 3969347"/>
                <a:gd name="connsiteY40" fmla="*/ 2961024 h 3226746"/>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88562 w 3969347"/>
                <a:gd name="connsiteY14" fmla="*/ 979824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42466 w 3968724"/>
                <a:gd name="connsiteY39" fmla="*/ 3127279 h 3220325"/>
                <a:gd name="connsiteX40" fmla="*/ 2770176 w 3968724"/>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18836"/>
                <a:gd name="connsiteX1" fmla="*/ 2971067 w 3968724"/>
                <a:gd name="connsiteY1" fmla="*/ 2392988 h 3218836"/>
                <a:gd name="connsiteX2" fmla="*/ 3268939 w 3968724"/>
                <a:gd name="connsiteY2" fmla="*/ 1630988 h 3218836"/>
                <a:gd name="connsiteX3" fmla="*/ 3739994 w 3968724"/>
                <a:gd name="connsiteY3" fmla="*/ 785861 h 3218836"/>
                <a:gd name="connsiteX4" fmla="*/ 3781557 w 3968724"/>
                <a:gd name="connsiteY4" fmla="*/ 688879 h 3218836"/>
                <a:gd name="connsiteX5" fmla="*/ 3836975 w 3968724"/>
                <a:gd name="connsiteY5" fmla="*/ 640388 h 3218836"/>
                <a:gd name="connsiteX6" fmla="*/ 3920103 w 3968724"/>
                <a:gd name="connsiteY6" fmla="*/ 404861 h 3218836"/>
                <a:gd name="connsiteX7" fmla="*/ 3968594 w 3968724"/>
                <a:gd name="connsiteY7" fmla="*/ 93133 h 3218836"/>
                <a:gd name="connsiteX8" fmla="*/ 3906248 w 3968724"/>
                <a:gd name="connsiteY8" fmla="*/ 51570 h 3218836"/>
                <a:gd name="connsiteX9" fmla="*/ 3691503 w 3968724"/>
                <a:gd name="connsiteY9" fmla="*/ 3079 h 3218836"/>
                <a:gd name="connsiteX10" fmla="*/ 3476757 w 3968724"/>
                <a:gd name="connsiteY10" fmla="*/ 16933 h 3218836"/>
                <a:gd name="connsiteX11" fmla="*/ 3400557 w 3968724"/>
                <a:gd name="connsiteY11" fmla="*/ 113915 h 3218836"/>
                <a:gd name="connsiteX12" fmla="*/ 3289720 w 3968724"/>
                <a:gd name="connsiteY12" fmla="*/ 370225 h 3218836"/>
                <a:gd name="connsiteX13" fmla="*/ 3158103 w 3968724"/>
                <a:gd name="connsiteY13" fmla="*/ 605752 h 3218836"/>
                <a:gd name="connsiteX14" fmla="*/ 2867157 w 3968724"/>
                <a:gd name="connsiteY14" fmla="*/ 972897 h 3218836"/>
                <a:gd name="connsiteX15" fmla="*/ 2548503 w 3968724"/>
                <a:gd name="connsiteY15" fmla="*/ 1360824 h 3218836"/>
                <a:gd name="connsiteX16" fmla="*/ 2319903 w 3968724"/>
                <a:gd name="connsiteY16" fmla="*/ 1644842 h 3218836"/>
                <a:gd name="connsiteX17" fmla="*/ 2167503 w 3968724"/>
                <a:gd name="connsiteY17" fmla="*/ 2102042 h 3218836"/>
                <a:gd name="connsiteX18" fmla="*/ 2195212 w 3968724"/>
                <a:gd name="connsiteY18" fmla="*/ 2531533 h 3218836"/>
                <a:gd name="connsiteX19" fmla="*/ 2271412 w 3968724"/>
                <a:gd name="connsiteY19" fmla="*/ 2767061 h 3218836"/>
                <a:gd name="connsiteX20" fmla="*/ 2271412 w 3968724"/>
                <a:gd name="connsiteY20" fmla="*/ 2787842 h 3218836"/>
                <a:gd name="connsiteX21" fmla="*/ 2229848 w 3968724"/>
                <a:gd name="connsiteY21" fmla="*/ 2760133 h 3218836"/>
                <a:gd name="connsiteX22" fmla="*/ 1855775 w 3968724"/>
                <a:gd name="connsiteY22" fmla="*/ 2621588 h 3218836"/>
                <a:gd name="connsiteX23" fmla="*/ 1419357 w 3968724"/>
                <a:gd name="connsiteY23" fmla="*/ 2427624 h 3218836"/>
                <a:gd name="connsiteX24" fmla="*/ 1031430 w 3968724"/>
                <a:gd name="connsiteY24" fmla="*/ 2275224 h 3218836"/>
                <a:gd name="connsiteX25" fmla="*/ 726630 w 3968724"/>
                <a:gd name="connsiteY25" fmla="*/ 2219806 h 3218836"/>
                <a:gd name="connsiteX26" fmla="*/ 442612 w 3968724"/>
                <a:gd name="connsiteY26" fmla="*/ 2233661 h 3218836"/>
                <a:gd name="connsiteX27" fmla="*/ 248648 w 3968724"/>
                <a:gd name="connsiteY27" fmla="*/ 2302933 h 3218836"/>
                <a:gd name="connsiteX28" fmla="*/ 172448 w 3968724"/>
                <a:gd name="connsiteY28" fmla="*/ 2309861 h 3218836"/>
                <a:gd name="connsiteX29" fmla="*/ 82394 w 3968724"/>
                <a:gd name="connsiteY29" fmla="*/ 2302933 h 3218836"/>
                <a:gd name="connsiteX30" fmla="*/ 6194 w 3968724"/>
                <a:gd name="connsiteY30" fmla="*/ 2358352 h 3218836"/>
                <a:gd name="connsiteX31" fmla="*/ 6194 w 3968724"/>
                <a:gd name="connsiteY31" fmla="*/ 2573097 h 3218836"/>
                <a:gd name="connsiteX32" fmla="*/ 20047 w 3968724"/>
                <a:gd name="connsiteY32" fmla="*/ 2746279 h 3218836"/>
                <a:gd name="connsiteX33" fmla="*/ 47757 w 3968724"/>
                <a:gd name="connsiteY33" fmla="*/ 2850188 h 3218836"/>
                <a:gd name="connsiteX34" fmla="*/ 151666 w 3968724"/>
                <a:gd name="connsiteY34" fmla="*/ 2870970 h 3218836"/>
                <a:gd name="connsiteX35" fmla="*/ 802830 w 3968724"/>
                <a:gd name="connsiteY35" fmla="*/ 2954097 h 3218836"/>
                <a:gd name="connsiteX36" fmla="*/ 1821139 w 3968724"/>
                <a:gd name="connsiteY36" fmla="*/ 3099570 h 3218836"/>
                <a:gd name="connsiteX37" fmla="*/ 2375321 w 3968724"/>
                <a:gd name="connsiteY37" fmla="*/ 3161915 h 3218836"/>
                <a:gd name="connsiteX38" fmla="*/ 2680121 w 3968724"/>
                <a:gd name="connsiteY38" fmla="*/ 3217333 h 3218836"/>
                <a:gd name="connsiteX39" fmla="*/ 2770176 w 3968724"/>
                <a:gd name="connsiteY39" fmla="*/ 2961024 h 3218836"/>
                <a:gd name="connsiteX0" fmla="*/ 2770176 w 3968724"/>
                <a:gd name="connsiteY0" fmla="*/ 2961024 h 3219342"/>
                <a:gd name="connsiteX1" fmla="*/ 2971067 w 3968724"/>
                <a:gd name="connsiteY1" fmla="*/ 2392988 h 3219342"/>
                <a:gd name="connsiteX2" fmla="*/ 3268939 w 3968724"/>
                <a:gd name="connsiteY2" fmla="*/ 1630988 h 3219342"/>
                <a:gd name="connsiteX3" fmla="*/ 3739994 w 3968724"/>
                <a:gd name="connsiteY3" fmla="*/ 785861 h 3219342"/>
                <a:gd name="connsiteX4" fmla="*/ 3781557 w 3968724"/>
                <a:gd name="connsiteY4" fmla="*/ 688879 h 3219342"/>
                <a:gd name="connsiteX5" fmla="*/ 3836975 w 3968724"/>
                <a:gd name="connsiteY5" fmla="*/ 640388 h 3219342"/>
                <a:gd name="connsiteX6" fmla="*/ 3920103 w 3968724"/>
                <a:gd name="connsiteY6" fmla="*/ 404861 h 3219342"/>
                <a:gd name="connsiteX7" fmla="*/ 3968594 w 3968724"/>
                <a:gd name="connsiteY7" fmla="*/ 93133 h 3219342"/>
                <a:gd name="connsiteX8" fmla="*/ 3906248 w 3968724"/>
                <a:gd name="connsiteY8" fmla="*/ 51570 h 3219342"/>
                <a:gd name="connsiteX9" fmla="*/ 3691503 w 3968724"/>
                <a:gd name="connsiteY9" fmla="*/ 3079 h 3219342"/>
                <a:gd name="connsiteX10" fmla="*/ 3476757 w 3968724"/>
                <a:gd name="connsiteY10" fmla="*/ 16933 h 3219342"/>
                <a:gd name="connsiteX11" fmla="*/ 3400557 w 3968724"/>
                <a:gd name="connsiteY11" fmla="*/ 113915 h 3219342"/>
                <a:gd name="connsiteX12" fmla="*/ 3289720 w 3968724"/>
                <a:gd name="connsiteY12" fmla="*/ 370225 h 3219342"/>
                <a:gd name="connsiteX13" fmla="*/ 3158103 w 3968724"/>
                <a:gd name="connsiteY13" fmla="*/ 605752 h 3219342"/>
                <a:gd name="connsiteX14" fmla="*/ 2867157 w 3968724"/>
                <a:gd name="connsiteY14" fmla="*/ 972897 h 3219342"/>
                <a:gd name="connsiteX15" fmla="*/ 2548503 w 3968724"/>
                <a:gd name="connsiteY15" fmla="*/ 1360824 h 3219342"/>
                <a:gd name="connsiteX16" fmla="*/ 2319903 w 3968724"/>
                <a:gd name="connsiteY16" fmla="*/ 1644842 h 3219342"/>
                <a:gd name="connsiteX17" fmla="*/ 2167503 w 3968724"/>
                <a:gd name="connsiteY17" fmla="*/ 2102042 h 3219342"/>
                <a:gd name="connsiteX18" fmla="*/ 2195212 w 3968724"/>
                <a:gd name="connsiteY18" fmla="*/ 2531533 h 3219342"/>
                <a:gd name="connsiteX19" fmla="*/ 2271412 w 3968724"/>
                <a:gd name="connsiteY19" fmla="*/ 2767061 h 3219342"/>
                <a:gd name="connsiteX20" fmla="*/ 2271412 w 3968724"/>
                <a:gd name="connsiteY20" fmla="*/ 2787842 h 3219342"/>
                <a:gd name="connsiteX21" fmla="*/ 2229848 w 3968724"/>
                <a:gd name="connsiteY21" fmla="*/ 2760133 h 3219342"/>
                <a:gd name="connsiteX22" fmla="*/ 1855775 w 3968724"/>
                <a:gd name="connsiteY22" fmla="*/ 2621588 h 3219342"/>
                <a:gd name="connsiteX23" fmla="*/ 1419357 w 3968724"/>
                <a:gd name="connsiteY23" fmla="*/ 2427624 h 3219342"/>
                <a:gd name="connsiteX24" fmla="*/ 1031430 w 3968724"/>
                <a:gd name="connsiteY24" fmla="*/ 2275224 h 3219342"/>
                <a:gd name="connsiteX25" fmla="*/ 726630 w 3968724"/>
                <a:gd name="connsiteY25" fmla="*/ 2219806 h 3219342"/>
                <a:gd name="connsiteX26" fmla="*/ 442612 w 3968724"/>
                <a:gd name="connsiteY26" fmla="*/ 2233661 h 3219342"/>
                <a:gd name="connsiteX27" fmla="*/ 248648 w 3968724"/>
                <a:gd name="connsiteY27" fmla="*/ 2302933 h 3219342"/>
                <a:gd name="connsiteX28" fmla="*/ 172448 w 3968724"/>
                <a:gd name="connsiteY28" fmla="*/ 2309861 h 3219342"/>
                <a:gd name="connsiteX29" fmla="*/ 82394 w 3968724"/>
                <a:gd name="connsiteY29" fmla="*/ 2302933 h 3219342"/>
                <a:gd name="connsiteX30" fmla="*/ 6194 w 3968724"/>
                <a:gd name="connsiteY30" fmla="*/ 2358352 h 3219342"/>
                <a:gd name="connsiteX31" fmla="*/ 6194 w 3968724"/>
                <a:gd name="connsiteY31" fmla="*/ 2573097 h 3219342"/>
                <a:gd name="connsiteX32" fmla="*/ 20047 w 3968724"/>
                <a:gd name="connsiteY32" fmla="*/ 2746279 h 3219342"/>
                <a:gd name="connsiteX33" fmla="*/ 47757 w 3968724"/>
                <a:gd name="connsiteY33" fmla="*/ 2850188 h 3219342"/>
                <a:gd name="connsiteX34" fmla="*/ 151666 w 3968724"/>
                <a:gd name="connsiteY34" fmla="*/ 2870970 h 3219342"/>
                <a:gd name="connsiteX35" fmla="*/ 802830 w 3968724"/>
                <a:gd name="connsiteY35" fmla="*/ 2954097 h 3219342"/>
                <a:gd name="connsiteX36" fmla="*/ 1821139 w 3968724"/>
                <a:gd name="connsiteY36" fmla="*/ 3099570 h 3219342"/>
                <a:gd name="connsiteX37" fmla="*/ 2368394 w 3968724"/>
                <a:gd name="connsiteY37" fmla="*/ 3175770 h 3219342"/>
                <a:gd name="connsiteX38" fmla="*/ 2680121 w 3968724"/>
                <a:gd name="connsiteY38" fmla="*/ 3217333 h 3219342"/>
                <a:gd name="connsiteX39" fmla="*/ 2770176 w 3968724"/>
                <a:gd name="connsiteY39" fmla="*/ 2961024 h 321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968724" h="3219342">
                  <a:moveTo>
                    <a:pt x="2770176" y="2961024"/>
                  </a:moveTo>
                  <a:cubicBezTo>
                    <a:pt x="2825595" y="2809779"/>
                    <a:pt x="2887940" y="2614661"/>
                    <a:pt x="2971067" y="2392988"/>
                  </a:cubicBezTo>
                  <a:cubicBezTo>
                    <a:pt x="3054194" y="2171315"/>
                    <a:pt x="3140785" y="1898842"/>
                    <a:pt x="3268939" y="1630988"/>
                  </a:cubicBezTo>
                  <a:cubicBezTo>
                    <a:pt x="3397093" y="1363134"/>
                    <a:pt x="3654558" y="942879"/>
                    <a:pt x="3739994" y="785861"/>
                  </a:cubicBezTo>
                  <a:cubicBezTo>
                    <a:pt x="3825430" y="628843"/>
                    <a:pt x="3765394" y="713124"/>
                    <a:pt x="3781557" y="688879"/>
                  </a:cubicBezTo>
                  <a:cubicBezTo>
                    <a:pt x="3797720" y="664634"/>
                    <a:pt x="3813884" y="687724"/>
                    <a:pt x="3836975" y="640388"/>
                  </a:cubicBezTo>
                  <a:cubicBezTo>
                    <a:pt x="3860066" y="593052"/>
                    <a:pt x="3898166" y="496070"/>
                    <a:pt x="3920103" y="404861"/>
                  </a:cubicBezTo>
                  <a:cubicBezTo>
                    <a:pt x="3942040" y="313652"/>
                    <a:pt x="3970903" y="152015"/>
                    <a:pt x="3968594" y="93133"/>
                  </a:cubicBezTo>
                  <a:cubicBezTo>
                    <a:pt x="3966285" y="34251"/>
                    <a:pt x="3952430" y="66579"/>
                    <a:pt x="3906248" y="51570"/>
                  </a:cubicBezTo>
                  <a:cubicBezTo>
                    <a:pt x="3860066" y="36561"/>
                    <a:pt x="3763085" y="8852"/>
                    <a:pt x="3691503" y="3079"/>
                  </a:cubicBezTo>
                  <a:cubicBezTo>
                    <a:pt x="3619921" y="-2694"/>
                    <a:pt x="3525248" y="-1540"/>
                    <a:pt x="3476757" y="16933"/>
                  </a:cubicBezTo>
                  <a:cubicBezTo>
                    <a:pt x="3428266" y="35406"/>
                    <a:pt x="3431730" y="55033"/>
                    <a:pt x="3400557" y="113915"/>
                  </a:cubicBezTo>
                  <a:cubicBezTo>
                    <a:pt x="3369384" y="172797"/>
                    <a:pt x="3330129" y="288252"/>
                    <a:pt x="3289720" y="370225"/>
                  </a:cubicBezTo>
                  <a:cubicBezTo>
                    <a:pt x="3249311" y="452198"/>
                    <a:pt x="3228530" y="505307"/>
                    <a:pt x="3158103" y="605752"/>
                  </a:cubicBezTo>
                  <a:cubicBezTo>
                    <a:pt x="3087676" y="706197"/>
                    <a:pt x="2968757" y="847052"/>
                    <a:pt x="2867157" y="972897"/>
                  </a:cubicBezTo>
                  <a:cubicBezTo>
                    <a:pt x="2765557" y="1098742"/>
                    <a:pt x="2639712" y="1248833"/>
                    <a:pt x="2548503" y="1360824"/>
                  </a:cubicBezTo>
                  <a:cubicBezTo>
                    <a:pt x="2457294" y="1472815"/>
                    <a:pt x="2383403" y="1521306"/>
                    <a:pt x="2319903" y="1644842"/>
                  </a:cubicBezTo>
                  <a:cubicBezTo>
                    <a:pt x="2256403" y="1768378"/>
                    <a:pt x="2188285" y="1954260"/>
                    <a:pt x="2167503" y="2102042"/>
                  </a:cubicBezTo>
                  <a:cubicBezTo>
                    <a:pt x="2146721" y="2249824"/>
                    <a:pt x="2164040" y="2441478"/>
                    <a:pt x="2195212" y="2531533"/>
                  </a:cubicBezTo>
                  <a:cubicBezTo>
                    <a:pt x="2226384" y="2621588"/>
                    <a:pt x="2271412" y="2767061"/>
                    <a:pt x="2271412" y="2767061"/>
                  </a:cubicBezTo>
                  <a:cubicBezTo>
                    <a:pt x="2284112" y="2809779"/>
                    <a:pt x="2278339" y="2788997"/>
                    <a:pt x="2271412" y="2787842"/>
                  </a:cubicBezTo>
                  <a:cubicBezTo>
                    <a:pt x="2264485" y="2786687"/>
                    <a:pt x="2299121" y="2787842"/>
                    <a:pt x="2229848" y="2760133"/>
                  </a:cubicBezTo>
                  <a:cubicBezTo>
                    <a:pt x="2160575" y="2732424"/>
                    <a:pt x="1990857" y="2677006"/>
                    <a:pt x="1855775" y="2621588"/>
                  </a:cubicBezTo>
                  <a:cubicBezTo>
                    <a:pt x="1720693" y="2566170"/>
                    <a:pt x="1556748" y="2485351"/>
                    <a:pt x="1419357" y="2427624"/>
                  </a:cubicBezTo>
                  <a:cubicBezTo>
                    <a:pt x="1281966" y="2369897"/>
                    <a:pt x="1146884" y="2309860"/>
                    <a:pt x="1031430" y="2275224"/>
                  </a:cubicBezTo>
                  <a:cubicBezTo>
                    <a:pt x="915975" y="2240588"/>
                    <a:pt x="824766" y="2226733"/>
                    <a:pt x="726630" y="2219806"/>
                  </a:cubicBezTo>
                  <a:cubicBezTo>
                    <a:pt x="628494" y="2212879"/>
                    <a:pt x="522276" y="2219806"/>
                    <a:pt x="442612" y="2233661"/>
                  </a:cubicBezTo>
                  <a:cubicBezTo>
                    <a:pt x="362948" y="2247515"/>
                    <a:pt x="293675" y="2290233"/>
                    <a:pt x="248648" y="2302933"/>
                  </a:cubicBezTo>
                  <a:cubicBezTo>
                    <a:pt x="203621" y="2315633"/>
                    <a:pt x="200157" y="2309861"/>
                    <a:pt x="172448" y="2309861"/>
                  </a:cubicBezTo>
                  <a:cubicBezTo>
                    <a:pt x="144739" y="2309861"/>
                    <a:pt x="110103" y="2294851"/>
                    <a:pt x="82394" y="2302933"/>
                  </a:cubicBezTo>
                  <a:cubicBezTo>
                    <a:pt x="54685" y="2311015"/>
                    <a:pt x="18894" y="2313325"/>
                    <a:pt x="6194" y="2358352"/>
                  </a:cubicBezTo>
                  <a:cubicBezTo>
                    <a:pt x="-6506" y="2403379"/>
                    <a:pt x="3885" y="2508443"/>
                    <a:pt x="6194" y="2573097"/>
                  </a:cubicBezTo>
                  <a:cubicBezTo>
                    <a:pt x="8503" y="2637751"/>
                    <a:pt x="13120" y="2700097"/>
                    <a:pt x="20047" y="2746279"/>
                  </a:cubicBezTo>
                  <a:cubicBezTo>
                    <a:pt x="26974" y="2792461"/>
                    <a:pt x="25821" y="2829406"/>
                    <a:pt x="47757" y="2850188"/>
                  </a:cubicBezTo>
                  <a:cubicBezTo>
                    <a:pt x="69694" y="2870970"/>
                    <a:pt x="151666" y="2870970"/>
                    <a:pt x="151666" y="2870970"/>
                  </a:cubicBezTo>
                  <a:lnTo>
                    <a:pt x="802830" y="2954097"/>
                  </a:lnTo>
                  <a:lnTo>
                    <a:pt x="1821139" y="3099570"/>
                  </a:lnTo>
                  <a:lnTo>
                    <a:pt x="2368394" y="3175770"/>
                  </a:lnTo>
                  <a:cubicBezTo>
                    <a:pt x="2511558" y="3195397"/>
                    <a:pt x="2618930" y="3227724"/>
                    <a:pt x="2680121" y="3217333"/>
                  </a:cubicBezTo>
                  <a:cubicBezTo>
                    <a:pt x="2745930" y="3179233"/>
                    <a:pt x="2714757" y="3112269"/>
                    <a:pt x="2770176" y="296102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p:cNvGrpSpPr/>
            <p:nvPr/>
          </p:nvGrpSpPr>
          <p:grpSpPr>
            <a:xfrm>
              <a:off x="5241576" y="2140897"/>
              <a:ext cx="277053" cy="700727"/>
              <a:chOff x="8676358" y="4152459"/>
              <a:chExt cx="820933" cy="2076317"/>
            </a:xfrm>
          </p:grpSpPr>
          <p:sp>
            <p:nvSpPr>
              <p:cNvPr id="143" name="Rectangle: Rounded Corners 142"/>
              <p:cNvSpPr/>
              <p:nvPr/>
            </p:nvSpPr>
            <p:spPr bwMode="auto">
              <a:xfrm rot="20416543">
                <a:off x="9290794" y="4152459"/>
                <a:ext cx="161827" cy="1795600"/>
              </a:xfrm>
              <a:prstGeom prst="roundRect">
                <a:avLst>
                  <a:gd name="adj" fmla="val 50000"/>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4" name="Straight Connector 143"/>
              <p:cNvCxnSpPr/>
              <p:nvPr/>
            </p:nvCxnSpPr>
            <p:spPr>
              <a:xfrm flipV="1">
                <a:off x="8676358" y="5475393"/>
                <a:ext cx="418036" cy="175499"/>
              </a:xfrm>
              <a:prstGeom prst="line">
                <a:avLst/>
              </a:prstGeom>
              <a:noFill/>
              <a:ln w="9525" cap="rnd" cmpd="sng" algn="ctr">
                <a:solidFill>
                  <a:schemeClr val="bg1">
                    <a:lumMod val="50000"/>
                  </a:schemeClr>
                </a:solidFill>
                <a:prstDash val="solid"/>
                <a:headEnd type="none"/>
                <a:tailEnd type="none"/>
              </a:ln>
              <a:effectLst/>
            </p:spPr>
          </p:cxnSp>
          <p:cxnSp>
            <p:nvCxnSpPr>
              <p:cNvPr id="145" name="Straight Connector 144"/>
              <p:cNvCxnSpPr/>
              <p:nvPr/>
            </p:nvCxnSpPr>
            <p:spPr>
              <a:xfrm flipV="1">
                <a:off x="8915400" y="4738861"/>
                <a:ext cx="235466" cy="148404"/>
              </a:xfrm>
              <a:prstGeom prst="line">
                <a:avLst/>
              </a:prstGeom>
              <a:noFill/>
              <a:ln w="9525" cap="rnd" cmpd="sng" algn="ctr">
                <a:solidFill>
                  <a:schemeClr val="bg1">
                    <a:lumMod val="50000"/>
                  </a:schemeClr>
                </a:solidFill>
                <a:prstDash val="solid"/>
                <a:headEnd type="none"/>
                <a:tailEnd type="none"/>
              </a:ln>
              <a:effectLst/>
            </p:spPr>
          </p:cxnSp>
          <p:sp>
            <p:nvSpPr>
              <p:cNvPr id="146" name="Freeform: Shape 145"/>
              <p:cNvSpPr/>
              <p:nvPr/>
            </p:nvSpPr>
            <p:spPr bwMode="auto">
              <a:xfrm>
                <a:off x="8676400" y="5639958"/>
                <a:ext cx="124857" cy="588818"/>
              </a:xfrm>
              <a:custGeom>
                <a:avLst/>
                <a:gdLst>
                  <a:gd name="connsiteX0" fmla="*/ 0 w 136814"/>
                  <a:gd name="connsiteY0" fmla="*/ 0 h 588819"/>
                  <a:gd name="connsiteX1" fmla="*/ 96982 w 136814"/>
                  <a:gd name="connsiteY1" fmla="*/ 284019 h 588819"/>
                  <a:gd name="connsiteX2" fmla="*/ 131619 w 136814"/>
                  <a:gd name="connsiteY2" fmla="*/ 450273 h 588819"/>
                  <a:gd name="connsiteX3" fmla="*/ 124691 w 136814"/>
                  <a:gd name="connsiteY3" fmla="*/ 526473 h 588819"/>
                  <a:gd name="connsiteX4" fmla="*/ 20782 w 136814"/>
                  <a:gd name="connsiteY4" fmla="*/ 588819 h 588819"/>
                  <a:gd name="connsiteX0" fmla="*/ 0 w 132167"/>
                  <a:gd name="connsiteY0" fmla="*/ 0 h 588819"/>
                  <a:gd name="connsiteX1" fmla="*/ 96982 w 132167"/>
                  <a:gd name="connsiteY1" fmla="*/ 284019 h 588819"/>
                  <a:gd name="connsiteX2" fmla="*/ 131619 w 132167"/>
                  <a:gd name="connsiteY2" fmla="*/ 450273 h 588819"/>
                  <a:gd name="connsiteX3" fmla="*/ 110837 w 132167"/>
                  <a:gd name="connsiteY3" fmla="*/ 519546 h 588819"/>
                  <a:gd name="connsiteX4" fmla="*/ 20782 w 132167"/>
                  <a:gd name="connsiteY4" fmla="*/ 588819 h 588819"/>
                  <a:gd name="connsiteX0" fmla="*/ 0 w 131706"/>
                  <a:gd name="connsiteY0" fmla="*/ 0 h 588819"/>
                  <a:gd name="connsiteX1" fmla="*/ 96982 w 131706"/>
                  <a:gd name="connsiteY1" fmla="*/ 284019 h 588819"/>
                  <a:gd name="connsiteX2" fmla="*/ 131619 w 131706"/>
                  <a:gd name="connsiteY2" fmla="*/ 450273 h 588819"/>
                  <a:gd name="connsiteX3" fmla="*/ 103910 w 131706"/>
                  <a:gd name="connsiteY3" fmla="*/ 512619 h 588819"/>
                  <a:gd name="connsiteX4" fmla="*/ 20782 w 131706"/>
                  <a:gd name="connsiteY4" fmla="*/ 588819 h 588819"/>
                  <a:gd name="connsiteX0" fmla="*/ 0 w 124858"/>
                  <a:gd name="connsiteY0" fmla="*/ 0 h 588819"/>
                  <a:gd name="connsiteX1" fmla="*/ 96982 w 124858"/>
                  <a:gd name="connsiteY1" fmla="*/ 284019 h 588819"/>
                  <a:gd name="connsiteX2" fmla="*/ 124692 w 124858"/>
                  <a:gd name="connsiteY2" fmla="*/ 436418 h 588819"/>
                  <a:gd name="connsiteX3" fmla="*/ 103910 w 124858"/>
                  <a:gd name="connsiteY3" fmla="*/ 512619 h 588819"/>
                  <a:gd name="connsiteX4" fmla="*/ 20782 w 124858"/>
                  <a:gd name="connsiteY4" fmla="*/ 588819 h 588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58" h="588819">
                    <a:moveTo>
                      <a:pt x="0" y="0"/>
                    </a:moveTo>
                    <a:cubicBezTo>
                      <a:pt x="37523" y="104487"/>
                      <a:pt x="76200" y="211283"/>
                      <a:pt x="96982" y="284019"/>
                    </a:cubicBezTo>
                    <a:cubicBezTo>
                      <a:pt x="117764" y="356755"/>
                      <a:pt x="123537" y="398318"/>
                      <a:pt x="124692" y="436418"/>
                    </a:cubicBezTo>
                    <a:cubicBezTo>
                      <a:pt x="125847" y="474518"/>
                      <a:pt x="121228" y="487219"/>
                      <a:pt x="103910" y="512619"/>
                    </a:cubicBezTo>
                    <a:cubicBezTo>
                      <a:pt x="86592" y="538019"/>
                      <a:pt x="63500" y="569191"/>
                      <a:pt x="20782" y="58881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p:cNvSpPr/>
              <p:nvPr/>
            </p:nvSpPr>
            <p:spPr bwMode="auto">
              <a:xfrm>
                <a:off x="8894618" y="4883727"/>
                <a:ext cx="602673" cy="782782"/>
              </a:xfrm>
              <a:custGeom>
                <a:avLst/>
                <a:gdLst>
                  <a:gd name="connsiteX0" fmla="*/ 0 w 602673"/>
                  <a:gd name="connsiteY0" fmla="*/ 0 h 782782"/>
                  <a:gd name="connsiteX1" fmla="*/ 145473 w 602673"/>
                  <a:gd name="connsiteY1" fmla="*/ 381000 h 782782"/>
                  <a:gd name="connsiteX2" fmla="*/ 221673 w 602673"/>
                  <a:gd name="connsiteY2" fmla="*/ 602673 h 782782"/>
                  <a:gd name="connsiteX3" fmla="*/ 290946 w 602673"/>
                  <a:gd name="connsiteY3" fmla="*/ 671945 h 782782"/>
                  <a:gd name="connsiteX4" fmla="*/ 408709 w 602673"/>
                  <a:gd name="connsiteY4" fmla="*/ 699655 h 782782"/>
                  <a:gd name="connsiteX5" fmla="*/ 519546 w 602673"/>
                  <a:gd name="connsiteY5" fmla="*/ 734291 h 782782"/>
                  <a:gd name="connsiteX6" fmla="*/ 602673 w 602673"/>
                  <a:gd name="connsiteY6" fmla="*/ 782782 h 78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673" h="782782">
                    <a:moveTo>
                      <a:pt x="0" y="0"/>
                    </a:moveTo>
                    <a:cubicBezTo>
                      <a:pt x="54264" y="140277"/>
                      <a:pt x="108528" y="280555"/>
                      <a:pt x="145473" y="381000"/>
                    </a:cubicBezTo>
                    <a:cubicBezTo>
                      <a:pt x="182418" y="481445"/>
                      <a:pt x="197428" y="554182"/>
                      <a:pt x="221673" y="602673"/>
                    </a:cubicBezTo>
                    <a:cubicBezTo>
                      <a:pt x="245918" y="651164"/>
                      <a:pt x="259773" y="655781"/>
                      <a:pt x="290946" y="671945"/>
                    </a:cubicBezTo>
                    <a:cubicBezTo>
                      <a:pt x="322119" y="688109"/>
                      <a:pt x="370609" y="689264"/>
                      <a:pt x="408709" y="699655"/>
                    </a:cubicBezTo>
                    <a:cubicBezTo>
                      <a:pt x="446809" y="710046"/>
                      <a:pt x="487219" y="720437"/>
                      <a:pt x="519546" y="734291"/>
                    </a:cubicBezTo>
                    <a:cubicBezTo>
                      <a:pt x="551873" y="748145"/>
                      <a:pt x="577273" y="765463"/>
                      <a:pt x="602673" y="782782"/>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29" name="Freeform: Shape 28"/>
            <p:cNvSpPr/>
            <p:nvPr/>
          </p:nvSpPr>
          <p:spPr bwMode="auto">
            <a:xfrm>
              <a:off x="8555505" y="3174074"/>
              <a:ext cx="628884" cy="195515"/>
            </a:xfrm>
            <a:custGeom>
              <a:avLst/>
              <a:gdLst>
                <a:gd name="connsiteX0" fmla="*/ 0 w 1863437"/>
                <a:gd name="connsiteY0" fmla="*/ 579328 h 579328"/>
                <a:gd name="connsiteX1" fmla="*/ 713509 w 1863437"/>
                <a:gd name="connsiteY1" fmla="*/ 364582 h 579328"/>
                <a:gd name="connsiteX2" fmla="*/ 1281546 w 1863437"/>
                <a:gd name="connsiteY2" fmla="*/ 149837 h 579328"/>
                <a:gd name="connsiteX3" fmla="*/ 1745673 w 1863437"/>
                <a:gd name="connsiteY3" fmla="*/ 18219 h 579328"/>
                <a:gd name="connsiteX4" fmla="*/ 1863437 w 1863437"/>
                <a:gd name="connsiteY4" fmla="*/ 4364 h 579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437" h="579328">
                  <a:moveTo>
                    <a:pt x="0" y="579328"/>
                  </a:moveTo>
                  <a:cubicBezTo>
                    <a:pt x="249959" y="507746"/>
                    <a:pt x="499918" y="436164"/>
                    <a:pt x="713509" y="364582"/>
                  </a:cubicBezTo>
                  <a:cubicBezTo>
                    <a:pt x="927100" y="293000"/>
                    <a:pt x="1109519" y="207564"/>
                    <a:pt x="1281546" y="149837"/>
                  </a:cubicBezTo>
                  <a:cubicBezTo>
                    <a:pt x="1453573" y="92110"/>
                    <a:pt x="1648691" y="42464"/>
                    <a:pt x="1745673" y="18219"/>
                  </a:cubicBezTo>
                  <a:cubicBezTo>
                    <a:pt x="1842655" y="-6026"/>
                    <a:pt x="1853046" y="-831"/>
                    <a:pt x="1863437" y="43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p:cNvSpPr/>
            <p:nvPr/>
          </p:nvSpPr>
          <p:spPr bwMode="auto">
            <a:xfrm>
              <a:off x="8590573" y="2207675"/>
              <a:ext cx="558747" cy="477301"/>
            </a:xfrm>
            <a:custGeom>
              <a:avLst/>
              <a:gdLst>
                <a:gd name="connsiteX0" fmla="*/ 332509 w 1641763"/>
                <a:gd name="connsiteY0" fmla="*/ 0 h 1435067"/>
                <a:gd name="connsiteX1" fmla="*/ 193963 w 1641763"/>
                <a:gd name="connsiteY1" fmla="*/ 221673 h 1435067"/>
                <a:gd name="connsiteX2" fmla="*/ 48491 w 1641763"/>
                <a:gd name="connsiteY2" fmla="*/ 429491 h 1435067"/>
                <a:gd name="connsiteX3" fmla="*/ 0 w 1641763"/>
                <a:gd name="connsiteY3" fmla="*/ 519546 h 1435067"/>
                <a:gd name="connsiteX4" fmla="*/ 48491 w 1641763"/>
                <a:gd name="connsiteY4" fmla="*/ 699655 h 1435067"/>
                <a:gd name="connsiteX5" fmla="*/ 235527 w 1641763"/>
                <a:gd name="connsiteY5" fmla="*/ 914400 h 1435067"/>
                <a:gd name="connsiteX6" fmla="*/ 540327 w 1641763"/>
                <a:gd name="connsiteY6" fmla="*/ 1149928 h 1435067"/>
                <a:gd name="connsiteX7" fmla="*/ 886691 w 1641763"/>
                <a:gd name="connsiteY7" fmla="*/ 1330037 h 1435067"/>
                <a:gd name="connsiteX8" fmla="*/ 1184563 w 1641763"/>
                <a:gd name="connsiteY8" fmla="*/ 1406237 h 1435067"/>
                <a:gd name="connsiteX9" fmla="*/ 1406236 w 1641763"/>
                <a:gd name="connsiteY9" fmla="*/ 1433946 h 1435067"/>
                <a:gd name="connsiteX10" fmla="*/ 1641763 w 1641763"/>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699655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720437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53290 w 1655617"/>
                <a:gd name="connsiteY0" fmla="*/ 0 h 1414285"/>
                <a:gd name="connsiteX1" fmla="*/ 207817 w 1655617"/>
                <a:gd name="connsiteY1" fmla="*/ 200891 h 1414285"/>
                <a:gd name="connsiteX2" fmla="*/ 62345 w 1655617"/>
                <a:gd name="connsiteY2" fmla="*/ 408709 h 1414285"/>
                <a:gd name="connsiteX3" fmla="*/ 0 w 1655617"/>
                <a:gd name="connsiteY3" fmla="*/ 526473 h 1414285"/>
                <a:gd name="connsiteX4" fmla="*/ 62345 w 1655617"/>
                <a:gd name="connsiteY4" fmla="*/ 699655 h 1414285"/>
                <a:gd name="connsiteX5" fmla="*/ 249381 w 1655617"/>
                <a:gd name="connsiteY5" fmla="*/ 893618 h 1414285"/>
                <a:gd name="connsiteX6" fmla="*/ 554181 w 1655617"/>
                <a:gd name="connsiteY6" fmla="*/ 1129146 h 1414285"/>
                <a:gd name="connsiteX7" fmla="*/ 900545 w 1655617"/>
                <a:gd name="connsiteY7" fmla="*/ 1309255 h 1414285"/>
                <a:gd name="connsiteX8" fmla="*/ 1198417 w 1655617"/>
                <a:gd name="connsiteY8" fmla="*/ 1385455 h 1414285"/>
                <a:gd name="connsiteX9" fmla="*/ 1420090 w 1655617"/>
                <a:gd name="connsiteY9" fmla="*/ 1413164 h 1414285"/>
                <a:gd name="connsiteX10" fmla="*/ 1655617 w 1655617"/>
                <a:gd name="connsiteY10" fmla="*/ 1406237 h 141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5617" h="1414285">
                  <a:moveTo>
                    <a:pt x="353290" y="0"/>
                  </a:moveTo>
                  <a:cubicBezTo>
                    <a:pt x="307685" y="75045"/>
                    <a:pt x="256308" y="132773"/>
                    <a:pt x="207817" y="200891"/>
                  </a:cubicBezTo>
                  <a:cubicBezTo>
                    <a:pt x="159326" y="269009"/>
                    <a:pt x="96981" y="354445"/>
                    <a:pt x="62345" y="408709"/>
                  </a:cubicBezTo>
                  <a:cubicBezTo>
                    <a:pt x="27709" y="462973"/>
                    <a:pt x="0" y="477982"/>
                    <a:pt x="0" y="526473"/>
                  </a:cubicBezTo>
                  <a:cubicBezTo>
                    <a:pt x="0" y="574964"/>
                    <a:pt x="20782" y="638464"/>
                    <a:pt x="62345" y="699655"/>
                  </a:cubicBezTo>
                  <a:cubicBezTo>
                    <a:pt x="103908" y="760846"/>
                    <a:pt x="167408" y="822036"/>
                    <a:pt x="249381" y="893618"/>
                  </a:cubicBezTo>
                  <a:cubicBezTo>
                    <a:pt x="331354" y="965200"/>
                    <a:pt x="445654" y="1059873"/>
                    <a:pt x="554181" y="1129146"/>
                  </a:cubicBezTo>
                  <a:cubicBezTo>
                    <a:pt x="662708" y="1198419"/>
                    <a:pt x="793172" y="1266537"/>
                    <a:pt x="900545" y="1309255"/>
                  </a:cubicBezTo>
                  <a:cubicBezTo>
                    <a:pt x="1007918" y="1351973"/>
                    <a:pt x="1111826" y="1368137"/>
                    <a:pt x="1198417" y="1385455"/>
                  </a:cubicBezTo>
                  <a:cubicBezTo>
                    <a:pt x="1285008" y="1402773"/>
                    <a:pt x="1343890" y="1409700"/>
                    <a:pt x="1420090" y="1413164"/>
                  </a:cubicBezTo>
                  <a:cubicBezTo>
                    <a:pt x="1496290" y="1416628"/>
                    <a:pt x="1575953" y="1411432"/>
                    <a:pt x="1655617" y="140623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p:cNvSpPr/>
            <p:nvPr/>
          </p:nvSpPr>
          <p:spPr bwMode="auto">
            <a:xfrm>
              <a:off x="8207165" y="2605110"/>
              <a:ext cx="596153" cy="257164"/>
            </a:xfrm>
            <a:custGeom>
              <a:avLst/>
              <a:gdLst>
                <a:gd name="connsiteX0" fmla="*/ 0 w 1766454"/>
                <a:gd name="connsiteY0" fmla="*/ 762000 h 762000"/>
                <a:gd name="connsiteX1" fmla="*/ 616527 w 1766454"/>
                <a:gd name="connsiteY1" fmla="*/ 665018 h 762000"/>
                <a:gd name="connsiteX2" fmla="*/ 1357745 w 1766454"/>
                <a:gd name="connsiteY2" fmla="*/ 554181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86345 w 1766454"/>
                <a:gd name="connsiteY4" fmla="*/ 346363 h 762000"/>
                <a:gd name="connsiteX5" fmla="*/ 1766454 w 1766454"/>
                <a:gd name="connsiteY5"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6454" h="762000">
                  <a:moveTo>
                    <a:pt x="0" y="762000"/>
                  </a:moveTo>
                  <a:lnTo>
                    <a:pt x="616527" y="665018"/>
                  </a:lnTo>
                  <a:cubicBezTo>
                    <a:pt x="849745" y="625763"/>
                    <a:pt x="1169554" y="578426"/>
                    <a:pt x="1316181" y="547253"/>
                  </a:cubicBezTo>
                  <a:cubicBezTo>
                    <a:pt x="1462808" y="516080"/>
                    <a:pt x="1451263" y="511464"/>
                    <a:pt x="1496290" y="477982"/>
                  </a:cubicBezTo>
                  <a:cubicBezTo>
                    <a:pt x="1541317" y="444500"/>
                    <a:pt x="1541318" y="426027"/>
                    <a:pt x="1586345" y="346363"/>
                  </a:cubicBezTo>
                  <a:cubicBezTo>
                    <a:pt x="1631372" y="266699"/>
                    <a:pt x="1704109" y="115454"/>
                    <a:pt x="1766454"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p:cNvSpPr/>
            <p:nvPr/>
          </p:nvSpPr>
          <p:spPr bwMode="auto">
            <a:xfrm>
              <a:off x="8852413" y="2630827"/>
              <a:ext cx="70136" cy="170664"/>
            </a:xfrm>
            <a:custGeom>
              <a:avLst/>
              <a:gdLst>
                <a:gd name="connsiteX0" fmla="*/ 0 w 207818"/>
                <a:gd name="connsiteY0" fmla="*/ 0 h 505691"/>
                <a:gd name="connsiteX1" fmla="*/ 69273 w 207818"/>
                <a:gd name="connsiteY1" fmla="*/ 256309 h 505691"/>
                <a:gd name="connsiteX2" fmla="*/ 207818 w 207818"/>
                <a:gd name="connsiteY2" fmla="*/ 505691 h 505691"/>
              </a:gdLst>
              <a:ahLst/>
              <a:cxnLst>
                <a:cxn ang="0">
                  <a:pos x="connsiteX0" y="connsiteY0"/>
                </a:cxn>
                <a:cxn ang="0">
                  <a:pos x="connsiteX1" y="connsiteY1"/>
                </a:cxn>
                <a:cxn ang="0">
                  <a:pos x="connsiteX2" y="connsiteY2"/>
                </a:cxn>
              </a:cxnLst>
              <a:rect l="l" t="t" r="r" b="b"/>
              <a:pathLst>
                <a:path w="207818" h="505691">
                  <a:moveTo>
                    <a:pt x="0" y="0"/>
                  </a:moveTo>
                  <a:cubicBezTo>
                    <a:pt x="17318" y="86013"/>
                    <a:pt x="34637" y="172027"/>
                    <a:pt x="69273" y="256309"/>
                  </a:cubicBezTo>
                  <a:cubicBezTo>
                    <a:pt x="103909" y="340591"/>
                    <a:pt x="155863" y="423141"/>
                    <a:pt x="207818" y="505691"/>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cxnSp>
          <p:nvCxnSpPr>
            <p:cNvPr id="33" name="Straight Connector 32"/>
            <p:cNvCxnSpPr/>
            <p:nvPr/>
          </p:nvCxnSpPr>
          <p:spPr>
            <a:xfrm>
              <a:off x="7831031" y="2380676"/>
              <a:ext cx="724474" cy="0"/>
            </a:xfrm>
            <a:prstGeom prst="line">
              <a:avLst/>
            </a:prstGeom>
            <a:noFill/>
            <a:ln w="9525" cap="rnd" cmpd="sng" algn="ctr">
              <a:solidFill>
                <a:schemeClr val="bg1">
                  <a:lumMod val="50000"/>
                </a:schemeClr>
              </a:solidFill>
              <a:prstDash val="solid"/>
              <a:headEnd type="none"/>
              <a:tailEnd type="none"/>
            </a:ln>
            <a:effectLst/>
            <a:scene3d>
              <a:camera prst="orthographicFront">
                <a:rot lat="0" lon="0" rev="18000"/>
              </a:camera>
              <a:lightRig rig="threePt" dir="t"/>
            </a:scene3d>
          </p:spPr>
        </p:cxnSp>
        <p:cxnSp>
          <p:nvCxnSpPr>
            <p:cNvPr id="34" name="Straight Connector 33"/>
            <p:cNvCxnSpPr/>
            <p:nvPr/>
          </p:nvCxnSpPr>
          <p:spPr>
            <a:xfrm>
              <a:off x="7969626" y="2238326"/>
              <a:ext cx="652092" cy="0"/>
            </a:xfrm>
            <a:prstGeom prst="line">
              <a:avLst/>
            </a:prstGeom>
            <a:noFill/>
            <a:ln w="9525" cap="rnd" cmpd="sng" algn="ctr">
              <a:solidFill>
                <a:schemeClr val="bg1">
                  <a:lumMod val="50000"/>
                </a:schemeClr>
              </a:solidFill>
              <a:prstDash val="solid"/>
              <a:headEnd type="none"/>
              <a:tailEnd type="none"/>
            </a:ln>
            <a:effectLst/>
            <a:scene3d>
              <a:camera prst="orthographicFront">
                <a:rot lat="0" lon="0" rev="36000"/>
              </a:camera>
              <a:lightRig rig="threePt" dir="t"/>
            </a:scene3d>
          </p:spPr>
        </p:cxnSp>
        <p:sp>
          <p:nvSpPr>
            <p:cNvPr id="35" name="Freeform: Shape 34"/>
            <p:cNvSpPr/>
            <p:nvPr/>
          </p:nvSpPr>
          <p:spPr bwMode="auto">
            <a:xfrm>
              <a:off x="8286077" y="1693346"/>
              <a:ext cx="774405" cy="575754"/>
            </a:xfrm>
            <a:custGeom>
              <a:avLst/>
              <a:gdLst>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72412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697348"/>
                <a:gd name="connsiteX1" fmla="*/ 8630 w 2294630"/>
                <a:gd name="connsiteY1" fmla="*/ 152400 h 1697348"/>
                <a:gd name="connsiteX2" fmla="*/ 119466 w 2294630"/>
                <a:gd name="connsiteY2" fmla="*/ 284018 h 1697348"/>
                <a:gd name="connsiteX3" fmla="*/ 576666 w 2294630"/>
                <a:gd name="connsiteY3" fmla="*/ 748146 h 1697348"/>
                <a:gd name="connsiteX4" fmla="*/ 1144703 w 2294630"/>
                <a:gd name="connsiteY4" fmla="*/ 1385455 h 1697348"/>
                <a:gd name="connsiteX5" fmla="*/ 1248612 w 2294630"/>
                <a:gd name="connsiteY5" fmla="*/ 1503218 h 1697348"/>
                <a:gd name="connsiteX6" fmla="*/ 1435648 w 2294630"/>
                <a:gd name="connsiteY6" fmla="*/ 1593273 h 1697348"/>
                <a:gd name="connsiteX7" fmla="*/ 1858212 w 2294630"/>
                <a:gd name="connsiteY7" fmla="*/ 1676401 h 1697348"/>
                <a:gd name="connsiteX8" fmla="*/ 2072957 w 2294630"/>
                <a:gd name="connsiteY8" fmla="*/ 1697182 h 1697348"/>
                <a:gd name="connsiteX9" fmla="*/ 2294630 w 2294630"/>
                <a:gd name="connsiteY9" fmla="*/ 1669473 h 1697348"/>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9884 w 2294630"/>
                <a:gd name="connsiteY8" fmla="*/ 1697182 h 1706011"/>
                <a:gd name="connsiteX9" fmla="*/ 2294630 w 2294630"/>
                <a:gd name="connsiteY9" fmla="*/ 1669473 h 170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4630" h="1706011">
                  <a:moveTo>
                    <a:pt x="15557" y="0"/>
                  </a:moveTo>
                  <a:cubicBezTo>
                    <a:pt x="3434" y="42141"/>
                    <a:pt x="-8688" y="105064"/>
                    <a:pt x="8630" y="152400"/>
                  </a:cubicBezTo>
                  <a:cubicBezTo>
                    <a:pt x="25948" y="199736"/>
                    <a:pt x="24793" y="184727"/>
                    <a:pt x="119466" y="284018"/>
                  </a:cubicBezTo>
                  <a:cubicBezTo>
                    <a:pt x="214139" y="383309"/>
                    <a:pt x="405793" y="564573"/>
                    <a:pt x="576666" y="748146"/>
                  </a:cubicBezTo>
                  <a:cubicBezTo>
                    <a:pt x="747539" y="931719"/>
                    <a:pt x="1032712" y="1259610"/>
                    <a:pt x="1144703" y="1385455"/>
                  </a:cubicBezTo>
                  <a:cubicBezTo>
                    <a:pt x="1256694" y="1511300"/>
                    <a:pt x="1200121" y="1468582"/>
                    <a:pt x="1248612" y="1503218"/>
                  </a:cubicBezTo>
                  <a:cubicBezTo>
                    <a:pt x="1297103" y="1537854"/>
                    <a:pt x="1334048" y="1560946"/>
                    <a:pt x="1435648" y="1593273"/>
                  </a:cubicBezTo>
                  <a:cubicBezTo>
                    <a:pt x="1537248" y="1625600"/>
                    <a:pt x="1750839" y="1679864"/>
                    <a:pt x="1858212" y="1697182"/>
                  </a:cubicBezTo>
                  <a:cubicBezTo>
                    <a:pt x="1965585" y="1714500"/>
                    <a:pt x="2007148" y="1701800"/>
                    <a:pt x="2079884" y="1697182"/>
                  </a:cubicBezTo>
                  <a:cubicBezTo>
                    <a:pt x="2152620" y="1692564"/>
                    <a:pt x="2220161" y="1681018"/>
                    <a:pt x="2294630" y="166947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p:cNvSpPr/>
            <p:nvPr/>
          </p:nvSpPr>
          <p:spPr bwMode="auto">
            <a:xfrm>
              <a:off x="8607563" y="1812576"/>
              <a:ext cx="403823" cy="397494"/>
            </a:xfrm>
            <a:custGeom>
              <a:avLst/>
              <a:gdLst>
                <a:gd name="connsiteX0" fmla="*/ 1185130 w 1185130"/>
                <a:gd name="connsiteY0" fmla="*/ 1136073 h 1157026"/>
                <a:gd name="connsiteX1" fmla="*/ 1032730 w 1185130"/>
                <a:gd name="connsiteY1" fmla="*/ 1156855 h 1157026"/>
                <a:gd name="connsiteX2" fmla="*/ 928821 w 1185130"/>
                <a:gd name="connsiteY2" fmla="*/ 1136073 h 1157026"/>
                <a:gd name="connsiteX3" fmla="*/ 734858 w 1185130"/>
                <a:gd name="connsiteY3" fmla="*/ 1011382 h 1157026"/>
                <a:gd name="connsiteX4" fmla="*/ 249949 w 1185130"/>
                <a:gd name="connsiteY4" fmla="*/ 526473 h 1157026"/>
                <a:gd name="connsiteX5" fmla="*/ 28276 w 1185130"/>
                <a:gd name="connsiteY5" fmla="*/ 242455 h 1157026"/>
                <a:gd name="connsiteX6" fmla="*/ 7494 w 1185130"/>
                <a:gd name="connsiteY6" fmla="*/ 131618 h 1157026"/>
                <a:gd name="connsiteX7" fmla="*/ 69839 w 1185130"/>
                <a:gd name="connsiteY7" fmla="*/ 34636 h 1157026"/>
                <a:gd name="connsiteX8" fmla="*/ 180676 w 1185130"/>
                <a:gd name="connsiteY8" fmla="*/ 0 h 1157026"/>
                <a:gd name="connsiteX0" fmla="*/ 1188932 w 1188932"/>
                <a:gd name="connsiteY0" fmla="*/ 1136073 h 1157026"/>
                <a:gd name="connsiteX1" fmla="*/ 1036532 w 1188932"/>
                <a:gd name="connsiteY1" fmla="*/ 1156855 h 1157026"/>
                <a:gd name="connsiteX2" fmla="*/ 932623 w 1188932"/>
                <a:gd name="connsiteY2" fmla="*/ 1136073 h 1157026"/>
                <a:gd name="connsiteX3" fmla="*/ 738660 w 1188932"/>
                <a:gd name="connsiteY3" fmla="*/ 1011382 h 1157026"/>
                <a:gd name="connsiteX4" fmla="*/ 253751 w 1188932"/>
                <a:gd name="connsiteY4" fmla="*/ 526473 h 1157026"/>
                <a:gd name="connsiteX5" fmla="*/ 25151 w 1188932"/>
                <a:gd name="connsiteY5" fmla="*/ 249382 h 1157026"/>
                <a:gd name="connsiteX6" fmla="*/ 11296 w 1188932"/>
                <a:gd name="connsiteY6" fmla="*/ 131618 h 1157026"/>
                <a:gd name="connsiteX7" fmla="*/ 73641 w 1188932"/>
                <a:gd name="connsiteY7" fmla="*/ 34636 h 1157026"/>
                <a:gd name="connsiteX8" fmla="*/ 184478 w 1188932"/>
                <a:gd name="connsiteY8" fmla="*/ 0 h 1157026"/>
                <a:gd name="connsiteX0" fmla="*/ 1189347 w 1189347"/>
                <a:gd name="connsiteY0" fmla="*/ 1136073 h 1157026"/>
                <a:gd name="connsiteX1" fmla="*/ 1036947 w 1189347"/>
                <a:gd name="connsiteY1" fmla="*/ 1156855 h 1157026"/>
                <a:gd name="connsiteX2" fmla="*/ 933038 w 1189347"/>
                <a:gd name="connsiteY2" fmla="*/ 1136073 h 1157026"/>
                <a:gd name="connsiteX3" fmla="*/ 739075 w 1189347"/>
                <a:gd name="connsiteY3" fmla="*/ 1011382 h 1157026"/>
                <a:gd name="connsiteX4" fmla="*/ 254166 w 1189347"/>
                <a:gd name="connsiteY4" fmla="*/ 526473 h 1157026"/>
                <a:gd name="connsiteX5" fmla="*/ 25566 w 1189347"/>
                <a:gd name="connsiteY5" fmla="*/ 249382 h 1157026"/>
                <a:gd name="connsiteX6" fmla="*/ 11711 w 1189347"/>
                <a:gd name="connsiteY6" fmla="*/ 131618 h 1157026"/>
                <a:gd name="connsiteX7" fmla="*/ 80983 w 1189347"/>
                <a:gd name="connsiteY7" fmla="*/ 48490 h 1157026"/>
                <a:gd name="connsiteX8" fmla="*/ 184893 w 1189347"/>
                <a:gd name="connsiteY8" fmla="*/ 0 h 1157026"/>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087583 h 1108536"/>
                <a:gd name="connsiteX1" fmla="*/ 1036947 w 1189347"/>
                <a:gd name="connsiteY1" fmla="*/ 1108365 h 1108536"/>
                <a:gd name="connsiteX2" fmla="*/ 933038 w 1189347"/>
                <a:gd name="connsiteY2" fmla="*/ 1087583 h 1108536"/>
                <a:gd name="connsiteX3" fmla="*/ 739075 w 1189347"/>
                <a:gd name="connsiteY3" fmla="*/ 962892 h 1108536"/>
                <a:gd name="connsiteX4" fmla="*/ 254166 w 1189347"/>
                <a:gd name="connsiteY4" fmla="*/ 477983 h 1108536"/>
                <a:gd name="connsiteX5" fmla="*/ 25566 w 1189347"/>
                <a:gd name="connsiteY5" fmla="*/ 200892 h 1108536"/>
                <a:gd name="connsiteX6" fmla="*/ 11711 w 1189347"/>
                <a:gd name="connsiteY6" fmla="*/ 83128 h 1108536"/>
                <a:gd name="connsiteX7" fmla="*/ 80983 w 1189347"/>
                <a:gd name="connsiteY7" fmla="*/ 0 h 1108536"/>
                <a:gd name="connsiteX0" fmla="*/ 1196564 w 1196564"/>
                <a:gd name="connsiteY0" fmla="*/ 1156856 h 1177809"/>
                <a:gd name="connsiteX1" fmla="*/ 1044164 w 1196564"/>
                <a:gd name="connsiteY1" fmla="*/ 1177638 h 1177809"/>
                <a:gd name="connsiteX2" fmla="*/ 940255 w 1196564"/>
                <a:gd name="connsiteY2" fmla="*/ 1156856 h 1177809"/>
                <a:gd name="connsiteX3" fmla="*/ 746292 w 1196564"/>
                <a:gd name="connsiteY3" fmla="*/ 1032165 h 1177809"/>
                <a:gd name="connsiteX4" fmla="*/ 261383 w 1196564"/>
                <a:gd name="connsiteY4" fmla="*/ 547256 h 1177809"/>
                <a:gd name="connsiteX5" fmla="*/ 32783 w 1196564"/>
                <a:gd name="connsiteY5" fmla="*/ 270165 h 1177809"/>
                <a:gd name="connsiteX6" fmla="*/ 18928 w 1196564"/>
                <a:gd name="connsiteY6" fmla="*/ 152401 h 1177809"/>
                <a:gd name="connsiteX7" fmla="*/ 199036 w 1196564"/>
                <a:gd name="connsiteY7" fmla="*/ 0 h 117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564" h="1177809">
                  <a:moveTo>
                    <a:pt x="1196564" y="1156856"/>
                  </a:moveTo>
                  <a:cubicBezTo>
                    <a:pt x="1141723" y="1167247"/>
                    <a:pt x="1086882" y="1177638"/>
                    <a:pt x="1044164" y="1177638"/>
                  </a:cubicBezTo>
                  <a:cubicBezTo>
                    <a:pt x="1001446" y="1177638"/>
                    <a:pt x="989900" y="1181102"/>
                    <a:pt x="940255" y="1156856"/>
                  </a:cubicBezTo>
                  <a:cubicBezTo>
                    <a:pt x="890610" y="1132610"/>
                    <a:pt x="859437" y="1133765"/>
                    <a:pt x="746292" y="1032165"/>
                  </a:cubicBezTo>
                  <a:cubicBezTo>
                    <a:pt x="633147" y="930565"/>
                    <a:pt x="380301" y="674256"/>
                    <a:pt x="261383" y="547256"/>
                  </a:cubicBezTo>
                  <a:cubicBezTo>
                    <a:pt x="142465" y="420256"/>
                    <a:pt x="73192" y="335974"/>
                    <a:pt x="32783" y="270165"/>
                  </a:cubicBezTo>
                  <a:cubicBezTo>
                    <a:pt x="-7626" y="204356"/>
                    <a:pt x="-8781" y="197428"/>
                    <a:pt x="18928" y="152401"/>
                  </a:cubicBezTo>
                  <a:cubicBezTo>
                    <a:pt x="46637" y="107374"/>
                    <a:pt x="172482" y="23091"/>
                    <a:pt x="199036"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p:cNvSpPr/>
            <p:nvPr/>
          </p:nvSpPr>
          <p:spPr bwMode="auto">
            <a:xfrm>
              <a:off x="6673636" y="2160565"/>
              <a:ext cx="1248310" cy="1031347"/>
            </a:xfrm>
            <a:custGeom>
              <a:avLst/>
              <a:gdLst>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03782 w 3703782"/>
                <a:gd name="connsiteY0" fmla="*/ 1044 h 3055971"/>
                <a:gd name="connsiteX1" fmla="*/ 3537528 w 3703782"/>
                <a:gd name="connsiteY1" fmla="*/ 14898 h 3055971"/>
                <a:gd name="connsiteX2" fmla="*/ 3405910 w 3703782"/>
                <a:gd name="connsiteY2" fmla="*/ 104953 h 3055971"/>
                <a:gd name="connsiteX3" fmla="*/ 3295073 w 3703782"/>
                <a:gd name="connsiteY3" fmla="*/ 298917 h 3055971"/>
                <a:gd name="connsiteX4" fmla="*/ 3184237 w 3703782"/>
                <a:gd name="connsiteY4" fmla="*/ 513662 h 3055971"/>
                <a:gd name="connsiteX5" fmla="*/ 2990273 w 3703782"/>
                <a:gd name="connsiteY5" fmla="*/ 776898 h 3055971"/>
                <a:gd name="connsiteX6" fmla="*/ 2678546 w 3703782"/>
                <a:gd name="connsiteY6" fmla="*/ 1116335 h 3055971"/>
                <a:gd name="connsiteX7" fmla="*/ 2387600 w 3703782"/>
                <a:gd name="connsiteY7" fmla="*/ 1511189 h 3055971"/>
                <a:gd name="connsiteX8" fmla="*/ 2165928 w 3703782"/>
                <a:gd name="connsiteY8" fmla="*/ 1836771 h 3055971"/>
                <a:gd name="connsiteX9" fmla="*/ 1985819 w 3703782"/>
                <a:gd name="connsiteY9" fmla="*/ 2176207 h 3055971"/>
                <a:gd name="connsiteX10" fmla="*/ 1833419 w 3703782"/>
                <a:gd name="connsiteY10" fmla="*/ 2411735 h 3055971"/>
                <a:gd name="connsiteX11" fmla="*/ 1798782 w 3703782"/>
                <a:gd name="connsiteY11" fmla="*/ 2487935 h 3055971"/>
                <a:gd name="connsiteX12" fmla="*/ 1708728 w 3703782"/>
                <a:gd name="connsiteY12" fmla="*/ 2487935 h 3055971"/>
                <a:gd name="connsiteX13" fmla="*/ 1099128 w 3703782"/>
                <a:gd name="connsiteY13" fmla="*/ 2460226 h 3055971"/>
                <a:gd name="connsiteX14" fmla="*/ 496455 w 3703782"/>
                <a:gd name="connsiteY14" fmla="*/ 2460226 h 3055971"/>
                <a:gd name="connsiteX15" fmla="*/ 260928 w 3703782"/>
                <a:gd name="connsiteY15" fmla="*/ 2474080 h 3055971"/>
                <a:gd name="connsiteX16" fmla="*/ 73891 w 3703782"/>
                <a:gd name="connsiteY16" fmla="*/ 2591844 h 3055971"/>
                <a:gd name="connsiteX17" fmla="*/ 4619 w 3703782"/>
                <a:gd name="connsiteY17" fmla="*/ 2744244 h 3055971"/>
                <a:gd name="connsiteX18" fmla="*/ 18473 w 3703782"/>
                <a:gd name="connsiteY18" fmla="*/ 2889717 h 3055971"/>
                <a:gd name="connsiteX19" fmla="*/ 115455 w 3703782"/>
                <a:gd name="connsiteY19" fmla="*/ 2910498 h 3055971"/>
                <a:gd name="connsiteX20" fmla="*/ 988291 w 3703782"/>
                <a:gd name="connsiteY20" fmla="*/ 2993626 h 3055971"/>
                <a:gd name="connsiteX21" fmla="*/ 1362364 w 3703782"/>
                <a:gd name="connsiteY21" fmla="*/ 3035189 h 3055971"/>
                <a:gd name="connsiteX22" fmla="*/ 1639455 w 3703782"/>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160996 w 3698850"/>
                <a:gd name="connsiteY7" fmla="*/ 1836771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49269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98850" h="3055971">
                  <a:moveTo>
                    <a:pt x="3698850" y="1044"/>
                  </a:moveTo>
                  <a:cubicBezTo>
                    <a:pt x="3640545" y="-688"/>
                    <a:pt x="3582241" y="-2420"/>
                    <a:pt x="3532596" y="14898"/>
                  </a:cubicBezTo>
                  <a:cubicBezTo>
                    <a:pt x="3482951" y="32216"/>
                    <a:pt x="3441387" y="57616"/>
                    <a:pt x="3400978" y="104953"/>
                  </a:cubicBezTo>
                  <a:cubicBezTo>
                    <a:pt x="3360569" y="152290"/>
                    <a:pt x="3327086" y="230799"/>
                    <a:pt x="3290141" y="298917"/>
                  </a:cubicBezTo>
                  <a:cubicBezTo>
                    <a:pt x="3253196" y="367035"/>
                    <a:pt x="3223178" y="427071"/>
                    <a:pt x="3179305" y="513662"/>
                  </a:cubicBezTo>
                  <a:cubicBezTo>
                    <a:pt x="3135432" y="600253"/>
                    <a:pt x="3069623" y="676453"/>
                    <a:pt x="2985341" y="776898"/>
                  </a:cubicBezTo>
                  <a:cubicBezTo>
                    <a:pt x="2901059" y="877343"/>
                    <a:pt x="2786759" y="976635"/>
                    <a:pt x="2673614" y="1116335"/>
                  </a:cubicBezTo>
                  <a:cubicBezTo>
                    <a:pt x="2560469" y="1256035"/>
                    <a:pt x="2421922" y="1438453"/>
                    <a:pt x="2306468" y="1615098"/>
                  </a:cubicBezTo>
                  <a:cubicBezTo>
                    <a:pt x="2191014" y="1791743"/>
                    <a:pt x="2057087" y="2043434"/>
                    <a:pt x="1980887" y="2176207"/>
                  </a:cubicBezTo>
                  <a:cubicBezTo>
                    <a:pt x="1904687" y="2308980"/>
                    <a:pt x="1880442" y="2359780"/>
                    <a:pt x="1849269" y="2411735"/>
                  </a:cubicBezTo>
                  <a:cubicBezTo>
                    <a:pt x="1818096" y="2463690"/>
                    <a:pt x="1818095" y="2475235"/>
                    <a:pt x="1793850" y="2487935"/>
                  </a:cubicBezTo>
                  <a:cubicBezTo>
                    <a:pt x="1769605" y="2500635"/>
                    <a:pt x="1703796" y="2487935"/>
                    <a:pt x="1703796" y="2487935"/>
                  </a:cubicBezTo>
                  <a:cubicBezTo>
                    <a:pt x="1587187" y="2483317"/>
                    <a:pt x="1296241" y="2464844"/>
                    <a:pt x="1094196" y="2460226"/>
                  </a:cubicBezTo>
                  <a:cubicBezTo>
                    <a:pt x="892151" y="2455608"/>
                    <a:pt x="631223" y="2457917"/>
                    <a:pt x="491523" y="2460226"/>
                  </a:cubicBezTo>
                  <a:cubicBezTo>
                    <a:pt x="351823" y="2462535"/>
                    <a:pt x="326423" y="2452144"/>
                    <a:pt x="255996" y="2474080"/>
                  </a:cubicBezTo>
                  <a:cubicBezTo>
                    <a:pt x="185569" y="2496016"/>
                    <a:pt x="110523" y="2546817"/>
                    <a:pt x="68959" y="2591844"/>
                  </a:cubicBezTo>
                  <a:cubicBezTo>
                    <a:pt x="27395" y="2636871"/>
                    <a:pt x="15850" y="2694599"/>
                    <a:pt x="6614" y="2744244"/>
                  </a:cubicBezTo>
                  <a:cubicBezTo>
                    <a:pt x="-2622" y="2793889"/>
                    <a:pt x="-3777" y="2862008"/>
                    <a:pt x="13541" y="2889717"/>
                  </a:cubicBezTo>
                  <a:cubicBezTo>
                    <a:pt x="30859" y="2917426"/>
                    <a:pt x="-51113" y="2893180"/>
                    <a:pt x="110523" y="2910498"/>
                  </a:cubicBezTo>
                  <a:cubicBezTo>
                    <a:pt x="272159" y="2927816"/>
                    <a:pt x="775541" y="2972844"/>
                    <a:pt x="983359" y="2993626"/>
                  </a:cubicBezTo>
                  <a:cubicBezTo>
                    <a:pt x="1191177" y="3014408"/>
                    <a:pt x="1248905" y="3024798"/>
                    <a:pt x="1357432" y="3035189"/>
                  </a:cubicBezTo>
                  <a:cubicBezTo>
                    <a:pt x="1465959" y="3045580"/>
                    <a:pt x="1550241" y="3050775"/>
                    <a:pt x="1634523" y="3055971"/>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p:cNvSpPr/>
            <p:nvPr/>
          </p:nvSpPr>
          <p:spPr bwMode="auto">
            <a:xfrm>
              <a:off x="6584045" y="1928341"/>
              <a:ext cx="186929" cy="298376"/>
            </a:xfrm>
            <a:custGeom>
              <a:avLst/>
              <a:gdLst>
                <a:gd name="connsiteX0" fmla="*/ 42145 w 552240"/>
                <a:gd name="connsiteY0" fmla="*/ 820135 h 884678"/>
                <a:gd name="connsiteX1" fmla="*/ 312309 w 552240"/>
                <a:gd name="connsiteY1" fmla="*/ 875553 h 884678"/>
                <a:gd name="connsiteX2" fmla="*/ 492418 w 552240"/>
                <a:gd name="connsiteY2" fmla="*/ 868626 h 884678"/>
                <a:gd name="connsiteX3" fmla="*/ 547836 w 552240"/>
                <a:gd name="connsiteY3" fmla="*/ 723153 h 884678"/>
                <a:gd name="connsiteX4" fmla="*/ 540909 w 552240"/>
                <a:gd name="connsiteY4" fmla="*/ 418353 h 884678"/>
                <a:gd name="connsiteX5" fmla="*/ 478563 w 552240"/>
                <a:gd name="connsiteY5" fmla="*/ 85844 h 884678"/>
                <a:gd name="connsiteX6" fmla="*/ 388509 w 552240"/>
                <a:gd name="connsiteY6" fmla="*/ 16571 h 884678"/>
                <a:gd name="connsiteX7" fmla="*/ 215327 w 552240"/>
                <a:gd name="connsiteY7" fmla="*/ 2717 h 884678"/>
                <a:gd name="connsiteX8" fmla="*/ 152981 w 552240"/>
                <a:gd name="connsiteY8" fmla="*/ 58135 h 884678"/>
                <a:gd name="connsiteX9" fmla="*/ 97563 w 552240"/>
                <a:gd name="connsiteY9" fmla="*/ 286735 h 884678"/>
                <a:gd name="connsiteX10" fmla="*/ 7509 w 552240"/>
                <a:gd name="connsiteY10" fmla="*/ 640026 h 884678"/>
                <a:gd name="connsiteX11" fmla="*/ 7509 w 552240"/>
                <a:gd name="connsiteY11" fmla="*/ 771644 h 884678"/>
                <a:gd name="connsiteX12" fmla="*/ 42145 w 552240"/>
                <a:gd name="connsiteY12" fmla="*/ 820135 h 884678"/>
                <a:gd name="connsiteX0" fmla="*/ 42145 w 552550"/>
                <a:gd name="connsiteY0" fmla="*/ 820762 h 885305"/>
                <a:gd name="connsiteX1" fmla="*/ 312309 w 552550"/>
                <a:gd name="connsiteY1" fmla="*/ 876180 h 885305"/>
                <a:gd name="connsiteX2" fmla="*/ 492418 w 552550"/>
                <a:gd name="connsiteY2" fmla="*/ 869253 h 885305"/>
                <a:gd name="connsiteX3" fmla="*/ 547836 w 552550"/>
                <a:gd name="connsiteY3" fmla="*/ 723780 h 885305"/>
                <a:gd name="connsiteX4" fmla="*/ 540909 w 552550"/>
                <a:gd name="connsiteY4" fmla="*/ 418980 h 885305"/>
                <a:gd name="connsiteX5" fmla="*/ 471635 w 552550"/>
                <a:gd name="connsiteY5" fmla="*/ 107252 h 885305"/>
                <a:gd name="connsiteX6" fmla="*/ 388509 w 552550"/>
                <a:gd name="connsiteY6" fmla="*/ 17198 h 885305"/>
                <a:gd name="connsiteX7" fmla="*/ 215327 w 552550"/>
                <a:gd name="connsiteY7" fmla="*/ 3344 h 885305"/>
                <a:gd name="connsiteX8" fmla="*/ 152981 w 552550"/>
                <a:gd name="connsiteY8" fmla="*/ 58762 h 885305"/>
                <a:gd name="connsiteX9" fmla="*/ 97563 w 552550"/>
                <a:gd name="connsiteY9" fmla="*/ 287362 h 885305"/>
                <a:gd name="connsiteX10" fmla="*/ 7509 w 552550"/>
                <a:gd name="connsiteY10" fmla="*/ 640653 h 885305"/>
                <a:gd name="connsiteX11" fmla="*/ 7509 w 552550"/>
                <a:gd name="connsiteY11" fmla="*/ 772271 h 885305"/>
                <a:gd name="connsiteX12" fmla="*/ 42145 w 552550"/>
                <a:gd name="connsiteY12" fmla="*/ 820762 h 885305"/>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98899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85044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886" h="884114">
                  <a:moveTo>
                    <a:pt x="57336" y="841544"/>
                  </a:moveTo>
                  <a:cubicBezTo>
                    <a:pt x="108136" y="858862"/>
                    <a:pt x="240909" y="871562"/>
                    <a:pt x="313645" y="876180"/>
                  </a:cubicBezTo>
                  <a:cubicBezTo>
                    <a:pt x="386381" y="880798"/>
                    <a:pt x="454500" y="894653"/>
                    <a:pt x="493754" y="869253"/>
                  </a:cubicBezTo>
                  <a:cubicBezTo>
                    <a:pt x="533009" y="843853"/>
                    <a:pt x="541090" y="798825"/>
                    <a:pt x="549172" y="723780"/>
                  </a:cubicBezTo>
                  <a:cubicBezTo>
                    <a:pt x="557254" y="648735"/>
                    <a:pt x="554945" y="521735"/>
                    <a:pt x="542245" y="418980"/>
                  </a:cubicBezTo>
                  <a:cubicBezTo>
                    <a:pt x="529545" y="316225"/>
                    <a:pt x="498371" y="174216"/>
                    <a:pt x="472971" y="107252"/>
                  </a:cubicBezTo>
                  <a:cubicBezTo>
                    <a:pt x="447571" y="40288"/>
                    <a:pt x="432563" y="34516"/>
                    <a:pt x="389845" y="17198"/>
                  </a:cubicBezTo>
                  <a:cubicBezTo>
                    <a:pt x="347127" y="-120"/>
                    <a:pt x="255918" y="-3583"/>
                    <a:pt x="216663" y="3344"/>
                  </a:cubicBezTo>
                  <a:cubicBezTo>
                    <a:pt x="177408" y="10271"/>
                    <a:pt x="176253" y="11426"/>
                    <a:pt x="154317" y="58762"/>
                  </a:cubicBezTo>
                  <a:cubicBezTo>
                    <a:pt x="132381" y="106098"/>
                    <a:pt x="109289" y="190380"/>
                    <a:pt x="85044" y="287362"/>
                  </a:cubicBezTo>
                  <a:cubicBezTo>
                    <a:pt x="60799" y="384344"/>
                    <a:pt x="23854" y="559835"/>
                    <a:pt x="8845" y="640653"/>
                  </a:cubicBezTo>
                  <a:cubicBezTo>
                    <a:pt x="-6164" y="721471"/>
                    <a:pt x="763" y="738789"/>
                    <a:pt x="8845" y="772271"/>
                  </a:cubicBezTo>
                  <a:cubicBezTo>
                    <a:pt x="16927" y="805753"/>
                    <a:pt x="6536" y="824226"/>
                    <a:pt x="57336" y="84154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Freeform: Shape 38"/>
            <p:cNvSpPr/>
            <p:nvPr/>
          </p:nvSpPr>
          <p:spPr bwMode="auto">
            <a:xfrm>
              <a:off x="7761944" y="1965528"/>
              <a:ext cx="206759" cy="193090"/>
            </a:xfrm>
            <a:custGeom>
              <a:avLst/>
              <a:gdLst>
                <a:gd name="connsiteX0" fmla="*/ 457897 w 589515"/>
                <a:gd name="connsiteY0" fmla="*/ 557554 h 571523"/>
                <a:gd name="connsiteX1" fmla="*/ 153097 w 589515"/>
                <a:gd name="connsiteY1" fmla="*/ 571409 h 571523"/>
                <a:gd name="connsiteX2" fmla="*/ 49187 w 589515"/>
                <a:gd name="connsiteY2" fmla="*/ 557554 h 571523"/>
                <a:gd name="connsiteX3" fmla="*/ 697 w 589515"/>
                <a:gd name="connsiteY3" fmla="*/ 474427 h 571523"/>
                <a:gd name="connsiteX4" fmla="*/ 21478 w 589515"/>
                <a:gd name="connsiteY4" fmla="*/ 183481 h 571523"/>
                <a:gd name="connsiteX5" fmla="*/ 35333 w 589515"/>
                <a:gd name="connsiteY5" fmla="*/ 24154 h 571523"/>
                <a:gd name="connsiteX6" fmla="*/ 180806 w 589515"/>
                <a:gd name="connsiteY6" fmla="*/ 3372 h 571523"/>
                <a:gd name="connsiteX7" fmla="*/ 402478 w 589515"/>
                <a:gd name="connsiteY7" fmla="*/ 51863 h 571523"/>
                <a:gd name="connsiteX8" fmla="*/ 513315 w 589515"/>
                <a:gd name="connsiteY8" fmla="*/ 218118 h 571523"/>
                <a:gd name="connsiteX9" fmla="*/ 589515 w 589515"/>
                <a:gd name="connsiteY9" fmla="*/ 377445 h 571523"/>
                <a:gd name="connsiteX0" fmla="*/ 466950 w 598568"/>
                <a:gd name="connsiteY0" fmla="*/ 558173 h 572142"/>
                <a:gd name="connsiteX1" fmla="*/ 162150 w 598568"/>
                <a:gd name="connsiteY1" fmla="*/ 572028 h 572142"/>
                <a:gd name="connsiteX2" fmla="*/ 58240 w 598568"/>
                <a:gd name="connsiteY2" fmla="*/ 558173 h 572142"/>
                <a:gd name="connsiteX3" fmla="*/ 9750 w 598568"/>
                <a:gd name="connsiteY3" fmla="*/ 475046 h 572142"/>
                <a:gd name="connsiteX4" fmla="*/ 2822 w 598568"/>
                <a:gd name="connsiteY4" fmla="*/ 197954 h 572142"/>
                <a:gd name="connsiteX5" fmla="*/ 44386 w 598568"/>
                <a:gd name="connsiteY5" fmla="*/ 24773 h 572142"/>
                <a:gd name="connsiteX6" fmla="*/ 189859 w 598568"/>
                <a:gd name="connsiteY6" fmla="*/ 3991 h 572142"/>
                <a:gd name="connsiteX7" fmla="*/ 411531 w 598568"/>
                <a:gd name="connsiteY7" fmla="*/ 52482 h 572142"/>
                <a:gd name="connsiteX8" fmla="*/ 522368 w 598568"/>
                <a:gd name="connsiteY8" fmla="*/ 218737 h 572142"/>
                <a:gd name="connsiteX9" fmla="*/ 598568 w 598568"/>
                <a:gd name="connsiteY9" fmla="*/ 378064 h 572142"/>
                <a:gd name="connsiteX0" fmla="*/ 481027 w 612645"/>
                <a:gd name="connsiteY0" fmla="*/ 558173 h 572142"/>
                <a:gd name="connsiteX1" fmla="*/ 176227 w 612645"/>
                <a:gd name="connsiteY1" fmla="*/ 572028 h 572142"/>
                <a:gd name="connsiteX2" fmla="*/ 72317 w 612645"/>
                <a:gd name="connsiteY2" fmla="*/ 558173 h 572142"/>
                <a:gd name="connsiteX3" fmla="*/ 3045 w 612645"/>
                <a:gd name="connsiteY3" fmla="*/ 475046 h 572142"/>
                <a:gd name="connsiteX4" fmla="*/ 16899 w 612645"/>
                <a:gd name="connsiteY4" fmla="*/ 197954 h 572142"/>
                <a:gd name="connsiteX5" fmla="*/ 58463 w 612645"/>
                <a:gd name="connsiteY5" fmla="*/ 24773 h 572142"/>
                <a:gd name="connsiteX6" fmla="*/ 203936 w 612645"/>
                <a:gd name="connsiteY6" fmla="*/ 3991 h 572142"/>
                <a:gd name="connsiteX7" fmla="*/ 425608 w 612645"/>
                <a:gd name="connsiteY7" fmla="*/ 52482 h 572142"/>
                <a:gd name="connsiteX8" fmla="*/ 536445 w 612645"/>
                <a:gd name="connsiteY8" fmla="*/ 218737 h 572142"/>
                <a:gd name="connsiteX9" fmla="*/ 612645 w 612645"/>
                <a:gd name="connsiteY9" fmla="*/ 378064 h 57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2645" h="572142">
                  <a:moveTo>
                    <a:pt x="481027" y="558173"/>
                  </a:moveTo>
                  <a:cubicBezTo>
                    <a:pt x="362686" y="565100"/>
                    <a:pt x="244345" y="572028"/>
                    <a:pt x="176227" y="572028"/>
                  </a:cubicBezTo>
                  <a:cubicBezTo>
                    <a:pt x="108109" y="572028"/>
                    <a:pt x="101181" y="574337"/>
                    <a:pt x="72317" y="558173"/>
                  </a:cubicBezTo>
                  <a:cubicBezTo>
                    <a:pt x="43453" y="542009"/>
                    <a:pt x="12281" y="535082"/>
                    <a:pt x="3045" y="475046"/>
                  </a:cubicBezTo>
                  <a:cubicBezTo>
                    <a:pt x="-6191" y="415010"/>
                    <a:pt x="7663" y="273000"/>
                    <a:pt x="16899" y="197954"/>
                  </a:cubicBezTo>
                  <a:cubicBezTo>
                    <a:pt x="26135" y="122909"/>
                    <a:pt x="27290" y="57100"/>
                    <a:pt x="58463" y="24773"/>
                  </a:cubicBezTo>
                  <a:cubicBezTo>
                    <a:pt x="89636" y="-7554"/>
                    <a:pt x="142745" y="-627"/>
                    <a:pt x="203936" y="3991"/>
                  </a:cubicBezTo>
                  <a:cubicBezTo>
                    <a:pt x="265127" y="8609"/>
                    <a:pt x="370190" y="16691"/>
                    <a:pt x="425608" y="52482"/>
                  </a:cubicBezTo>
                  <a:cubicBezTo>
                    <a:pt x="481026" y="88273"/>
                    <a:pt x="505272" y="164473"/>
                    <a:pt x="536445" y="218737"/>
                  </a:cubicBezTo>
                  <a:cubicBezTo>
                    <a:pt x="567618" y="273001"/>
                    <a:pt x="590131" y="325532"/>
                    <a:pt x="612645" y="3780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p:cNvSpPr/>
            <p:nvPr/>
          </p:nvSpPr>
          <p:spPr bwMode="auto">
            <a:xfrm>
              <a:off x="4385028" y="3499088"/>
              <a:ext cx="2848808" cy="43502"/>
            </a:xfrm>
            <a:custGeom>
              <a:avLst/>
              <a:gdLst>
                <a:gd name="connsiteX0" fmla="*/ 0 w 8458200"/>
                <a:gd name="connsiteY0" fmla="*/ 110095 h 110095"/>
                <a:gd name="connsiteX1" fmla="*/ 3953933 w 8458200"/>
                <a:gd name="connsiteY1" fmla="*/ 28 h 110095"/>
                <a:gd name="connsiteX2" fmla="*/ 8458200 w 8458200"/>
                <a:gd name="connsiteY2" fmla="*/ 101628 h 110095"/>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41266"/>
                <a:gd name="connsiteY0" fmla="*/ 147705 h 147705"/>
                <a:gd name="connsiteX1" fmla="*/ 3936999 w 8441266"/>
                <a:gd name="connsiteY1" fmla="*/ 3772 h 147705"/>
                <a:gd name="connsiteX2" fmla="*/ 8441266 w 8441266"/>
                <a:gd name="connsiteY2" fmla="*/ 105372 h 147705"/>
                <a:gd name="connsiteX0" fmla="*/ 0 w 8441266"/>
                <a:gd name="connsiteY0" fmla="*/ 128901 h 128901"/>
                <a:gd name="connsiteX1" fmla="*/ 3936999 w 8441266"/>
                <a:gd name="connsiteY1" fmla="*/ 10368 h 128901"/>
                <a:gd name="connsiteX2" fmla="*/ 8441266 w 8441266"/>
                <a:gd name="connsiteY2" fmla="*/ 86568 h 128901"/>
              </a:gdLst>
              <a:ahLst/>
              <a:cxnLst>
                <a:cxn ang="0">
                  <a:pos x="connsiteX0" y="connsiteY0"/>
                </a:cxn>
                <a:cxn ang="0">
                  <a:pos x="connsiteX1" y="connsiteY1"/>
                </a:cxn>
                <a:cxn ang="0">
                  <a:pos x="connsiteX2" y="connsiteY2"/>
                </a:cxn>
              </a:cxnLst>
              <a:rect l="l" t="t" r="r" b="b"/>
              <a:pathLst>
                <a:path w="8441266" h="128901">
                  <a:moveTo>
                    <a:pt x="0" y="128901"/>
                  </a:moveTo>
                  <a:cubicBezTo>
                    <a:pt x="1272116" y="74573"/>
                    <a:pt x="2530121" y="17424"/>
                    <a:pt x="3936999" y="10368"/>
                  </a:cubicBezTo>
                  <a:cubicBezTo>
                    <a:pt x="5343877" y="3312"/>
                    <a:pt x="6939844" y="-31966"/>
                    <a:pt x="8441266" y="8656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cxnSp>
          <p:nvCxnSpPr>
            <p:cNvPr id="41" name="Straight Connector 40"/>
            <p:cNvCxnSpPr/>
            <p:nvPr/>
          </p:nvCxnSpPr>
          <p:spPr>
            <a:xfrm flipV="1">
              <a:off x="4323776" y="3542590"/>
              <a:ext cx="2952922" cy="25717"/>
            </a:xfrm>
            <a:prstGeom prst="line">
              <a:avLst/>
            </a:prstGeom>
            <a:noFill/>
            <a:ln w="9525" cap="rnd" cmpd="sng" algn="ctr">
              <a:solidFill>
                <a:schemeClr val="bg1">
                  <a:lumMod val="50000"/>
                </a:schemeClr>
              </a:solidFill>
              <a:prstDash val="solid"/>
              <a:headEnd type="none"/>
              <a:tailEnd type="none"/>
            </a:ln>
            <a:effectLst/>
          </p:spPr>
        </p:cxnSp>
        <p:sp>
          <p:nvSpPr>
            <p:cNvPr id="42" name="Freeform: Shape 41"/>
            <p:cNvSpPr/>
            <p:nvPr/>
          </p:nvSpPr>
          <p:spPr bwMode="auto">
            <a:xfrm>
              <a:off x="4639335" y="2730282"/>
              <a:ext cx="4006055" cy="706585"/>
            </a:xfrm>
            <a:custGeom>
              <a:avLst/>
              <a:gdLst>
                <a:gd name="connsiteX0" fmla="*/ 0 w 11870537"/>
                <a:gd name="connsiteY0" fmla="*/ 1585830 h 2093830"/>
                <a:gd name="connsiteX1" fmla="*/ 1617133 w 11870537"/>
                <a:gd name="connsiteY1" fmla="*/ 1645097 h 2093830"/>
                <a:gd name="connsiteX2" fmla="*/ 3843866 w 11870537"/>
                <a:gd name="connsiteY2" fmla="*/ 1585830 h 2093830"/>
                <a:gd name="connsiteX3" fmla="*/ 5190066 w 11870537"/>
                <a:gd name="connsiteY3" fmla="*/ 1501164 h 2093830"/>
                <a:gd name="connsiteX4" fmla="*/ 6663266 w 11870537"/>
                <a:gd name="connsiteY4" fmla="*/ 1382630 h 2093830"/>
                <a:gd name="connsiteX5" fmla="*/ 7704666 w 11870537"/>
                <a:gd name="connsiteY5" fmla="*/ 1289497 h 2093830"/>
                <a:gd name="connsiteX6" fmla="*/ 7806266 w 11870537"/>
                <a:gd name="connsiteY6" fmla="*/ 1272564 h 2093830"/>
                <a:gd name="connsiteX7" fmla="*/ 7924800 w 11870537"/>
                <a:gd name="connsiteY7" fmla="*/ 1137097 h 2093830"/>
                <a:gd name="connsiteX8" fmla="*/ 8161866 w 11870537"/>
                <a:gd name="connsiteY8" fmla="*/ 798430 h 2093830"/>
                <a:gd name="connsiteX9" fmla="*/ 8525933 w 11870537"/>
                <a:gd name="connsiteY9" fmla="*/ 476697 h 2093830"/>
                <a:gd name="connsiteX10" fmla="*/ 9110133 w 11870537"/>
                <a:gd name="connsiteY10" fmla="*/ 112630 h 2093830"/>
                <a:gd name="connsiteX11" fmla="*/ 9787466 w 11870537"/>
                <a:gd name="connsiteY11" fmla="*/ 2564 h 2093830"/>
                <a:gd name="connsiteX12" fmla="*/ 10718800 w 11870537"/>
                <a:gd name="connsiteY12" fmla="*/ 197297 h 2093830"/>
                <a:gd name="connsiteX13" fmla="*/ 11125200 w 11870537"/>
                <a:gd name="connsiteY13" fmla="*/ 493630 h 2093830"/>
                <a:gd name="connsiteX14" fmla="*/ 11557000 w 11870537"/>
                <a:gd name="connsiteY14" fmla="*/ 967764 h 2093830"/>
                <a:gd name="connsiteX15" fmla="*/ 11760200 w 11870537"/>
                <a:gd name="connsiteY15" fmla="*/ 1416497 h 2093830"/>
                <a:gd name="connsiteX16" fmla="*/ 11853333 w 11870537"/>
                <a:gd name="connsiteY16" fmla="*/ 1763630 h 2093830"/>
                <a:gd name="connsiteX17" fmla="*/ 11870266 w 11870537"/>
                <a:gd name="connsiteY17" fmla="*/ 2093830 h 2093830"/>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718800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8534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70288" h="2093673">
                  <a:moveTo>
                    <a:pt x="0" y="1585673"/>
                  </a:moveTo>
                  <a:cubicBezTo>
                    <a:pt x="488244" y="1615306"/>
                    <a:pt x="976489" y="1644940"/>
                    <a:pt x="1617133" y="1644940"/>
                  </a:cubicBezTo>
                  <a:cubicBezTo>
                    <a:pt x="2257777" y="1644940"/>
                    <a:pt x="3248377" y="1609662"/>
                    <a:pt x="3843866" y="1585673"/>
                  </a:cubicBezTo>
                  <a:cubicBezTo>
                    <a:pt x="4439355" y="1561684"/>
                    <a:pt x="5190066" y="1501007"/>
                    <a:pt x="5190066" y="1501007"/>
                  </a:cubicBezTo>
                  <a:lnTo>
                    <a:pt x="6663266" y="1382473"/>
                  </a:lnTo>
                  <a:lnTo>
                    <a:pt x="7704666" y="1289340"/>
                  </a:lnTo>
                  <a:cubicBezTo>
                    <a:pt x="7895166" y="1270996"/>
                    <a:pt x="7769577" y="1297807"/>
                    <a:pt x="7806266" y="1272407"/>
                  </a:cubicBezTo>
                  <a:cubicBezTo>
                    <a:pt x="7842955" y="1247007"/>
                    <a:pt x="7865533" y="1215962"/>
                    <a:pt x="7924800" y="1136940"/>
                  </a:cubicBezTo>
                  <a:cubicBezTo>
                    <a:pt x="7984067" y="1057918"/>
                    <a:pt x="8063088" y="912573"/>
                    <a:pt x="8161866" y="798273"/>
                  </a:cubicBezTo>
                  <a:cubicBezTo>
                    <a:pt x="8260644" y="683973"/>
                    <a:pt x="8359422" y="565440"/>
                    <a:pt x="8517466" y="451140"/>
                  </a:cubicBezTo>
                  <a:cubicBezTo>
                    <a:pt x="8675510" y="336840"/>
                    <a:pt x="8898466" y="187262"/>
                    <a:pt x="9110133" y="112473"/>
                  </a:cubicBezTo>
                  <a:cubicBezTo>
                    <a:pt x="9321800" y="37684"/>
                    <a:pt x="9526410" y="-11704"/>
                    <a:pt x="9787466" y="2407"/>
                  </a:cubicBezTo>
                  <a:cubicBezTo>
                    <a:pt x="10048522" y="16518"/>
                    <a:pt x="10461978" y="98363"/>
                    <a:pt x="10676467" y="197140"/>
                  </a:cubicBezTo>
                  <a:cubicBezTo>
                    <a:pt x="10890956" y="295917"/>
                    <a:pt x="10981267" y="365062"/>
                    <a:pt x="11125200" y="493473"/>
                  </a:cubicBezTo>
                  <a:cubicBezTo>
                    <a:pt x="11269133" y="621884"/>
                    <a:pt x="11434234" y="813796"/>
                    <a:pt x="11540067" y="967607"/>
                  </a:cubicBezTo>
                  <a:cubicBezTo>
                    <a:pt x="11645900" y="1121418"/>
                    <a:pt x="11710811" y="1285107"/>
                    <a:pt x="11760200" y="1416340"/>
                  </a:cubicBezTo>
                  <a:cubicBezTo>
                    <a:pt x="11809589" y="1547573"/>
                    <a:pt x="11818056" y="1642117"/>
                    <a:pt x="11836400" y="1755006"/>
                  </a:cubicBezTo>
                  <a:cubicBezTo>
                    <a:pt x="11854744" y="1867895"/>
                    <a:pt x="11870971" y="1985017"/>
                    <a:pt x="11870266" y="209367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p:cNvSpPr/>
            <p:nvPr/>
          </p:nvSpPr>
          <p:spPr bwMode="auto">
            <a:xfrm>
              <a:off x="8879688" y="3308091"/>
              <a:ext cx="288595" cy="40197"/>
            </a:xfrm>
            <a:custGeom>
              <a:avLst/>
              <a:gdLst>
                <a:gd name="connsiteX0" fmla="*/ 0 w 855133"/>
                <a:gd name="connsiteY0" fmla="*/ 116336 h 116336"/>
                <a:gd name="connsiteX1" fmla="*/ 448733 w 855133"/>
                <a:gd name="connsiteY1" fmla="*/ 6269 h 116336"/>
                <a:gd name="connsiteX2" fmla="*/ 855133 w 855133"/>
                <a:gd name="connsiteY2" fmla="*/ 23202 h 116336"/>
                <a:gd name="connsiteX0" fmla="*/ 0 w 855133"/>
                <a:gd name="connsiteY0" fmla="*/ 119108 h 119108"/>
                <a:gd name="connsiteX1" fmla="*/ 448733 w 855133"/>
                <a:gd name="connsiteY1" fmla="*/ 9041 h 119108"/>
                <a:gd name="connsiteX2" fmla="*/ 855133 w 855133"/>
                <a:gd name="connsiteY2" fmla="*/ 17507 h 119108"/>
              </a:gdLst>
              <a:ahLst/>
              <a:cxnLst>
                <a:cxn ang="0">
                  <a:pos x="connsiteX0" y="connsiteY0"/>
                </a:cxn>
                <a:cxn ang="0">
                  <a:pos x="connsiteX1" y="connsiteY1"/>
                </a:cxn>
                <a:cxn ang="0">
                  <a:pos x="connsiteX2" y="connsiteY2"/>
                </a:cxn>
              </a:cxnLst>
              <a:rect l="l" t="t" r="r" b="b"/>
              <a:pathLst>
                <a:path w="855133" h="119108">
                  <a:moveTo>
                    <a:pt x="0" y="119108"/>
                  </a:moveTo>
                  <a:cubicBezTo>
                    <a:pt x="153105" y="71835"/>
                    <a:pt x="306211" y="25974"/>
                    <a:pt x="448733" y="9041"/>
                  </a:cubicBezTo>
                  <a:cubicBezTo>
                    <a:pt x="591255" y="-7892"/>
                    <a:pt x="723194" y="1279"/>
                    <a:pt x="855133" y="1750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44" name="Oval 43"/>
            <p:cNvSpPr/>
            <p:nvPr/>
          </p:nvSpPr>
          <p:spPr bwMode="auto">
            <a:xfrm>
              <a:off x="7547029" y="2975359"/>
              <a:ext cx="776357" cy="776356"/>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Shape 44"/>
            <p:cNvSpPr/>
            <p:nvPr/>
          </p:nvSpPr>
          <p:spPr bwMode="auto">
            <a:xfrm>
              <a:off x="7640607" y="3077565"/>
              <a:ext cx="589122" cy="579980"/>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Shape 45"/>
            <p:cNvSpPr/>
            <p:nvPr/>
          </p:nvSpPr>
          <p:spPr bwMode="auto">
            <a:xfrm>
              <a:off x="7566244" y="2986778"/>
              <a:ext cx="738326" cy="711139"/>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p:cNvSpPr/>
            <p:nvPr/>
          </p:nvSpPr>
          <p:spPr bwMode="auto">
            <a:xfrm>
              <a:off x="7851929"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p:cNvSpPr/>
            <p:nvPr/>
          </p:nvSpPr>
          <p:spPr bwMode="auto">
            <a:xfrm>
              <a:off x="8002797"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Oval 48"/>
            <p:cNvSpPr/>
            <p:nvPr/>
          </p:nvSpPr>
          <p:spPr bwMode="auto">
            <a:xfrm>
              <a:off x="7817239"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p:cNvSpPr/>
            <p:nvPr/>
          </p:nvSpPr>
          <p:spPr bwMode="auto">
            <a:xfrm>
              <a:off x="7968703"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p:cNvSpPr/>
            <p:nvPr/>
          </p:nvSpPr>
          <p:spPr bwMode="auto">
            <a:xfrm>
              <a:off x="7910949" y="3240503"/>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p:cNvSpPr/>
            <p:nvPr/>
          </p:nvSpPr>
          <p:spPr bwMode="auto">
            <a:xfrm>
              <a:off x="7604243" y="3012020"/>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p:cNvSpPr/>
            <p:nvPr/>
          </p:nvSpPr>
          <p:spPr bwMode="auto">
            <a:xfrm rot="4374466">
              <a:off x="7933937" y="2996944"/>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p:cNvSpPr/>
            <p:nvPr/>
          </p:nvSpPr>
          <p:spPr bwMode="auto">
            <a:xfrm rot="17319209">
              <a:off x="7518808" y="333295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p:cNvSpPr/>
            <p:nvPr/>
          </p:nvSpPr>
          <p:spPr bwMode="auto">
            <a:xfrm rot="8698688">
              <a:off x="8052533" y="3303658"/>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p:cNvSpPr/>
            <p:nvPr/>
          </p:nvSpPr>
          <p:spPr bwMode="auto">
            <a:xfrm rot="12956291">
              <a:off x="7796038" y="351074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nvGrpSpPr>
            <p:cNvPr id="57" name="Group 56"/>
            <p:cNvGrpSpPr/>
            <p:nvPr/>
          </p:nvGrpSpPr>
          <p:grpSpPr>
            <a:xfrm>
              <a:off x="7574467" y="3164176"/>
              <a:ext cx="119666" cy="202459"/>
              <a:chOff x="15588916" y="7188536"/>
              <a:chExt cx="354582" cy="599905"/>
            </a:xfrm>
          </p:grpSpPr>
          <p:sp>
            <p:nvSpPr>
              <p:cNvPr id="141" name="Freeform: Shape 140"/>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8" name="Group 57"/>
            <p:cNvGrpSpPr/>
            <p:nvPr/>
          </p:nvGrpSpPr>
          <p:grpSpPr>
            <a:xfrm rot="4323909">
              <a:off x="7876283" y="2944917"/>
              <a:ext cx="119666" cy="202459"/>
              <a:chOff x="15588916" y="7188536"/>
              <a:chExt cx="354582" cy="599905"/>
            </a:xfrm>
          </p:grpSpPr>
          <p:sp>
            <p:nvSpPr>
              <p:cNvPr id="139" name="Freeform: Shape 138"/>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9" name="Group 58"/>
            <p:cNvGrpSpPr/>
            <p:nvPr/>
          </p:nvGrpSpPr>
          <p:grpSpPr>
            <a:xfrm rot="8686591" flipH="1">
              <a:off x="7686147" y="3521466"/>
              <a:ext cx="127761" cy="198470"/>
              <a:chOff x="15588916" y="7188536"/>
              <a:chExt cx="354582" cy="599905"/>
            </a:xfrm>
          </p:grpSpPr>
          <p:sp>
            <p:nvSpPr>
              <p:cNvPr id="137" name="Freeform: Shape 136"/>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60" name="Freeform: Shape 59"/>
            <p:cNvSpPr/>
            <p:nvPr/>
          </p:nvSpPr>
          <p:spPr bwMode="auto">
            <a:xfrm rot="4398861" flipV="1">
              <a:off x="8025316" y="3647622"/>
              <a:ext cx="56576" cy="41687"/>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p:cNvSpPr/>
            <p:nvPr/>
          </p:nvSpPr>
          <p:spPr bwMode="auto">
            <a:xfrm rot="17414756" flipV="1">
              <a:off x="8156490" y="3540962"/>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2" name="Oval 61"/>
            <p:cNvSpPr/>
            <p:nvPr/>
          </p:nvSpPr>
          <p:spPr bwMode="auto">
            <a:xfrm>
              <a:off x="7896717" y="3323557"/>
              <a:ext cx="79608" cy="79608"/>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Shape 62"/>
            <p:cNvSpPr/>
            <p:nvPr/>
          </p:nvSpPr>
          <p:spPr bwMode="auto">
            <a:xfrm rot="12965245" flipV="1">
              <a:off x="8181489" y="315098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p:cNvSpPr/>
            <p:nvPr/>
          </p:nvSpPr>
          <p:spPr bwMode="auto">
            <a:xfrm rot="6683114">
              <a:off x="8231228" y="332125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65" name="Oval 64"/>
            <p:cNvSpPr/>
            <p:nvPr/>
          </p:nvSpPr>
          <p:spPr bwMode="auto">
            <a:xfrm>
              <a:off x="3225828" y="2975359"/>
              <a:ext cx="776357" cy="776356"/>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Shape 65"/>
            <p:cNvSpPr/>
            <p:nvPr/>
          </p:nvSpPr>
          <p:spPr bwMode="auto">
            <a:xfrm>
              <a:off x="3319406" y="3077565"/>
              <a:ext cx="589122" cy="579980"/>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Shape 66"/>
            <p:cNvSpPr/>
            <p:nvPr/>
          </p:nvSpPr>
          <p:spPr bwMode="auto">
            <a:xfrm>
              <a:off x="3245043" y="2986778"/>
              <a:ext cx="738326" cy="711139"/>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p:cNvSpPr/>
            <p:nvPr/>
          </p:nvSpPr>
          <p:spPr bwMode="auto">
            <a:xfrm>
              <a:off x="3530728"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p:cNvSpPr/>
            <p:nvPr/>
          </p:nvSpPr>
          <p:spPr bwMode="auto">
            <a:xfrm>
              <a:off x="3681596"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p:cNvSpPr/>
            <p:nvPr/>
          </p:nvSpPr>
          <p:spPr bwMode="auto">
            <a:xfrm>
              <a:off x="3496037"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p:cNvSpPr/>
            <p:nvPr/>
          </p:nvSpPr>
          <p:spPr bwMode="auto">
            <a:xfrm>
              <a:off x="3647501"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p:cNvSpPr/>
            <p:nvPr/>
          </p:nvSpPr>
          <p:spPr bwMode="auto">
            <a:xfrm>
              <a:off x="3589748" y="3240503"/>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Freeform: Shape 72"/>
            <p:cNvSpPr/>
            <p:nvPr/>
          </p:nvSpPr>
          <p:spPr bwMode="auto">
            <a:xfrm>
              <a:off x="3283042" y="3012020"/>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p:cNvSpPr/>
            <p:nvPr/>
          </p:nvSpPr>
          <p:spPr bwMode="auto">
            <a:xfrm rot="4374466">
              <a:off x="3612735" y="2996944"/>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p:cNvSpPr/>
            <p:nvPr/>
          </p:nvSpPr>
          <p:spPr bwMode="auto">
            <a:xfrm rot="17319209">
              <a:off x="3197607" y="333295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p:cNvSpPr/>
            <p:nvPr/>
          </p:nvSpPr>
          <p:spPr bwMode="auto">
            <a:xfrm rot="8698688">
              <a:off x="3731331" y="3303658"/>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p:cNvSpPr/>
            <p:nvPr/>
          </p:nvSpPr>
          <p:spPr bwMode="auto">
            <a:xfrm rot="12956291">
              <a:off x="3474837" y="351074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nvGrpSpPr>
            <p:cNvPr id="78" name="Group 77"/>
            <p:cNvGrpSpPr/>
            <p:nvPr/>
          </p:nvGrpSpPr>
          <p:grpSpPr>
            <a:xfrm>
              <a:off x="3253265" y="3164176"/>
              <a:ext cx="119666" cy="202459"/>
              <a:chOff x="15588916" y="7188536"/>
              <a:chExt cx="354582" cy="599905"/>
            </a:xfrm>
          </p:grpSpPr>
          <p:sp>
            <p:nvSpPr>
              <p:cNvPr id="135" name="Freeform: Shape 134"/>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9" name="Group 78"/>
            <p:cNvGrpSpPr/>
            <p:nvPr/>
          </p:nvGrpSpPr>
          <p:grpSpPr>
            <a:xfrm rot="4323909">
              <a:off x="3555082" y="2944917"/>
              <a:ext cx="119666" cy="202459"/>
              <a:chOff x="15588916" y="7188536"/>
              <a:chExt cx="354582" cy="599905"/>
            </a:xfrm>
          </p:grpSpPr>
          <p:sp>
            <p:nvSpPr>
              <p:cNvPr id="133" name="Freeform: Shape 132"/>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4" name="Freeform: Shape 133"/>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80" name="Group 79"/>
            <p:cNvGrpSpPr/>
            <p:nvPr/>
          </p:nvGrpSpPr>
          <p:grpSpPr>
            <a:xfrm rot="8686591" flipH="1">
              <a:off x="3364946" y="3521466"/>
              <a:ext cx="127761" cy="198470"/>
              <a:chOff x="15588916" y="7188536"/>
              <a:chExt cx="354582" cy="599905"/>
            </a:xfrm>
          </p:grpSpPr>
          <p:sp>
            <p:nvSpPr>
              <p:cNvPr id="131" name="Freeform: Shape 130"/>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2" name="Freeform: Shape 131"/>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81" name="Freeform: Shape 80"/>
            <p:cNvSpPr/>
            <p:nvPr/>
          </p:nvSpPr>
          <p:spPr bwMode="auto">
            <a:xfrm rot="4398861" flipV="1">
              <a:off x="3704115" y="3647622"/>
              <a:ext cx="56576" cy="41687"/>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p:cNvSpPr/>
            <p:nvPr/>
          </p:nvSpPr>
          <p:spPr bwMode="auto">
            <a:xfrm rot="17414756" flipV="1">
              <a:off x="3835288" y="3540962"/>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3" name="Oval 82"/>
            <p:cNvSpPr/>
            <p:nvPr/>
          </p:nvSpPr>
          <p:spPr bwMode="auto">
            <a:xfrm>
              <a:off x="3575516" y="3323557"/>
              <a:ext cx="79608" cy="79608"/>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Freeform: Shape 83"/>
            <p:cNvSpPr/>
            <p:nvPr/>
          </p:nvSpPr>
          <p:spPr bwMode="auto">
            <a:xfrm rot="12965245" flipV="1">
              <a:off x="3860287" y="315098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p:cNvSpPr/>
            <p:nvPr/>
          </p:nvSpPr>
          <p:spPr bwMode="auto">
            <a:xfrm rot="6683114">
              <a:off x="3910027" y="332125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p:cNvSpPr/>
            <p:nvPr/>
          </p:nvSpPr>
          <p:spPr bwMode="auto">
            <a:xfrm>
              <a:off x="2570591" y="2702513"/>
              <a:ext cx="1713649" cy="812098"/>
            </a:xfrm>
            <a:custGeom>
              <a:avLst/>
              <a:gdLst>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77691"/>
                <a:gd name="connsiteY0" fmla="*/ 2392240 h 2406318"/>
                <a:gd name="connsiteX1" fmla="*/ 526473 w 5077691"/>
                <a:gd name="connsiteY1" fmla="*/ 2406095 h 2406318"/>
                <a:gd name="connsiteX2" fmla="*/ 921327 w 5077691"/>
                <a:gd name="connsiteY2" fmla="*/ 2399167 h 2406318"/>
                <a:gd name="connsiteX3" fmla="*/ 1025236 w 5077691"/>
                <a:gd name="connsiteY3" fmla="*/ 2378386 h 2406318"/>
                <a:gd name="connsiteX4" fmla="*/ 1101436 w 5077691"/>
                <a:gd name="connsiteY4" fmla="*/ 2239840 h 2406318"/>
                <a:gd name="connsiteX5" fmla="*/ 1129145 w 5077691"/>
                <a:gd name="connsiteY5" fmla="*/ 1713367 h 2406318"/>
                <a:gd name="connsiteX6" fmla="*/ 1253836 w 5077691"/>
                <a:gd name="connsiteY6" fmla="*/ 1221531 h 2406318"/>
                <a:gd name="connsiteX7" fmla="*/ 1551709 w 5077691"/>
                <a:gd name="connsiteY7" fmla="*/ 701986 h 2406318"/>
                <a:gd name="connsiteX8" fmla="*/ 2105891 w 5077691"/>
                <a:gd name="connsiteY8" fmla="*/ 244786 h 2406318"/>
                <a:gd name="connsiteX9" fmla="*/ 2646218 w 5077691"/>
                <a:gd name="connsiteY9" fmla="*/ 57750 h 2406318"/>
                <a:gd name="connsiteX10" fmla="*/ 3241964 w 5077691"/>
                <a:gd name="connsiteY10" fmla="*/ 2331 h 2406318"/>
                <a:gd name="connsiteX11" fmla="*/ 3837709 w 5077691"/>
                <a:gd name="connsiteY11" fmla="*/ 120094 h 2406318"/>
                <a:gd name="connsiteX12" fmla="*/ 4281055 w 5077691"/>
                <a:gd name="connsiteY12" fmla="*/ 341767 h 2406318"/>
                <a:gd name="connsiteX13" fmla="*/ 4717473 w 5077691"/>
                <a:gd name="connsiteY13" fmla="*/ 764331 h 2406318"/>
                <a:gd name="connsiteX14" fmla="*/ 4925291 w 5077691"/>
                <a:gd name="connsiteY14" fmla="*/ 1103767 h 2406318"/>
                <a:gd name="connsiteX15" fmla="*/ 5036127 w 5077691"/>
                <a:gd name="connsiteY15" fmla="*/ 1387786 h 2406318"/>
                <a:gd name="connsiteX16" fmla="*/ 5077691 w 5077691"/>
                <a:gd name="connsiteY16" fmla="*/ 1554040 h 240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77691" h="2406318">
                  <a:moveTo>
                    <a:pt x="0" y="2392240"/>
                  </a:moveTo>
                  <a:lnTo>
                    <a:pt x="526473" y="2406095"/>
                  </a:lnTo>
                  <a:cubicBezTo>
                    <a:pt x="680027" y="2407249"/>
                    <a:pt x="838200" y="2403785"/>
                    <a:pt x="921327" y="2399167"/>
                  </a:cubicBezTo>
                  <a:cubicBezTo>
                    <a:pt x="1004454" y="2394549"/>
                    <a:pt x="995218" y="2404940"/>
                    <a:pt x="1025236" y="2378386"/>
                  </a:cubicBezTo>
                  <a:cubicBezTo>
                    <a:pt x="1055254" y="2351832"/>
                    <a:pt x="1104900" y="2364532"/>
                    <a:pt x="1101436" y="2239840"/>
                  </a:cubicBezTo>
                  <a:cubicBezTo>
                    <a:pt x="1097972" y="2115148"/>
                    <a:pt x="1103745" y="1883085"/>
                    <a:pt x="1129145" y="1713367"/>
                  </a:cubicBezTo>
                  <a:cubicBezTo>
                    <a:pt x="1154545" y="1543649"/>
                    <a:pt x="1183409" y="1390094"/>
                    <a:pt x="1253836" y="1221531"/>
                  </a:cubicBezTo>
                  <a:cubicBezTo>
                    <a:pt x="1324263" y="1052968"/>
                    <a:pt x="1409700" y="864777"/>
                    <a:pt x="1551709" y="701986"/>
                  </a:cubicBezTo>
                  <a:cubicBezTo>
                    <a:pt x="1693718" y="539195"/>
                    <a:pt x="1923473" y="352159"/>
                    <a:pt x="2105891" y="244786"/>
                  </a:cubicBezTo>
                  <a:cubicBezTo>
                    <a:pt x="2288309" y="137413"/>
                    <a:pt x="2456873" y="98159"/>
                    <a:pt x="2646218" y="57750"/>
                  </a:cubicBezTo>
                  <a:cubicBezTo>
                    <a:pt x="2835564" y="17341"/>
                    <a:pt x="3043382" y="-8060"/>
                    <a:pt x="3241964" y="2331"/>
                  </a:cubicBezTo>
                  <a:cubicBezTo>
                    <a:pt x="3440546" y="12722"/>
                    <a:pt x="3664527" y="63521"/>
                    <a:pt x="3837709" y="120094"/>
                  </a:cubicBezTo>
                  <a:cubicBezTo>
                    <a:pt x="4010891" y="176667"/>
                    <a:pt x="4120574" y="241321"/>
                    <a:pt x="4281055" y="341767"/>
                  </a:cubicBezTo>
                  <a:cubicBezTo>
                    <a:pt x="4441536" y="442213"/>
                    <a:pt x="4610100" y="637331"/>
                    <a:pt x="4717473" y="764331"/>
                  </a:cubicBezTo>
                  <a:cubicBezTo>
                    <a:pt x="4824846" y="891331"/>
                    <a:pt x="4872182" y="999858"/>
                    <a:pt x="4925291" y="1103767"/>
                  </a:cubicBezTo>
                  <a:cubicBezTo>
                    <a:pt x="4978400" y="1207676"/>
                    <a:pt x="5010727" y="1312741"/>
                    <a:pt x="5036127" y="1387786"/>
                  </a:cubicBezTo>
                  <a:cubicBezTo>
                    <a:pt x="5061527" y="1462831"/>
                    <a:pt x="5069609" y="1508435"/>
                    <a:pt x="5077691" y="155404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p:cNvSpPr/>
            <p:nvPr/>
          </p:nvSpPr>
          <p:spPr bwMode="auto">
            <a:xfrm>
              <a:off x="2699161" y="3234492"/>
              <a:ext cx="121941" cy="163758"/>
            </a:xfrm>
            <a:custGeom>
              <a:avLst/>
              <a:gdLst>
                <a:gd name="connsiteX0" fmla="*/ 104438 w 376383"/>
                <a:gd name="connsiteY0" fmla="*/ 7725 h 508285"/>
                <a:gd name="connsiteX1" fmla="*/ 528 w 376383"/>
                <a:gd name="connsiteY1" fmla="*/ 194762 h 508285"/>
                <a:gd name="connsiteX2" fmla="*/ 69801 w 376383"/>
                <a:gd name="connsiteY2" fmla="*/ 388725 h 508285"/>
                <a:gd name="connsiteX3" fmla="*/ 194492 w 376383"/>
                <a:gd name="connsiteY3" fmla="*/ 485707 h 508285"/>
                <a:gd name="connsiteX4" fmla="*/ 291474 w 376383"/>
                <a:gd name="connsiteY4" fmla="*/ 499562 h 508285"/>
                <a:gd name="connsiteX5" fmla="*/ 374601 w 376383"/>
                <a:gd name="connsiteY5" fmla="*/ 374871 h 508285"/>
                <a:gd name="connsiteX6" fmla="*/ 339965 w 376383"/>
                <a:gd name="connsiteY6" fmla="*/ 173980 h 508285"/>
                <a:gd name="connsiteX7" fmla="*/ 242983 w 376383"/>
                <a:gd name="connsiteY7" fmla="*/ 49289 h 508285"/>
                <a:gd name="connsiteX8" fmla="*/ 104438 w 376383"/>
                <a:gd name="connsiteY8" fmla="*/ 7725 h 508285"/>
                <a:gd name="connsiteX0" fmla="*/ 97336 w 376209"/>
                <a:gd name="connsiteY0" fmla="*/ 10808 h 490586"/>
                <a:gd name="connsiteX1" fmla="*/ 354 w 376209"/>
                <a:gd name="connsiteY1" fmla="*/ 177063 h 490586"/>
                <a:gd name="connsiteX2" fmla="*/ 69627 w 376209"/>
                <a:gd name="connsiteY2" fmla="*/ 371026 h 490586"/>
                <a:gd name="connsiteX3" fmla="*/ 194318 w 376209"/>
                <a:gd name="connsiteY3" fmla="*/ 468008 h 490586"/>
                <a:gd name="connsiteX4" fmla="*/ 291300 w 376209"/>
                <a:gd name="connsiteY4" fmla="*/ 481863 h 490586"/>
                <a:gd name="connsiteX5" fmla="*/ 374427 w 376209"/>
                <a:gd name="connsiteY5" fmla="*/ 357172 h 490586"/>
                <a:gd name="connsiteX6" fmla="*/ 339791 w 376209"/>
                <a:gd name="connsiteY6" fmla="*/ 156281 h 490586"/>
                <a:gd name="connsiteX7" fmla="*/ 242809 w 376209"/>
                <a:gd name="connsiteY7" fmla="*/ 31590 h 490586"/>
                <a:gd name="connsiteX8" fmla="*/ 97336 w 376209"/>
                <a:gd name="connsiteY8" fmla="*/ 10808 h 490586"/>
                <a:gd name="connsiteX0" fmla="*/ 83600 w 362473"/>
                <a:gd name="connsiteY0" fmla="*/ 10808 h 490586"/>
                <a:gd name="connsiteX1" fmla="*/ 473 w 362473"/>
                <a:gd name="connsiteY1" fmla="*/ 177063 h 490586"/>
                <a:gd name="connsiteX2" fmla="*/ 55891 w 362473"/>
                <a:gd name="connsiteY2" fmla="*/ 371026 h 490586"/>
                <a:gd name="connsiteX3" fmla="*/ 180582 w 362473"/>
                <a:gd name="connsiteY3" fmla="*/ 468008 h 490586"/>
                <a:gd name="connsiteX4" fmla="*/ 277564 w 362473"/>
                <a:gd name="connsiteY4" fmla="*/ 481863 h 490586"/>
                <a:gd name="connsiteX5" fmla="*/ 360691 w 362473"/>
                <a:gd name="connsiteY5" fmla="*/ 357172 h 490586"/>
                <a:gd name="connsiteX6" fmla="*/ 326055 w 362473"/>
                <a:gd name="connsiteY6" fmla="*/ 156281 h 490586"/>
                <a:gd name="connsiteX7" fmla="*/ 229073 w 362473"/>
                <a:gd name="connsiteY7" fmla="*/ 31590 h 490586"/>
                <a:gd name="connsiteX8" fmla="*/ 83600 w 362473"/>
                <a:gd name="connsiteY8" fmla="*/ 10808 h 490586"/>
                <a:gd name="connsiteX0" fmla="*/ 83600 w 361759"/>
                <a:gd name="connsiteY0" fmla="*/ 10808 h 490586"/>
                <a:gd name="connsiteX1" fmla="*/ 473 w 361759"/>
                <a:gd name="connsiteY1" fmla="*/ 177063 h 490586"/>
                <a:gd name="connsiteX2" fmla="*/ 55891 w 361759"/>
                <a:gd name="connsiteY2" fmla="*/ 371026 h 490586"/>
                <a:gd name="connsiteX3" fmla="*/ 180582 w 361759"/>
                <a:gd name="connsiteY3" fmla="*/ 468008 h 490586"/>
                <a:gd name="connsiteX4" fmla="*/ 291418 w 361759"/>
                <a:gd name="connsiteY4" fmla="*/ 481863 h 490586"/>
                <a:gd name="connsiteX5" fmla="*/ 360691 w 361759"/>
                <a:gd name="connsiteY5" fmla="*/ 357172 h 490586"/>
                <a:gd name="connsiteX6" fmla="*/ 326055 w 361759"/>
                <a:gd name="connsiteY6" fmla="*/ 156281 h 490586"/>
                <a:gd name="connsiteX7" fmla="*/ 229073 w 361759"/>
                <a:gd name="connsiteY7" fmla="*/ 31590 h 490586"/>
                <a:gd name="connsiteX8" fmla="*/ 83600 w 361759"/>
                <a:gd name="connsiteY8" fmla="*/ 10808 h 490586"/>
                <a:gd name="connsiteX0" fmla="*/ 85293 w 363452"/>
                <a:gd name="connsiteY0" fmla="*/ 10808 h 490586"/>
                <a:gd name="connsiteX1" fmla="*/ 2166 w 363452"/>
                <a:gd name="connsiteY1" fmla="*/ 177063 h 490586"/>
                <a:gd name="connsiteX2" fmla="*/ 57584 w 363452"/>
                <a:gd name="connsiteY2" fmla="*/ 371026 h 490586"/>
                <a:gd name="connsiteX3" fmla="*/ 182275 w 363452"/>
                <a:gd name="connsiteY3" fmla="*/ 468008 h 490586"/>
                <a:gd name="connsiteX4" fmla="*/ 293111 w 363452"/>
                <a:gd name="connsiteY4" fmla="*/ 481863 h 490586"/>
                <a:gd name="connsiteX5" fmla="*/ 362384 w 363452"/>
                <a:gd name="connsiteY5" fmla="*/ 357172 h 490586"/>
                <a:gd name="connsiteX6" fmla="*/ 327748 w 363452"/>
                <a:gd name="connsiteY6" fmla="*/ 156281 h 490586"/>
                <a:gd name="connsiteX7" fmla="*/ 230766 w 363452"/>
                <a:gd name="connsiteY7" fmla="*/ 31590 h 490586"/>
                <a:gd name="connsiteX8" fmla="*/ 85293 w 363452"/>
                <a:gd name="connsiteY8" fmla="*/ 10808 h 490586"/>
                <a:gd name="connsiteX0" fmla="*/ 62382 w 361323"/>
                <a:gd name="connsiteY0" fmla="*/ 12378 h 485229"/>
                <a:gd name="connsiteX1" fmla="*/ 37 w 361323"/>
                <a:gd name="connsiteY1" fmla="*/ 171706 h 485229"/>
                <a:gd name="connsiteX2" fmla="*/ 55455 w 361323"/>
                <a:gd name="connsiteY2" fmla="*/ 365669 h 485229"/>
                <a:gd name="connsiteX3" fmla="*/ 180146 w 361323"/>
                <a:gd name="connsiteY3" fmla="*/ 462651 h 485229"/>
                <a:gd name="connsiteX4" fmla="*/ 290982 w 361323"/>
                <a:gd name="connsiteY4" fmla="*/ 476506 h 485229"/>
                <a:gd name="connsiteX5" fmla="*/ 360255 w 361323"/>
                <a:gd name="connsiteY5" fmla="*/ 351815 h 485229"/>
                <a:gd name="connsiteX6" fmla="*/ 325619 w 361323"/>
                <a:gd name="connsiteY6" fmla="*/ 150924 h 485229"/>
                <a:gd name="connsiteX7" fmla="*/ 228637 w 361323"/>
                <a:gd name="connsiteY7" fmla="*/ 26233 h 485229"/>
                <a:gd name="connsiteX8" fmla="*/ 62382 w 361323"/>
                <a:gd name="connsiteY8" fmla="*/ 12378 h 48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3" h="485229">
                  <a:moveTo>
                    <a:pt x="62382" y="12378"/>
                  </a:moveTo>
                  <a:cubicBezTo>
                    <a:pt x="24282" y="36623"/>
                    <a:pt x="1191" y="112824"/>
                    <a:pt x="37" y="171706"/>
                  </a:cubicBezTo>
                  <a:cubicBezTo>
                    <a:pt x="-1117" y="230588"/>
                    <a:pt x="25437" y="317178"/>
                    <a:pt x="55455" y="365669"/>
                  </a:cubicBezTo>
                  <a:cubicBezTo>
                    <a:pt x="85473" y="414160"/>
                    <a:pt x="140892" y="444178"/>
                    <a:pt x="180146" y="462651"/>
                  </a:cubicBezTo>
                  <a:cubicBezTo>
                    <a:pt x="219401" y="481124"/>
                    <a:pt x="260964" y="494979"/>
                    <a:pt x="290982" y="476506"/>
                  </a:cubicBezTo>
                  <a:cubicBezTo>
                    <a:pt x="321000" y="458033"/>
                    <a:pt x="354482" y="406079"/>
                    <a:pt x="360255" y="351815"/>
                  </a:cubicBezTo>
                  <a:cubicBezTo>
                    <a:pt x="366028" y="297551"/>
                    <a:pt x="347555" y="205188"/>
                    <a:pt x="325619" y="150924"/>
                  </a:cubicBezTo>
                  <a:cubicBezTo>
                    <a:pt x="303683" y="96660"/>
                    <a:pt x="272510" y="49324"/>
                    <a:pt x="228637" y="26233"/>
                  </a:cubicBezTo>
                  <a:cubicBezTo>
                    <a:pt x="184764" y="3142"/>
                    <a:pt x="100482" y="-11867"/>
                    <a:pt x="62382" y="1237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Freeform: Shape 87"/>
            <p:cNvSpPr/>
            <p:nvPr/>
          </p:nvSpPr>
          <p:spPr bwMode="auto">
            <a:xfrm>
              <a:off x="2746898" y="3252696"/>
              <a:ext cx="59817" cy="128846"/>
            </a:xfrm>
            <a:custGeom>
              <a:avLst/>
              <a:gdLst>
                <a:gd name="connsiteX0" fmla="*/ 79417 w 155617"/>
                <a:gd name="connsiteY0" fmla="*/ 0 h 381782"/>
                <a:gd name="connsiteX1" fmla="*/ 10144 w 155617"/>
                <a:gd name="connsiteY1" fmla="*/ 90055 h 381782"/>
                <a:gd name="connsiteX2" fmla="*/ 3217 w 155617"/>
                <a:gd name="connsiteY2" fmla="*/ 207818 h 381782"/>
                <a:gd name="connsiteX3" fmla="*/ 37853 w 155617"/>
                <a:gd name="connsiteY3" fmla="*/ 346364 h 381782"/>
                <a:gd name="connsiteX4" fmla="*/ 100199 w 155617"/>
                <a:gd name="connsiteY4" fmla="*/ 381000 h 381782"/>
                <a:gd name="connsiteX5" fmla="*/ 155617 w 155617"/>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74913"/>
                <a:gd name="connsiteY0" fmla="*/ 0 h 381782"/>
                <a:gd name="connsiteX1" fmla="*/ 15586 w 174913"/>
                <a:gd name="connsiteY1" fmla="*/ 90055 h 381782"/>
                <a:gd name="connsiteX2" fmla="*/ 1731 w 174913"/>
                <a:gd name="connsiteY2" fmla="*/ 200891 h 381782"/>
                <a:gd name="connsiteX3" fmla="*/ 43295 w 174913"/>
                <a:gd name="connsiteY3" fmla="*/ 346364 h 381782"/>
                <a:gd name="connsiteX4" fmla="*/ 105641 w 174913"/>
                <a:gd name="connsiteY4" fmla="*/ 381000 h 381782"/>
                <a:gd name="connsiteX5" fmla="*/ 174913 w 174913"/>
                <a:gd name="connsiteY5" fmla="*/ 367146 h 381782"/>
                <a:gd name="connsiteX0" fmla="*/ 87188 w 177242"/>
                <a:gd name="connsiteY0" fmla="*/ 0 h 381782"/>
                <a:gd name="connsiteX1" fmla="*/ 10987 w 177242"/>
                <a:gd name="connsiteY1" fmla="*/ 90055 h 381782"/>
                <a:gd name="connsiteX2" fmla="*/ 4060 w 177242"/>
                <a:gd name="connsiteY2" fmla="*/ 200891 h 381782"/>
                <a:gd name="connsiteX3" fmla="*/ 45624 w 177242"/>
                <a:gd name="connsiteY3" fmla="*/ 346364 h 381782"/>
                <a:gd name="connsiteX4" fmla="*/ 107970 w 177242"/>
                <a:gd name="connsiteY4" fmla="*/ 381000 h 381782"/>
                <a:gd name="connsiteX5" fmla="*/ 177242 w 177242"/>
                <a:gd name="connsiteY5" fmla="*/ 367146 h 3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242" h="381782">
                  <a:moveTo>
                    <a:pt x="87188" y="0"/>
                  </a:moveTo>
                  <a:cubicBezTo>
                    <a:pt x="58901" y="27709"/>
                    <a:pt x="24842" y="56573"/>
                    <a:pt x="10987" y="90055"/>
                  </a:cubicBezTo>
                  <a:cubicBezTo>
                    <a:pt x="-2868" y="123537"/>
                    <a:pt x="-1713" y="158173"/>
                    <a:pt x="4060" y="200891"/>
                  </a:cubicBezTo>
                  <a:cubicBezTo>
                    <a:pt x="9833" y="243609"/>
                    <a:pt x="28306" y="316346"/>
                    <a:pt x="45624" y="346364"/>
                  </a:cubicBezTo>
                  <a:cubicBezTo>
                    <a:pt x="62942" y="376382"/>
                    <a:pt x="86034" y="377536"/>
                    <a:pt x="107970" y="381000"/>
                  </a:cubicBezTo>
                  <a:cubicBezTo>
                    <a:pt x="129906" y="384464"/>
                    <a:pt x="159346" y="375805"/>
                    <a:pt x="177242" y="367146"/>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p:cNvSpPr/>
            <p:nvPr/>
          </p:nvSpPr>
          <p:spPr bwMode="auto">
            <a:xfrm>
              <a:off x="4340667" y="2560687"/>
              <a:ext cx="190414" cy="46378"/>
            </a:xfrm>
            <a:custGeom>
              <a:avLst/>
              <a:gdLst>
                <a:gd name="connsiteX0" fmla="*/ 144530 w 564212"/>
                <a:gd name="connsiteY0" fmla="*/ 117774 h 137423"/>
                <a:gd name="connsiteX1" fmla="*/ 428548 w 564212"/>
                <a:gd name="connsiteY1" fmla="*/ 131629 h 137423"/>
                <a:gd name="connsiteX2" fmla="*/ 553239 w 564212"/>
                <a:gd name="connsiteY2" fmla="*/ 20792 h 137423"/>
                <a:gd name="connsiteX3" fmla="*/ 511676 w 564212"/>
                <a:gd name="connsiteY3" fmla="*/ 10 h 137423"/>
                <a:gd name="connsiteX4" fmla="*/ 144530 w 564212"/>
                <a:gd name="connsiteY4" fmla="*/ 20792 h 137423"/>
                <a:gd name="connsiteX5" fmla="*/ 26767 w 564212"/>
                <a:gd name="connsiteY5" fmla="*/ 34647 h 137423"/>
                <a:gd name="connsiteX6" fmla="*/ 5985 w 564212"/>
                <a:gd name="connsiteY6" fmla="*/ 83138 h 137423"/>
                <a:gd name="connsiteX7" fmla="*/ 144530 w 564212"/>
                <a:gd name="connsiteY7" fmla="*/ 117774 h 137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4212" h="137423">
                  <a:moveTo>
                    <a:pt x="144530" y="117774"/>
                  </a:moveTo>
                  <a:cubicBezTo>
                    <a:pt x="214957" y="125856"/>
                    <a:pt x="360430" y="147793"/>
                    <a:pt x="428548" y="131629"/>
                  </a:cubicBezTo>
                  <a:cubicBezTo>
                    <a:pt x="496666" y="115465"/>
                    <a:pt x="539384" y="42728"/>
                    <a:pt x="553239" y="20792"/>
                  </a:cubicBezTo>
                  <a:cubicBezTo>
                    <a:pt x="567094" y="-1144"/>
                    <a:pt x="579794" y="10"/>
                    <a:pt x="511676" y="10"/>
                  </a:cubicBezTo>
                  <a:cubicBezTo>
                    <a:pt x="443558" y="10"/>
                    <a:pt x="225348" y="15019"/>
                    <a:pt x="144530" y="20792"/>
                  </a:cubicBezTo>
                  <a:cubicBezTo>
                    <a:pt x="63712" y="26565"/>
                    <a:pt x="49858" y="24256"/>
                    <a:pt x="26767" y="34647"/>
                  </a:cubicBezTo>
                  <a:cubicBezTo>
                    <a:pt x="3676" y="45038"/>
                    <a:pt x="-7869" y="69284"/>
                    <a:pt x="5985" y="83138"/>
                  </a:cubicBezTo>
                  <a:cubicBezTo>
                    <a:pt x="19839" y="96992"/>
                    <a:pt x="74103" y="109692"/>
                    <a:pt x="144530" y="11777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Shape 89"/>
            <p:cNvSpPr/>
            <p:nvPr/>
          </p:nvSpPr>
          <p:spPr bwMode="auto">
            <a:xfrm>
              <a:off x="2610335" y="2331581"/>
              <a:ext cx="1804826" cy="353016"/>
            </a:xfrm>
            <a:custGeom>
              <a:avLst/>
              <a:gdLst>
                <a:gd name="connsiteX0" fmla="*/ 0 w 5320146"/>
                <a:gd name="connsiteY0" fmla="*/ 1046018 h 1046018"/>
                <a:gd name="connsiteX1" fmla="*/ 581891 w 5320146"/>
                <a:gd name="connsiteY1" fmla="*/ 762000 h 1046018"/>
                <a:gd name="connsiteX2" fmla="*/ 1371600 w 5320146"/>
                <a:gd name="connsiteY2" fmla="*/ 540327 h 1046018"/>
                <a:gd name="connsiteX3" fmla="*/ 2528455 w 5320146"/>
                <a:gd name="connsiteY3" fmla="*/ 325582 h 1046018"/>
                <a:gd name="connsiteX4" fmla="*/ 3913909 w 5320146"/>
                <a:gd name="connsiteY4" fmla="*/ 138545 h 1046018"/>
                <a:gd name="connsiteX5" fmla="*/ 4814455 w 5320146"/>
                <a:gd name="connsiteY5" fmla="*/ 34636 h 1046018"/>
                <a:gd name="connsiteX6" fmla="*/ 5320146 w 5320146"/>
                <a:gd name="connsiteY6" fmla="*/ 0 h 1046018"/>
                <a:gd name="connsiteX0" fmla="*/ 0 w 5347855"/>
                <a:gd name="connsiteY0" fmla="*/ 1046018 h 1046018"/>
                <a:gd name="connsiteX1" fmla="*/ 581891 w 5347855"/>
                <a:gd name="connsiteY1" fmla="*/ 762000 h 1046018"/>
                <a:gd name="connsiteX2" fmla="*/ 1371600 w 5347855"/>
                <a:gd name="connsiteY2" fmla="*/ 540327 h 1046018"/>
                <a:gd name="connsiteX3" fmla="*/ 2528455 w 5347855"/>
                <a:gd name="connsiteY3" fmla="*/ 325582 h 1046018"/>
                <a:gd name="connsiteX4" fmla="*/ 3913909 w 5347855"/>
                <a:gd name="connsiteY4" fmla="*/ 138545 h 1046018"/>
                <a:gd name="connsiteX5" fmla="*/ 4814455 w 5347855"/>
                <a:gd name="connsiteY5" fmla="*/ 34636 h 1046018"/>
                <a:gd name="connsiteX6" fmla="*/ 5347855 w 5347855"/>
                <a:gd name="connsiteY6" fmla="*/ 0 h 10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7855" h="1046018">
                  <a:moveTo>
                    <a:pt x="0" y="1046018"/>
                  </a:moveTo>
                  <a:cubicBezTo>
                    <a:pt x="176645" y="946150"/>
                    <a:pt x="353291" y="846282"/>
                    <a:pt x="581891" y="762000"/>
                  </a:cubicBezTo>
                  <a:cubicBezTo>
                    <a:pt x="810491" y="677718"/>
                    <a:pt x="1047173" y="613063"/>
                    <a:pt x="1371600" y="540327"/>
                  </a:cubicBezTo>
                  <a:cubicBezTo>
                    <a:pt x="1696027" y="467591"/>
                    <a:pt x="2104737" y="392546"/>
                    <a:pt x="2528455" y="325582"/>
                  </a:cubicBezTo>
                  <a:cubicBezTo>
                    <a:pt x="2952173" y="258618"/>
                    <a:pt x="3532909" y="187036"/>
                    <a:pt x="3913909" y="138545"/>
                  </a:cubicBezTo>
                  <a:cubicBezTo>
                    <a:pt x="4294909" y="90054"/>
                    <a:pt x="4575464" y="57727"/>
                    <a:pt x="4814455" y="34636"/>
                  </a:cubicBezTo>
                  <a:cubicBezTo>
                    <a:pt x="5053446" y="11545"/>
                    <a:pt x="5212196" y="5772"/>
                    <a:pt x="5347855"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p:cNvSpPr/>
            <p:nvPr/>
          </p:nvSpPr>
          <p:spPr bwMode="auto">
            <a:xfrm>
              <a:off x="2900229" y="2357297"/>
              <a:ext cx="1713649" cy="292232"/>
            </a:xfrm>
            <a:custGeom>
              <a:avLst/>
              <a:gdLst>
                <a:gd name="connsiteX0" fmla="*/ 5077691 w 5077691"/>
                <a:gd name="connsiteY0" fmla="*/ 0 h 865909"/>
                <a:gd name="connsiteX1" fmla="*/ 4918364 w 5077691"/>
                <a:gd name="connsiteY1" fmla="*/ 103909 h 865909"/>
                <a:gd name="connsiteX2" fmla="*/ 4475019 w 5077691"/>
                <a:gd name="connsiteY2" fmla="*/ 228600 h 865909"/>
                <a:gd name="connsiteX3" fmla="*/ 3851564 w 5077691"/>
                <a:gd name="connsiteY3" fmla="*/ 297872 h 865909"/>
                <a:gd name="connsiteX4" fmla="*/ 2930237 w 5077691"/>
                <a:gd name="connsiteY4" fmla="*/ 381000 h 865909"/>
                <a:gd name="connsiteX5" fmla="*/ 1953491 w 5077691"/>
                <a:gd name="connsiteY5" fmla="*/ 477982 h 865909"/>
                <a:gd name="connsiteX6" fmla="*/ 1094510 w 5077691"/>
                <a:gd name="connsiteY6" fmla="*/ 609600 h 865909"/>
                <a:gd name="connsiteX7" fmla="*/ 526473 w 5077691"/>
                <a:gd name="connsiteY7" fmla="*/ 699654 h 865909"/>
                <a:gd name="connsiteX8" fmla="*/ 96982 w 5077691"/>
                <a:gd name="connsiteY8" fmla="*/ 831272 h 865909"/>
                <a:gd name="connsiteX9" fmla="*/ 0 w 5077691"/>
                <a:gd name="connsiteY9" fmla="*/ 865909 h 8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7691" h="865909">
                  <a:moveTo>
                    <a:pt x="5077691" y="0"/>
                  </a:moveTo>
                  <a:cubicBezTo>
                    <a:pt x="5048250" y="32904"/>
                    <a:pt x="5018809" y="65809"/>
                    <a:pt x="4918364" y="103909"/>
                  </a:cubicBezTo>
                  <a:cubicBezTo>
                    <a:pt x="4817919" y="142009"/>
                    <a:pt x="4652819" y="196273"/>
                    <a:pt x="4475019" y="228600"/>
                  </a:cubicBezTo>
                  <a:cubicBezTo>
                    <a:pt x="4297219" y="260927"/>
                    <a:pt x="3851564" y="297872"/>
                    <a:pt x="3851564" y="297872"/>
                  </a:cubicBezTo>
                  <a:lnTo>
                    <a:pt x="2930237" y="381000"/>
                  </a:lnTo>
                  <a:cubicBezTo>
                    <a:pt x="2613892" y="411018"/>
                    <a:pt x="2259445" y="439882"/>
                    <a:pt x="1953491" y="477982"/>
                  </a:cubicBezTo>
                  <a:cubicBezTo>
                    <a:pt x="1647537" y="516082"/>
                    <a:pt x="1094510" y="609600"/>
                    <a:pt x="1094510" y="609600"/>
                  </a:cubicBezTo>
                  <a:cubicBezTo>
                    <a:pt x="856674" y="646545"/>
                    <a:pt x="692728" y="662709"/>
                    <a:pt x="526473" y="699654"/>
                  </a:cubicBezTo>
                  <a:cubicBezTo>
                    <a:pt x="360218" y="736599"/>
                    <a:pt x="184727" y="803563"/>
                    <a:pt x="96982" y="831272"/>
                  </a:cubicBezTo>
                  <a:cubicBezTo>
                    <a:pt x="9236" y="858981"/>
                    <a:pt x="4618" y="862445"/>
                    <a:pt x="0" y="86590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p:cNvSpPr/>
            <p:nvPr/>
          </p:nvSpPr>
          <p:spPr bwMode="auto">
            <a:xfrm>
              <a:off x="2914256" y="2485880"/>
              <a:ext cx="1713649" cy="161312"/>
            </a:xfrm>
            <a:custGeom>
              <a:avLst/>
              <a:gdLst>
                <a:gd name="connsiteX0" fmla="*/ 0 w 5077691"/>
                <a:gd name="connsiteY0" fmla="*/ 477982 h 477982"/>
                <a:gd name="connsiteX1" fmla="*/ 727364 w 5077691"/>
                <a:gd name="connsiteY1" fmla="*/ 339436 h 477982"/>
                <a:gd name="connsiteX2" fmla="*/ 1711036 w 5077691"/>
                <a:gd name="connsiteY2" fmla="*/ 214745 h 477982"/>
                <a:gd name="connsiteX3" fmla="*/ 2902527 w 5077691"/>
                <a:gd name="connsiteY3" fmla="*/ 117763 h 477982"/>
                <a:gd name="connsiteX4" fmla="*/ 4135582 w 5077691"/>
                <a:gd name="connsiteY4" fmla="*/ 34636 h 477982"/>
                <a:gd name="connsiteX5" fmla="*/ 4807527 w 5077691"/>
                <a:gd name="connsiteY5" fmla="*/ 13854 h 477982"/>
                <a:gd name="connsiteX6" fmla="*/ 5077691 w 5077691"/>
                <a:gd name="connsiteY6" fmla="*/ 0 h 47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7691" h="477982">
                  <a:moveTo>
                    <a:pt x="0" y="477982"/>
                  </a:moveTo>
                  <a:cubicBezTo>
                    <a:pt x="221095" y="430645"/>
                    <a:pt x="442191" y="383309"/>
                    <a:pt x="727364" y="339436"/>
                  </a:cubicBezTo>
                  <a:cubicBezTo>
                    <a:pt x="1012537" y="295563"/>
                    <a:pt x="1348509" y="251690"/>
                    <a:pt x="1711036" y="214745"/>
                  </a:cubicBezTo>
                  <a:cubicBezTo>
                    <a:pt x="2073563" y="177800"/>
                    <a:pt x="2902527" y="117763"/>
                    <a:pt x="2902527" y="117763"/>
                  </a:cubicBezTo>
                  <a:lnTo>
                    <a:pt x="4135582" y="34636"/>
                  </a:lnTo>
                  <a:cubicBezTo>
                    <a:pt x="4453082" y="17318"/>
                    <a:pt x="4650509" y="19627"/>
                    <a:pt x="4807527" y="13854"/>
                  </a:cubicBezTo>
                  <a:cubicBezTo>
                    <a:pt x="4964545" y="8081"/>
                    <a:pt x="5021118" y="4040"/>
                    <a:pt x="507769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p:cNvSpPr/>
            <p:nvPr/>
          </p:nvSpPr>
          <p:spPr bwMode="auto">
            <a:xfrm>
              <a:off x="2599280" y="2647492"/>
              <a:ext cx="745142" cy="300813"/>
            </a:xfrm>
            <a:custGeom>
              <a:avLst/>
              <a:gdLst>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32951 w 2219642"/>
                <a:gd name="connsiteY15" fmla="*/ 518656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1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23896 w 2219642"/>
                <a:gd name="connsiteY16" fmla="*/ 276202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51605 w 2219642"/>
                <a:gd name="connsiteY16" fmla="*/ 269274 h 891334"/>
                <a:gd name="connsiteX0" fmla="*/ 2214013 w 2214013"/>
                <a:gd name="connsiteY0" fmla="*/ 553292 h 891334"/>
                <a:gd name="connsiteX1" fmla="*/ 1860722 w 2214013"/>
                <a:gd name="connsiteY1" fmla="*/ 338547 h 891334"/>
                <a:gd name="connsiteX2" fmla="*/ 1278831 w 2214013"/>
                <a:gd name="connsiteY2" fmla="*/ 109947 h 891334"/>
                <a:gd name="connsiteX3" fmla="*/ 925541 w 2214013"/>
                <a:gd name="connsiteY3" fmla="*/ 6038 h 891334"/>
                <a:gd name="connsiteX4" fmla="*/ 579177 w 2214013"/>
                <a:gd name="connsiteY4" fmla="*/ 19892 h 891334"/>
                <a:gd name="connsiteX5" fmla="*/ 295159 w 2214013"/>
                <a:gd name="connsiteY5" fmla="*/ 82238 h 891334"/>
                <a:gd name="connsiteX6" fmla="*/ 87341 w 2214013"/>
                <a:gd name="connsiteY6" fmla="*/ 206929 h 891334"/>
                <a:gd name="connsiteX7" fmla="*/ 31922 w 2214013"/>
                <a:gd name="connsiteY7" fmla="*/ 435529 h 891334"/>
                <a:gd name="connsiteX8" fmla="*/ 4213 w 2214013"/>
                <a:gd name="connsiteY8" fmla="*/ 719547 h 891334"/>
                <a:gd name="connsiteX9" fmla="*/ 121977 w 2214013"/>
                <a:gd name="connsiteY9" fmla="*/ 802674 h 891334"/>
                <a:gd name="connsiteX10" fmla="*/ 267450 w 2214013"/>
                <a:gd name="connsiteY10" fmla="*/ 809601 h 891334"/>
                <a:gd name="connsiteX11" fmla="*/ 357504 w 2214013"/>
                <a:gd name="connsiteY11" fmla="*/ 871947 h 891334"/>
                <a:gd name="connsiteX12" fmla="*/ 461413 w 2214013"/>
                <a:gd name="connsiteY12" fmla="*/ 885801 h 891334"/>
                <a:gd name="connsiteX13" fmla="*/ 821631 w 2214013"/>
                <a:gd name="connsiteY13" fmla="*/ 788820 h 891334"/>
                <a:gd name="connsiteX14" fmla="*/ 1313467 w 2214013"/>
                <a:gd name="connsiteY14" fmla="*/ 511729 h 891334"/>
                <a:gd name="connsiteX15" fmla="*/ 1645976 w 2214013"/>
                <a:gd name="connsiteY15" fmla="*/ 269274 h 891334"/>
                <a:gd name="connsiteX0" fmla="*/ 2214123 w 2214123"/>
                <a:gd name="connsiteY0" fmla="*/ 553292 h 891334"/>
                <a:gd name="connsiteX1" fmla="*/ 1860832 w 2214123"/>
                <a:gd name="connsiteY1" fmla="*/ 338547 h 891334"/>
                <a:gd name="connsiteX2" fmla="*/ 1278941 w 2214123"/>
                <a:gd name="connsiteY2" fmla="*/ 109947 h 891334"/>
                <a:gd name="connsiteX3" fmla="*/ 925651 w 2214123"/>
                <a:gd name="connsiteY3" fmla="*/ 6038 h 891334"/>
                <a:gd name="connsiteX4" fmla="*/ 579287 w 2214123"/>
                <a:gd name="connsiteY4" fmla="*/ 19892 h 891334"/>
                <a:gd name="connsiteX5" fmla="*/ 295269 w 2214123"/>
                <a:gd name="connsiteY5" fmla="*/ 82238 h 891334"/>
                <a:gd name="connsiteX6" fmla="*/ 94378 w 2214123"/>
                <a:gd name="connsiteY6" fmla="*/ 206929 h 891334"/>
                <a:gd name="connsiteX7" fmla="*/ 32032 w 2214123"/>
                <a:gd name="connsiteY7" fmla="*/ 435529 h 891334"/>
                <a:gd name="connsiteX8" fmla="*/ 4323 w 2214123"/>
                <a:gd name="connsiteY8" fmla="*/ 719547 h 891334"/>
                <a:gd name="connsiteX9" fmla="*/ 122087 w 2214123"/>
                <a:gd name="connsiteY9" fmla="*/ 802674 h 891334"/>
                <a:gd name="connsiteX10" fmla="*/ 267560 w 2214123"/>
                <a:gd name="connsiteY10" fmla="*/ 809601 h 891334"/>
                <a:gd name="connsiteX11" fmla="*/ 357614 w 2214123"/>
                <a:gd name="connsiteY11" fmla="*/ 871947 h 891334"/>
                <a:gd name="connsiteX12" fmla="*/ 461523 w 2214123"/>
                <a:gd name="connsiteY12" fmla="*/ 885801 h 891334"/>
                <a:gd name="connsiteX13" fmla="*/ 821741 w 2214123"/>
                <a:gd name="connsiteY13" fmla="*/ 788820 h 891334"/>
                <a:gd name="connsiteX14" fmla="*/ 1313577 w 2214123"/>
                <a:gd name="connsiteY14" fmla="*/ 511729 h 891334"/>
                <a:gd name="connsiteX15" fmla="*/ 1646086 w 2214123"/>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07919" h="891334">
                  <a:moveTo>
                    <a:pt x="2207919" y="553292"/>
                  </a:moveTo>
                  <a:cubicBezTo>
                    <a:pt x="2109205" y="482865"/>
                    <a:pt x="2017419" y="398584"/>
                    <a:pt x="1854628" y="338547"/>
                  </a:cubicBezTo>
                  <a:cubicBezTo>
                    <a:pt x="1691837" y="278510"/>
                    <a:pt x="1428600" y="165365"/>
                    <a:pt x="1272737" y="109947"/>
                  </a:cubicBezTo>
                  <a:cubicBezTo>
                    <a:pt x="1116874" y="54529"/>
                    <a:pt x="1036056" y="21047"/>
                    <a:pt x="919447" y="6038"/>
                  </a:cubicBezTo>
                  <a:cubicBezTo>
                    <a:pt x="802838" y="-8971"/>
                    <a:pt x="678147" y="7192"/>
                    <a:pt x="573083" y="19892"/>
                  </a:cubicBezTo>
                  <a:cubicBezTo>
                    <a:pt x="468019" y="32592"/>
                    <a:pt x="369883" y="51065"/>
                    <a:pt x="289065" y="82238"/>
                  </a:cubicBezTo>
                  <a:cubicBezTo>
                    <a:pt x="208247" y="113411"/>
                    <a:pt x="132047" y="148047"/>
                    <a:pt x="88174" y="206929"/>
                  </a:cubicBezTo>
                  <a:cubicBezTo>
                    <a:pt x="44301" y="265811"/>
                    <a:pt x="39683" y="344320"/>
                    <a:pt x="25828" y="435529"/>
                  </a:cubicBezTo>
                  <a:cubicBezTo>
                    <a:pt x="11973" y="526738"/>
                    <a:pt x="-9963" y="692992"/>
                    <a:pt x="5046" y="754183"/>
                  </a:cubicBezTo>
                  <a:cubicBezTo>
                    <a:pt x="20055" y="815374"/>
                    <a:pt x="73165" y="793438"/>
                    <a:pt x="115883" y="802674"/>
                  </a:cubicBezTo>
                  <a:cubicBezTo>
                    <a:pt x="158601" y="811910"/>
                    <a:pt x="222102" y="798056"/>
                    <a:pt x="261356" y="809601"/>
                  </a:cubicBezTo>
                  <a:cubicBezTo>
                    <a:pt x="300610" y="821146"/>
                    <a:pt x="319083" y="859247"/>
                    <a:pt x="351410" y="871947"/>
                  </a:cubicBezTo>
                  <a:cubicBezTo>
                    <a:pt x="383737" y="884647"/>
                    <a:pt x="377965" y="899655"/>
                    <a:pt x="455319" y="885801"/>
                  </a:cubicBezTo>
                  <a:cubicBezTo>
                    <a:pt x="532673" y="871947"/>
                    <a:pt x="673528" y="851165"/>
                    <a:pt x="815537" y="788820"/>
                  </a:cubicBezTo>
                  <a:cubicBezTo>
                    <a:pt x="957546" y="726475"/>
                    <a:pt x="1169982" y="598320"/>
                    <a:pt x="1307373" y="511729"/>
                  </a:cubicBezTo>
                  <a:cubicBezTo>
                    <a:pt x="1444764" y="425138"/>
                    <a:pt x="1543477" y="353555"/>
                    <a:pt x="1639882" y="26927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p:cNvSpPr/>
            <p:nvPr/>
          </p:nvSpPr>
          <p:spPr bwMode="auto">
            <a:xfrm>
              <a:off x="2467395" y="3055147"/>
              <a:ext cx="462537" cy="85624"/>
            </a:xfrm>
            <a:custGeom>
              <a:avLst/>
              <a:gdLst>
                <a:gd name="connsiteX0" fmla="*/ 432524 w 1358737"/>
                <a:gd name="connsiteY0" fmla="*/ 255575 h 269762"/>
                <a:gd name="connsiteX1" fmla="*/ 1007488 w 1358737"/>
                <a:gd name="connsiteY1" fmla="*/ 262502 h 269762"/>
                <a:gd name="connsiteX2" fmla="*/ 1222234 w 1358737"/>
                <a:gd name="connsiteY2" fmla="*/ 214011 h 269762"/>
                <a:gd name="connsiteX3" fmla="*/ 1353852 w 1358737"/>
                <a:gd name="connsiteY3" fmla="*/ 54684 h 269762"/>
                <a:gd name="connsiteX4" fmla="*/ 1236088 w 1358737"/>
                <a:gd name="connsiteY4" fmla="*/ 33902 h 269762"/>
                <a:gd name="connsiteX5" fmla="*/ 425597 w 1358737"/>
                <a:gd name="connsiteY5" fmla="*/ 20047 h 269762"/>
                <a:gd name="connsiteX6" fmla="*/ 120797 w 1358737"/>
                <a:gd name="connsiteY6" fmla="*/ 6193 h 269762"/>
                <a:gd name="connsiteX7" fmla="*/ 23815 w 1358737"/>
                <a:gd name="connsiteY7" fmla="*/ 6193 h 269762"/>
                <a:gd name="connsiteX8" fmla="*/ 3034 w 1358737"/>
                <a:gd name="connsiteY8" fmla="*/ 82393 h 269762"/>
                <a:gd name="connsiteX9" fmla="*/ 3034 w 1358737"/>
                <a:gd name="connsiteY9" fmla="*/ 227865 h 269762"/>
                <a:gd name="connsiteX10" fmla="*/ 23815 w 1358737"/>
                <a:gd name="connsiteY10" fmla="*/ 262502 h 269762"/>
                <a:gd name="connsiteX11" fmla="*/ 238561 w 1358737"/>
                <a:gd name="connsiteY11" fmla="*/ 269429 h 269762"/>
                <a:gd name="connsiteX12" fmla="*/ 550288 w 1358737"/>
                <a:gd name="connsiteY12" fmla="*/ 269429 h 269762"/>
                <a:gd name="connsiteX13" fmla="*/ 432524 w 1358737"/>
                <a:gd name="connsiteY13" fmla="*/ 255575 h 269762"/>
                <a:gd name="connsiteX0" fmla="*/ 550288 w 1358737"/>
                <a:gd name="connsiteY0" fmla="*/ 269429 h 270294"/>
                <a:gd name="connsiteX1" fmla="*/ 1007488 w 1358737"/>
                <a:gd name="connsiteY1" fmla="*/ 262502 h 270294"/>
                <a:gd name="connsiteX2" fmla="*/ 1222234 w 1358737"/>
                <a:gd name="connsiteY2" fmla="*/ 214011 h 270294"/>
                <a:gd name="connsiteX3" fmla="*/ 1353852 w 1358737"/>
                <a:gd name="connsiteY3" fmla="*/ 54684 h 270294"/>
                <a:gd name="connsiteX4" fmla="*/ 1236088 w 1358737"/>
                <a:gd name="connsiteY4" fmla="*/ 33902 h 270294"/>
                <a:gd name="connsiteX5" fmla="*/ 425597 w 1358737"/>
                <a:gd name="connsiteY5" fmla="*/ 20047 h 270294"/>
                <a:gd name="connsiteX6" fmla="*/ 120797 w 1358737"/>
                <a:gd name="connsiteY6" fmla="*/ 6193 h 270294"/>
                <a:gd name="connsiteX7" fmla="*/ 23815 w 1358737"/>
                <a:gd name="connsiteY7" fmla="*/ 6193 h 270294"/>
                <a:gd name="connsiteX8" fmla="*/ 3034 w 1358737"/>
                <a:gd name="connsiteY8" fmla="*/ 82393 h 270294"/>
                <a:gd name="connsiteX9" fmla="*/ 3034 w 1358737"/>
                <a:gd name="connsiteY9" fmla="*/ 227865 h 270294"/>
                <a:gd name="connsiteX10" fmla="*/ 23815 w 1358737"/>
                <a:gd name="connsiteY10" fmla="*/ 262502 h 270294"/>
                <a:gd name="connsiteX11" fmla="*/ 238561 w 1358737"/>
                <a:gd name="connsiteY11" fmla="*/ 269429 h 270294"/>
                <a:gd name="connsiteX12" fmla="*/ 550288 w 1358737"/>
                <a:gd name="connsiteY12" fmla="*/ 269429 h 270294"/>
                <a:gd name="connsiteX0" fmla="*/ 550288 w 1358737"/>
                <a:gd name="connsiteY0" fmla="*/ 266015 h 266880"/>
                <a:gd name="connsiteX1" fmla="*/ 1007488 w 1358737"/>
                <a:gd name="connsiteY1" fmla="*/ 259088 h 266880"/>
                <a:gd name="connsiteX2" fmla="*/ 1222234 w 1358737"/>
                <a:gd name="connsiteY2" fmla="*/ 210597 h 266880"/>
                <a:gd name="connsiteX3" fmla="*/ 1353852 w 1358737"/>
                <a:gd name="connsiteY3" fmla="*/ 51270 h 266880"/>
                <a:gd name="connsiteX4" fmla="*/ 1236088 w 1358737"/>
                <a:gd name="connsiteY4" fmla="*/ 30488 h 266880"/>
                <a:gd name="connsiteX5" fmla="*/ 425597 w 1358737"/>
                <a:gd name="connsiteY5" fmla="*/ 16633 h 266880"/>
                <a:gd name="connsiteX6" fmla="*/ 134651 w 1358737"/>
                <a:gd name="connsiteY6" fmla="*/ 16634 h 266880"/>
                <a:gd name="connsiteX7" fmla="*/ 23815 w 1358737"/>
                <a:gd name="connsiteY7" fmla="*/ 2779 h 266880"/>
                <a:gd name="connsiteX8" fmla="*/ 3034 w 1358737"/>
                <a:gd name="connsiteY8" fmla="*/ 78979 h 266880"/>
                <a:gd name="connsiteX9" fmla="*/ 3034 w 1358737"/>
                <a:gd name="connsiteY9" fmla="*/ 224451 h 266880"/>
                <a:gd name="connsiteX10" fmla="*/ 23815 w 1358737"/>
                <a:gd name="connsiteY10" fmla="*/ 259088 h 266880"/>
                <a:gd name="connsiteX11" fmla="*/ 238561 w 1358737"/>
                <a:gd name="connsiteY11" fmla="*/ 266015 h 266880"/>
                <a:gd name="connsiteX12" fmla="*/ 550288 w 1358737"/>
                <a:gd name="connsiteY12" fmla="*/ 266015 h 266880"/>
                <a:gd name="connsiteX0" fmla="*/ 563217 w 1371666"/>
                <a:gd name="connsiteY0" fmla="*/ 266229 h 267094"/>
                <a:gd name="connsiteX1" fmla="*/ 1020417 w 1371666"/>
                <a:gd name="connsiteY1" fmla="*/ 259302 h 267094"/>
                <a:gd name="connsiteX2" fmla="*/ 1235163 w 1371666"/>
                <a:gd name="connsiteY2" fmla="*/ 210811 h 267094"/>
                <a:gd name="connsiteX3" fmla="*/ 1366781 w 1371666"/>
                <a:gd name="connsiteY3" fmla="*/ 51484 h 267094"/>
                <a:gd name="connsiteX4" fmla="*/ 1249017 w 1371666"/>
                <a:gd name="connsiteY4" fmla="*/ 30702 h 267094"/>
                <a:gd name="connsiteX5" fmla="*/ 438526 w 1371666"/>
                <a:gd name="connsiteY5" fmla="*/ 16847 h 267094"/>
                <a:gd name="connsiteX6" fmla="*/ 36744 w 1371666"/>
                <a:gd name="connsiteY6" fmla="*/ 2993 h 267094"/>
                <a:gd name="connsiteX7" fmla="*/ 15963 w 1371666"/>
                <a:gd name="connsiteY7" fmla="*/ 79193 h 267094"/>
                <a:gd name="connsiteX8" fmla="*/ 15963 w 1371666"/>
                <a:gd name="connsiteY8" fmla="*/ 224665 h 267094"/>
                <a:gd name="connsiteX9" fmla="*/ 36744 w 1371666"/>
                <a:gd name="connsiteY9" fmla="*/ 259302 h 267094"/>
                <a:gd name="connsiteX10" fmla="*/ 251490 w 1371666"/>
                <a:gd name="connsiteY10" fmla="*/ 266229 h 267094"/>
                <a:gd name="connsiteX11" fmla="*/ 563217 w 1371666"/>
                <a:gd name="connsiteY11" fmla="*/ 266229 h 267094"/>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79338 w 1387787"/>
                <a:gd name="connsiteY0" fmla="*/ 251602 h 252467"/>
                <a:gd name="connsiteX1" fmla="*/ 1036538 w 1387787"/>
                <a:gd name="connsiteY1" fmla="*/ 244675 h 252467"/>
                <a:gd name="connsiteX2" fmla="*/ 1251284 w 1387787"/>
                <a:gd name="connsiteY2" fmla="*/ 196184 h 252467"/>
                <a:gd name="connsiteX3" fmla="*/ 1382902 w 1387787"/>
                <a:gd name="connsiteY3" fmla="*/ 36857 h 252467"/>
                <a:gd name="connsiteX4" fmla="*/ 1265138 w 1387787"/>
                <a:gd name="connsiteY4" fmla="*/ 16075 h 252467"/>
                <a:gd name="connsiteX5" fmla="*/ 454647 w 1387787"/>
                <a:gd name="connsiteY5" fmla="*/ 2220 h 252467"/>
                <a:gd name="connsiteX6" fmla="*/ 32084 w 1387787"/>
                <a:gd name="connsiteY6" fmla="*/ 64566 h 252467"/>
                <a:gd name="connsiteX7" fmla="*/ 32084 w 1387787"/>
                <a:gd name="connsiteY7" fmla="*/ 210038 h 252467"/>
                <a:gd name="connsiteX8" fmla="*/ 52865 w 1387787"/>
                <a:gd name="connsiteY8" fmla="*/ 244675 h 252467"/>
                <a:gd name="connsiteX9" fmla="*/ 267611 w 1387787"/>
                <a:gd name="connsiteY9" fmla="*/ 251602 h 252467"/>
                <a:gd name="connsiteX10" fmla="*/ 579338 w 1387787"/>
                <a:gd name="connsiteY10" fmla="*/ 251602 h 252467"/>
                <a:gd name="connsiteX0" fmla="*/ 569062 w 1377511"/>
                <a:gd name="connsiteY0" fmla="*/ 265301 h 266166"/>
                <a:gd name="connsiteX1" fmla="*/ 1026262 w 1377511"/>
                <a:gd name="connsiteY1" fmla="*/ 258374 h 266166"/>
                <a:gd name="connsiteX2" fmla="*/ 1241008 w 1377511"/>
                <a:gd name="connsiteY2" fmla="*/ 209883 h 266166"/>
                <a:gd name="connsiteX3" fmla="*/ 1372626 w 1377511"/>
                <a:gd name="connsiteY3" fmla="*/ 50556 h 266166"/>
                <a:gd name="connsiteX4" fmla="*/ 1254862 w 1377511"/>
                <a:gd name="connsiteY4" fmla="*/ 29774 h 266166"/>
                <a:gd name="connsiteX5" fmla="*/ 444371 w 1377511"/>
                <a:gd name="connsiteY5" fmla="*/ 15919 h 266166"/>
                <a:gd name="connsiteX6" fmla="*/ 35662 w 1377511"/>
                <a:gd name="connsiteY6" fmla="*/ 15919 h 266166"/>
                <a:gd name="connsiteX7" fmla="*/ 21808 w 1377511"/>
                <a:gd name="connsiteY7" fmla="*/ 223737 h 266166"/>
                <a:gd name="connsiteX8" fmla="*/ 42589 w 1377511"/>
                <a:gd name="connsiteY8" fmla="*/ 258374 h 266166"/>
                <a:gd name="connsiteX9" fmla="*/ 257335 w 1377511"/>
                <a:gd name="connsiteY9" fmla="*/ 265301 h 266166"/>
                <a:gd name="connsiteX10" fmla="*/ 569062 w 1377511"/>
                <a:gd name="connsiteY10" fmla="*/ 265301 h 266166"/>
                <a:gd name="connsiteX0" fmla="*/ 551155 w 1359604"/>
                <a:gd name="connsiteY0" fmla="*/ 262227 h 263092"/>
                <a:gd name="connsiteX1" fmla="*/ 1008355 w 1359604"/>
                <a:gd name="connsiteY1" fmla="*/ 255300 h 263092"/>
                <a:gd name="connsiteX2" fmla="*/ 1223101 w 1359604"/>
                <a:gd name="connsiteY2" fmla="*/ 206809 h 263092"/>
                <a:gd name="connsiteX3" fmla="*/ 1354719 w 1359604"/>
                <a:gd name="connsiteY3" fmla="*/ 47482 h 263092"/>
                <a:gd name="connsiteX4" fmla="*/ 1236955 w 1359604"/>
                <a:gd name="connsiteY4" fmla="*/ 26700 h 263092"/>
                <a:gd name="connsiteX5" fmla="*/ 426464 w 1359604"/>
                <a:gd name="connsiteY5" fmla="*/ 12845 h 263092"/>
                <a:gd name="connsiteX6" fmla="*/ 17755 w 1359604"/>
                <a:gd name="connsiteY6" fmla="*/ 12845 h 263092"/>
                <a:gd name="connsiteX7" fmla="*/ 3901 w 1359604"/>
                <a:gd name="connsiteY7" fmla="*/ 220663 h 263092"/>
                <a:gd name="connsiteX8" fmla="*/ 24682 w 1359604"/>
                <a:gd name="connsiteY8" fmla="*/ 255300 h 263092"/>
                <a:gd name="connsiteX9" fmla="*/ 239428 w 1359604"/>
                <a:gd name="connsiteY9" fmla="*/ 262227 h 263092"/>
                <a:gd name="connsiteX10" fmla="*/ 551155 w 1359604"/>
                <a:gd name="connsiteY10" fmla="*/ 262227 h 263092"/>
                <a:gd name="connsiteX0" fmla="*/ 551155 w 1359604"/>
                <a:gd name="connsiteY0" fmla="*/ 252846 h 253711"/>
                <a:gd name="connsiteX1" fmla="*/ 1008355 w 1359604"/>
                <a:gd name="connsiteY1" fmla="*/ 245919 h 253711"/>
                <a:gd name="connsiteX2" fmla="*/ 1223101 w 1359604"/>
                <a:gd name="connsiteY2" fmla="*/ 197428 h 253711"/>
                <a:gd name="connsiteX3" fmla="*/ 1354719 w 1359604"/>
                <a:gd name="connsiteY3" fmla="*/ 38101 h 253711"/>
                <a:gd name="connsiteX4" fmla="*/ 1236955 w 1359604"/>
                <a:gd name="connsiteY4" fmla="*/ 17319 h 253711"/>
                <a:gd name="connsiteX5" fmla="*/ 426464 w 1359604"/>
                <a:gd name="connsiteY5" fmla="*/ 3464 h 253711"/>
                <a:gd name="connsiteX6" fmla="*/ 17755 w 1359604"/>
                <a:gd name="connsiteY6" fmla="*/ 17318 h 253711"/>
                <a:gd name="connsiteX7" fmla="*/ 3901 w 1359604"/>
                <a:gd name="connsiteY7" fmla="*/ 211282 h 253711"/>
                <a:gd name="connsiteX8" fmla="*/ 24682 w 1359604"/>
                <a:gd name="connsiteY8" fmla="*/ 245919 h 253711"/>
                <a:gd name="connsiteX9" fmla="*/ 239428 w 1359604"/>
                <a:gd name="connsiteY9" fmla="*/ 252846 h 253711"/>
                <a:gd name="connsiteX10" fmla="*/ 551155 w 1359604"/>
                <a:gd name="connsiteY10" fmla="*/ 252846 h 253711"/>
                <a:gd name="connsiteX0" fmla="*/ 562087 w 1370536"/>
                <a:gd name="connsiteY0" fmla="*/ 252846 h 253711"/>
                <a:gd name="connsiteX1" fmla="*/ 1019287 w 1370536"/>
                <a:gd name="connsiteY1" fmla="*/ 245919 h 253711"/>
                <a:gd name="connsiteX2" fmla="*/ 1234033 w 1370536"/>
                <a:gd name="connsiteY2" fmla="*/ 197428 h 253711"/>
                <a:gd name="connsiteX3" fmla="*/ 1365651 w 1370536"/>
                <a:gd name="connsiteY3" fmla="*/ 38101 h 253711"/>
                <a:gd name="connsiteX4" fmla="*/ 1247887 w 1370536"/>
                <a:gd name="connsiteY4" fmla="*/ 17319 h 253711"/>
                <a:gd name="connsiteX5" fmla="*/ 437396 w 1370536"/>
                <a:gd name="connsiteY5" fmla="*/ 3464 h 253711"/>
                <a:gd name="connsiteX6" fmla="*/ 28687 w 1370536"/>
                <a:gd name="connsiteY6" fmla="*/ 17318 h 253711"/>
                <a:gd name="connsiteX7" fmla="*/ 14833 w 1370536"/>
                <a:gd name="connsiteY7" fmla="*/ 211282 h 253711"/>
                <a:gd name="connsiteX8" fmla="*/ 250360 w 1370536"/>
                <a:gd name="connsiteY8" fmla="*/ 252846 h 253711"/>
                <a:gd name="connsiteX9" fmla="*/ 562087 w 1370536"/>
                <a:gd name="connsiteY9" fmla="*/ 252846 h 25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0536" h="253711">
                  <a:moveTo>
                    <a:pt x="562087" y="252846"/>
                  </a:moveTo>
                  <a:lnTo>
                    <a:pt x="1019287" y="245919"/>
                  </a:lnTo>
                  <a:cubicBezTo>
                    <a:pt x="1131278" y="236683"/>
                    <a:pt x="1176306" y="232064"/>
                    <a:pt x="1234033" y="197428"/>
                  </a:cubicBezTo>
                  <a:cubicBezTo>
                    <a:pt x="1291760" y="162792"/>
                    <a:pt x="1363342" y="68119"/>
                    <a:pt x="1365651" y="38101"/>
                  </a:cubicBezTo>
                  <a:cubicBezTo>
                    <a:pt x="1367960" y="8083"/>
                    <a:pt x="1402596" y="23092"/>
                    <a:pt x="1247887" y="17319"/>
                  </a:cubicBezTo>
                  <a:cubicBezTo>
                    <a:pt x="1093178" y="11546"/>
                    <a:pt x="640596" y="3464"/>
                    <a:pt x="437396" y="3464"/>
                  </a:cubicBezTo>
                  <a:cubicBezTo>
                    <a:pt x="234196" y="3464"/>
                    <a:pt x="36768" y="-10391"/>
                    <a:pt x="28687" y="17318"/>
                  </a:cubicBezTo>
                  <a:cubicBezTo>
                    <a:pt x="20606" y="45027"/>
                    <a:pt x="-22113" y="172027"/>
                    <a:pt x="14833" y="211282"/>
                  </a:cubicBezTo>
                  <a:cubicBezTo>
                    <a:pt x="51779" y="250537"/>
                    <a:pt x="159151" y="245919"/>
                    <a:pt x="250360" y="252846"/>
                  </a:cubicBezTo>
                  <a:cubicBezTo>
                    <a:pt x="338105" y="254000"/>
                    <a:pt x="433933" y="254000"/>
                    <a:pt x="562087" y="252846"/>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Freeform: Shape 94"/>
            <p:cNvSpPr/>
            <p:nvPr/>
          </p:nvSpPr>
          <p:spPr bwMode="auto">
            <a:xfrm>
              <a:off x="2484091" y="3233973"/>
              <a:ext cx="140448" cy="203413"/>
            </a:xfrm>
            <a:custGeom>
              <a:avLst/>
              <a:gdLst>
                <a:gd name="connsiteX0" fmla="*/ 180109 w 423088"/>
                <a:gd name="connsiteY0" fmla="*/ 595745 h 595745"/>
                <a:gd name="connsiteX1" fmla="*/ 381000 w 423088"/>
                <a:gd name="connsiteY1" fmla="*/ 533400 h 595745"/>
                <a:gd name="connsiteX2" fmla="*/ 422563 w 423088"/>
                <a:gd name="connsiteY2" fmla="*/ 311727 h 595745"/>
                <a:gd name="connsiteX3" fmla="*/ 394854 w 423088"/>
                <a:gd name="connsiteY3" fmla="*/ 110836 h 595745"/>
                <a:gd name="connsiteX4" fmla="*/ 270163 w 423088"/>
                <a:gd name="connsiteY4" fmla="*/ 27709 h 595745"/>
                <a:gd name="connsiteX5" fmla="*/ 96981 w 423088"/>
                <a:gd name="connsiteY5" fmla="*/ 6927 h 595745"/>
                <a:gd name="connsiteX6" fmla="*/ 0 w 423088"/>
                <a:gd name="connsiteY6" fmla="*/ 0 h 595745"/>
                <a:gd name="connsiteX0" fmla="*/ 173182 w 416161"/>
                <a:gd name="connsiteY0" fmla="*/ 588878 h 588878"/>
                <a:gd name="connsiteX1" fmla="*/ 374073 w 416161"/>
                <a:gd name="connsiteY1" fmla="*/ 526533 h 588878"/>
                <a:gd name="connsiteX2" fmla="*/ 415636 w 416161"/>
                <a:gd name="connsiteY2" fmla="*/ 304860 h 588878"/>
                <a:gd name="connsiteX3" fmla="*/ 387927 w 416161"/>
                <a:gd name="connsiteY3" fmla="*/ 103969 h 588878"/>
                <a:gd name="connsiteX4" fmla="*/ 263236 w 416161"/>
                <a:gd name="connsiteY4" fmla="*/ 20842 h 588878"/>
                <a:gd name="connsiteX5" fmla="*/ 90054 w 416161"/>
                <a:gd name="connsiteY5" fmla="*/ 60 h 588878"/>
                <a:gd name="connsiteX6" fmla="*/ 0 w 416161"/>
                <a:gd name="connsiteY6" fmla="*/ 13915 h 588878"/>
                <a:gd name="connsiteX0" fmla="*/ 173182 w 416161"/>
                <a:gd name="connsiteY0" fmla="*/ 602732 h 602732"/>
                <a:gd name="connsiteX1" fmla="*/ 374073 w 416161"/>
                <a:gd name="connsiteY1" fmla="*/ 526533 h 602732"/>
                <a:gd name="connsiteX2" fmla="*/ 415636 w 416161"/>
                <a:gd name="connsiteY2" fmla="*/ 304860 h 602732"/>
                <a:gd name="connsiteX3" fmla="*/ 387927 w 416161"/>
                <a:gd name="connsiteY3" fmla="*/ 103969 h 602732"/>
                <a:gd name="connsiteX4" fmla="*/ 263236 w 416161"/>
                <a:gd name="connsiteY4" fmla="*/ 20842 h 602732"/>
                <a:gd name="connsiteX5" fmla="*/ 90054 w 416161"/>
                <a:gd name="connsiteY5" fmla="*/ 60 h 602732"/>
                <a:gd name="connsiteX6" fmla="*/ 0 w 416161"/>
                <a:gd name="connsiteY6" fmla="*/ 13915 h 60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161" h="602732">
                  <a:moveTo>
                    <a:pt x="173182" y="602732"/>
                  </a:moveTo>
                  <a:cubicBezTo>
                    <a:pt x="253423" y="595227"/>
                    <a:pt x="333664" y="576178"/>
                    <a:pt x="374073" y="526533"/>
                  </a:cubicBezTo>
                  <a:cubicBezTo>
                    <a:pt x="414482" y="476888"/>
                    <a:pt x="413327" y="375287"/>
                    <a:pt x="415636" y="304860"/>
                  </a:cubicBezTo>
                  <a:cubicBezTo>
                    <a:pt x="417945" y="234433"/>
                    <a:pt x="413327" y="151305"/>
                    <a:pt x="387927" y="103969"/>
                  </a:cubicBezTo>
                  <a:cubicBezTo>
                    <a:pt x="362527" y="56633"/>
                    <a:pt x="312881" y="38160"/>
                    <a:pt x="263236" y="20842"/>
                  </a:cubicBezTo>
                  <a:cubicBezTo>
                    <a:pt x="213591" y="3524"/>
                    <a:pt x="133927" y="1214"/>
                    <a:pt x="90054" y="60"/>
                  </a:cubicBezTo>
                  <a:cubicBezTo>
                    <a:pt x="46181" y="-1094"/>
                    <a:pt x="25977" y="15069"/>
                    <a:pt x="0" y="13915"/>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p:cNvSpPr/>
            <p:nvPr/>
          </p:nvSpPr>
          <p:spPr bwMode="auto">
            <a:xfrm>
              <a:off x="2612673" y="3414008"/>
              <a:ext cx="395098" cy="16365"/>
            </a:xfrm>
            <a:custGeom>
              <a:avLst/>
              <a:gdLst>
                <a:gd name="connsiteX0" fmla="*/ 0 w 1170709"/>
                <a:gd name="connsiteY0" fmla="*/ 0 h 48491"/>
                <a:gd name="connsiteX1" fmla="*/ 124691 w 1170709"/>
                <a:gd name="connsiteY1" fmla="*/ 34636 h 48491"/>
                <a:gd name="connsiteX2" fmla="*/ 720436 w 1170709"/>
                <a:gd name="connsiteY2" fmla="*/ 48491 h 48491"/>
                <a:gd name="connsiteX3" fmla="*/ 1170709 w 1170709"/>
                <a:gd name="connsiteY3" fmla="*/ 41564 h 48491"/>
              </a:gdLst>
              <a:ahLst/>
              <a:cxnLst>
                <a:cxn ang="0">
                  <a:pos x="connsiteX0" y="connsiteY0"/>
                </a:cxn>
                <a:cxn ang="0">
                  <a:pos x="connsiteX1" y="connsiteY1"/>
                </a:cxn>
                <a:cxn ang="0">
                  <a:pos x="connsiteX2" y="connsiteY2"/>
                </a:cxn>
                <a:cxn ang="0">
                  <a:pos x="connsiteX3" y="connsiteY3"/>
                </a:cxn>
              </a:cxnLst>
              <a:rect l="l" t="t" r="r" b="b"/>
              <a:pathLst>
                <a:path w="1170709" h="48491">
                  <a:moveTo>
                    <a:pt x="0" y="0"/>
                  </a:moveTo>
                  <a:cubicBezTo>
                    <a:pt x="2309" y="13277"/>
                    <a:pt x="4618" y="26554"/>
                    <a:pt x="124691" y="34636"/>
                  </a:cubicBezTo>
                  <a:cubicBezTo>
                    <a:pt x="244764" y="42718"/>
                    <a:pt x="720436" y="48491"/>
                    <a:pt x="720436" y="48491"/>
                  </a:cubicBezTo>
                  <a:lnTo>
                    <a:pt x="1170709" y="41564"/>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p:cNvSpPr/>
            <p:nvPr/>
          </p:nvSpPr>
          <p:spPr bwMode="auto">
            <a:xfrm>
              <a:off x="2839444" y="2682193"/>
              <a:ext cx="175396" cy="214346"/>
            </a:xfrm>
            <a:custGeom>
              <a:avLst/>
              <a:gdLst>
                <a:gd name="connsiteX0" fmla="*/ 0 w 575417"/>
                <a:gd name="connsiteY0" fmla="*/ 590177 h 642563"/>
                <a:gd name="connsiteX1" fmla="*/ 76200 w 575417"/>
                <a:gd name="connsiteY1" fmla="*/ 638667 h 642563"/>
                <a:gd name="connsiteX2" fmla="*/ 214746 w 575417"/>
                <a:gd name="connsiteY2" fmla="*/ 631740 h 642563"/>
                <a:gd name="connsiteX3" fmla="*/ 387928 w 575417"/>
                <a:gd name="connsiteY3" fmla="*/ 569395 h 642563"/>
                <a:gd name="connsiteX4" fmla="*/ 540328 w 575417"/>
                <a:gd name="connsiteY4" fmla="*/ 403140 h 642563"/>
                <a:gd name="connsiteX5" fmla="*/ 574964 w 575417"/>
                <a:gd name="connsiteY5" fmla="*/ 202249 h 642563"/>
                <a:gd name="connsiteX6" fmla="*/ 526473 w 575417"/>
                <a:gd name="connsiteY6" fmla="*/ 42922 h 642563"/>
                <a:gd name="connsiteX7" fmla="*/ 367146 w 575417"/>
                <a:gd name="connsiteY7" fmla="*/ 8286 h 642563"/>
                <a:gd name="connsiteX8" fmla="*/ 242455 w 575417"/>
                <a:gd name="connsiteY8" fmla="*/ 1358 h 642563"/>
                <a:gd name="connsiteX9" fmla="*/ 152400 w 575417"/>
                <a:gd name="connsiteY9" fmla="*/ 29067 h 642563"/>
                <a:gd name="connsiteX0" fmla="*/ 0 w 595904"/>
                <a:gd name="connsiteY0" fmla="*/ 590177 h 642563"/>
                <a:gd name="connsiteX1" fmla="*/ 76200 w 595904"/>
                <a:gd name="connsiteY1" fmla="*/ 638667 h 642563"/>
                <a:gd name="connsiteX2" fmla="*/ 214746 w 595904"/>
                <a:gd name="connsiteY2" fmla="*/ 631740 h 642563"/>
                <a:gd name="connsiteX3" fmla="*/ 387928 w 595904"/>
                <a:gd name="connsiteY3" fmla="*/ 569395 h 642563"/>
                <a:gd name="connsiteX4" fmla="*/ 540328 w 595904"/>
                <a:gd name="connsiteY4" fmla="*/ 403140 h 642563"/>
                <a:gd name="connsiteX5" fmla="*/ 595746 w 595904"/>
                <a:gd name="connsiteY5" fmla="*/ 202249 h 642563"/>
                <a:gd name="connsiteX6" fmla="*/ 526473 w 595904"/>
                <a:gd name="connsiteY6" fmla="*/ 42922 h 642563"/>
                <a:gd name="connsiteX7" fmla="*/ 367146 w 595904"/>
                <a:gd name="connsiteY7" fmla="*/ 8286 h 642563"/>
                <a:gd name="connsiteX8" fmla="*/ 242455 w 595904"/>
                <a:gd name="connsiteY8" fmla="*/ 1358 h 642563"/>
                <a:gd name="connsiteX9" fmla="*/ 152400 w 595904"/>
                <a:gd name="connsiteY9" fmla="*/ 29067 h 642563"/>
                <a:gd name="connsiteX0" fmla="*/ 0 w 595912"/>
                <a:gd name="connsiteY0" fmla="*/ 590177 h 643217"/>
                <a:gd name="connsiteX1" fmla="*/ 76200 w 595912"/>
                <a:gd name="connsiteY1" fmla="*/ 638667 h 643217"/>
                <a:gd name="connsiteX2" fmla="*/ 214746 w 595912"/>
                <a:gd name="connsiteY2" fmla="*/ 631740 h 643217"/>
                <a:gd name="connsiteX3" fmla="*/ 381001 w 595912"/>
                <a:gd name="connsiteY3" fmla="*/ 555541 h 643217"/>
                <a:gd name="connsiteX4" fmla="*/ 540328 w 595912"/>
                <a:gd name="connsiteY4" fmla="*/ 403140 h 643217"/>
                <a:gd name="connsiteX5" fmla="*/ 595746 w 595912"/>
                <a:gd name="connsiteY5" fmla="*/ 202249 h 643217"/>
                <a:gd name="connsiteX6" fmla="*/ 526473 w 595912"/>
                <a:gd name="connsiteY6" fmla="*/ 42922 h 643217"/>
                <a:gd name="connsiteX7" fmla="*/ 367146 w 595912"/>
                <a:gd name="connsiteY7" fmla="*/ 8286 h 643217"/>
                <a:gd name="connsiteX8" fmla="*/ 242455 w 595912"/>
                <a:gd name="connsiteY8" fmla="*/ 1358 h 643217"/>
                <a:gd name="connsiteX9" fmla="*/ 152400 w 595912"/>
                <a:gd name="connsiteY9" fmla="*/ 29067 h 643217"/>
                <a:gd name="connsiteX0" fmla="*/ 0 w 595912"/>
                <a:gd name="connsiteY0" fmla="*/ 582088 h 635128"/>
                <a:gd name="connsiteX1" fmla="*/ 76200 w 595912"/>
                <a:gd name="connsiteY1" fmla="*/ 630578 h 635128"/>
                <a:gd name="connsiteX2" fmla="*/ 214746 w 595912"/>
                <a:gd name="connsiteY2" fmla="*/ 623651 h 635128"/>
                <a:gd name="connsiteX3" fmla="*/ 381001 w 595912"/>
                <a:gd name="connsiteY3" fmla="*/ 547452 h 635128"/>
                <a:gd name="connsiteX4" fmla="*/ 540328 w 595912"/>
                <a:gd name="connsiteY4" fmla="*/ 395051 h 635128"/>
                <a:gd name="connsiteX5" fmla="*/ 595746 w 595912"/>
                <a:gd name="connsiteY5" fmla="*/ 194160 h 635128"/>
                <a:gd name="connsiteX6" fmla="*/ 526473 w 595912"/>
                <a:gd name="connsiteY6" fmla="*/ 34833 h 635128"/>
                <a:gd name="connsiteX7" fmla="*/ 367146 w 595912"/>
                <a:gd name="connsiteY7" fmla="*/ 197 h 635128"/>
                <a:gd name="connsiteX8" fmla="*/ 152400 w 595912"/>
                <a:gd name="connsiteY8" fmla="*/ 20978 h 635128"/>
                <a:gd name="connsiteX0" fmla="*/ 2 w 519714"/>
                <a:gd name="connsiteY0" fmla="*/ 630578 h 635128"/>
                <a:gd name="connsiteX1" fmla="*/ 138548 w 519714"/>
                <a:gd name="connsiteY1" fmla="*/ 623651 h 635128"/>
                <a:gd name="connsiteX2" fmla="*/ 304803 w 519714"/>
                <a:gd name="connsiteY2" fmla="*/ 547452 h 635128"/>
                <a:gd name="connsiteX3" fmla="*/ 464130 w 519714"/>
                <a:gd name="connsiteY3" fmla="*/ 395051 h 635128"/>
                <a:gd name="connsiteX4" fmla="*/ 519548 w 519714"/>
                <a:gd name="connsiteY4" fmla="*/ 194160 h 635128"/>
                <a:gd name="connsiteX5" fmla="*/ 450275 w 519714"/>
                <a:gd name="connsiteY5" fmla="*/ 34833 h 635128"/>
                <a:gd name="connsiteX6" fmla="*/ 290948 w 519714"/>
                <a:gd name="connsiteY6" fmla="*/ 197 h 635128"/>
                <a:gd name="connsiteX7" fmla="*/ 76202 w 519714"/>
                <a:gd name="connsiteY7" fmla="*/ 20978 h 635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714" h="635128">
                  <a:moveTo>
                    <a:pt x="2" y="630578"/>
                  </a:moveTo>
                  <a:cubicBezTo>
                    <a:pt x="35793" y="637505"/>
                    <a:pt x="87748" y="637505"/>
                    <a:pt x="138548" y="623651"/>
                  </a:cubicBezTo>
                  <a:cubicBezTo>
                    <a:pt x="189348" y="609797"/>
                    <a:pt x="250539" y="585552"/>
                    <a:pt x="304803" y="547452"/>
                  </a:cubicBezTo>
                  <a:cubicBezTo>
                    <a:pt x="359067" y="509352"/>
                    <a:pt x="428339" y="453933"/>
                    <a:pt x="464130" y="395051"/>
                  </a:cubicBezTo>
                  <a:cubicBezTo>
                    <a:pt x="499921" y="336169"/>
                    <a:pt x="521857" y="254196"/>
                    <a:pt x="519548" y="194160"/>
                  </a:cubicBezTo>
                  <a:cubicBezTo>
                    <a:pt x="517239" y="134124"/>
                    <a:pt x="488375" y="67160"/>
                    <a:pt x="450275" y="34833"/>
                  </a:cubicBezTo>
                  <a:cubicBezTo>
                    <a:pt x="412175" y="2506"/>
                    <a:pt x="353293" y="2506"/>
                    <a:pt x="290948" y="197"/>
                  </a:cubicBezTo>
                  <a:cubicBezTo>
                    <a:pt x="228603" y="-2112"/>
                    <a:pt x="120941" y="16649"/>
                    <a:pt x="76202" y="2097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p:cNvSpPr/>
            <p:nvPr/>
          </p:nvSpPr>
          <p:spPr bwMode="auto">
            <a:xfrm>
              <a:off x="2622973" y="2674633"/>
              <a:ext cx="249201" cy="250776"/>
            </a:xfrm>
            <a:custGeom>
              <a:avLst/>
              <a:gdLst>
                <a:gd name="connsiteX0" fmla="*/ 186170 w 727232"/>
                <a:gd name="connsiteY0" fmla="*/ 638603 h 742549"/>
                <a:gd name="connsiteX1" fmla="*/ 303934 w 727232"/>
                <a:gd name="connsiteY1" fmla="*/ 700948 h 742549"/>
                <a:gd name="connsiteX2" fmla="*/ 373206 w 727232"/>
                <a:gd name="connsiteY2" fmla="*/ 742512 h 742549"/>
                <a:gd name="connsiteX3" fmla="*/ 518679 w 727232"/>
                <a:gd name="connsiteY3" fmla="*/ 694021 h 742549"/>
                <a:gd name="connsiteX4" fmla="*/ 622588 w 727232"/>
                <a:gd name="connsiteY4" fmla="*/ 410003 h 742549"/>
                <a:gd name="connsiteX5" fmla="*/ 726497 w 727232"/>
                <a:gd name="connsiteY5" fmla="*/ 105203 h 742549"/>
                <a:gd name="connsiteX6" fmla="*/ 650297 w 727232"/>
                <a:gd name="connsiteY6" fmla="*/ 1294 h 742549"/>
                <a:gd name="connsiteX7" fmla="*/ 338570 w 727232"/>
                <a:gd name="connsiteY7" fmla="*/ 49785 h 742549"/>
                <a:gd name="connsiteX8" fmla="*/ 165388 w 727232"/>
                <a:gd name="connsiteY8" fmla="*/ 91348 h 742549"/>
                <a:gd name="connsiteX9" fmla="*/ 54552 w 727232"/>
                <a:gd name="connsiteY9" fmla="*/ 250676 h 742549"/>
                <a:gd name="connsiteX10" fmla="*/ 6061 w 727232"/>
                <a:gd name="connsiteY10" fmla="*/ 534694 h 742549"/>
                <a:gd name="connsiteX11" fmla="*/ 6061 w 727232"/>
                <a:gd name="connsiteY11" fmla="*/ 645530 h 742549"/>
                <a:gd name="connsiteX12" fmla="*/ 54552 w 727232"/>
                <a:gd name="connsiteY12" fmla="*/ 666312 h 742549"/>
                <a:gd name="connsiteX13" fmla="*/ 186170 w 727232"/>
                <a:gd name="connsiteY13" fmla="*/ 638603 h 742549"/>
                <a:gd name="connsiteX0" fmla="*/ 186170 w 726497"/>
                <a:gd name="connsiteY0" fmla="*/ 638603 h 742549"/>
                <a:gd name="connsiteX1" fmla="*/ 303934 w 726497"/>
                <a:gd name="connsiteY1" fmla="*/ 700948 h 742549"/>
                <a:gd name="connsiteX2" fmla="*/ 373206 w 726497"/>
                <a:gd name="connsiteY2" fmla="*/ 742512 h 742549"/>
                <a:gd name="connsiteX3" fmla="*/ 518679 w 726497"/>
                <a:gd name="connsiteY3" fmla="*/ 694021 h 742549"/>
                <a:gd name="connsiteX4" fmla="*/ 650297 w 726497"/>
                <a:gd name="connsiteY4" fmla="*/ 410003 h 742549"/>
                <a:gd name="connsiteX5" fmla="*/ 726497 w 726497"/>
                <a:gd name="connsiteY5" fmla="*/ 105203 h 742549"/>
                <a:gd name="connsiteX6" fmla="*/ 650297 w 726497"/>
                <a:gd name="connsiteY6" fmla="*/ 1294 h 742549"/>
                <a:gd name="connsiteX7" fmla="*/ 338570 w 726497"/>
                <a:gd name="connsiteY7" fmla="*/ 49785 h 742549"/>
                <a:gd name="connsiteX8" fmla="*/ 165388 w 726497"/>
                <a:gd name="connsiteY8" fmla="*/ 91348 h 742549"/>
                <a:gd name="connsiteX9" fmla="*/ 54552 w 726497"/>
                <a:gd name="connsiteY9" fmla="*/ 250676 h 742549"/>
                <a:gd name="connsiteX10" fmla="*/ 6061 w 726497"/>
                <a:gd name="connsiteY10" fmla="*/ 534694 h 742549"/>
                <a:gd name="connsiteX11" fmla="*/ 6061 w 726497"/>
                <a:gd name="connsiteY11" fmla="*/ 645530 h 742549"/>
                <a:gd name="connsiteX12" fmla="*/ 54552 w 726497"/>
                <a:gd name="connsiteY12" fmla="*/ 666312 h 742549"/>
                <a:gd name="connsiteX13" fmla="*/ 186170 w 726497"/>
                <a:gd name="connsiteY13" fmla="*/ 638603 h 742549"/>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64791 w 736736"/>
                <a:gd name="connsiteY12" fmla="*/ 666833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92500 w 736736"/>
                <a:gd name="connsiteY12" fmla="*/ 659906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196409 w 736736"/>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405" h="743070">
                  <a:moveTo>
                    <a:pt x="198078" y="639124"/>
                  </a:moveTo>
                  <a:cubicBezTo>
                    <a:pt x="248878" y="649515"/>
                    <a:pt x="284669" y="684151"/>
                    <a:pt x="315842" y="701469"/>
                  </a:cubicBezTo>
                  <a:cubicBezTo>
                    <a:pt x="347015" y="718787"/>
                    <a:pt x="349323" y="744187"/>
                    <a:pt x="385114" y="743033"/>
                  </a:cubicBezTo>
                  <a:cubicBezTo>
                    <a:pt x="420905" y="741879"/>
                    <a:pt x="484405" y="749960"/>
                    <a:pt x="530587" y="694542"/>
                  </a:cubicBezTo>
                  <a:cubicBezTo>
                    <a:pt x="576769" y="639124"/>
                    <a:pt x="627569" y="508660"/>
                    <a:pt x="662205" y="410524"/>
                  </a:cubicBezTo>
                  <a:cubicBezTo>
                    <a:pt x="696841" y="312388"/>
                    <a:pt x="738405" y="173842"/>
                    <a:pt x="738405" y="105724"/>
                  </a:cubicBezTo>
                  <a:cubicBezTo>
                    <a:pt x="738405" y="37606"/>
                    <a:pt x="726860" y="12206"/>
                    <a:pt x="662205" y="1815"/>
                  </a:cubicBezTo>
                  <a:cubicBezTo>
                    <a:pt x="597550" y="-8576"/>
                    <a:pt x="431296" y="28370"/>
                    <a:pt x="350478" y="43379"/>
                  </a:cubicBezTo>
                  <a:cubicBezTo>
                    <a:pt x="269660" y="58388"/>
                    <a:pt x="224632" y="57233"/>
                    <a:pt x="177296" y="91869"/>
                  </a:cubicBezTo>
                  <a:cubicBezTo>
                    <a:pt x="129960" y="126505"/>
                    <a:pt x="95323" y="180770"/>
                    <a:pt x="66460" y="251197"/>
                  </a:cubicBezTo>
                  <a:cubicBezTo>
                    <a:pt x="37597" y="321624"/>
                    <a:pt x="13352" y="449779"/>
                    <a:pt x="4115" y="514433"/>
                  </a:cubicBezTo>
                  <a:cubicBezTo>
                    <a:pt x="-5122" y="579087"/>
                    <a:pt x="2959" y="617187"/>
                    <a:pt x="11041" y="639123"/>
                  </a:cubicBezTo>
                  <a:cubicBezTo>
                    <a:pt x="43368" y="659905"/>
                    <a:pt x="147278" y="628733"/>
                    <a:pt x="198078" y="63912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Freeform: Shape 98"/>
            <p:cNvSpPr/>
            <p:nvPr/>
          </p:nvSpPr>
          <p:spPr bwMode="auto">
            <a:xfrm>
              <a:off x="2689151" y="2705638"/>
              <a:ext cx="183024" cy="194042"/>
            </a:xfrm>
            <a:custGeom>
              <a:avLst/>
              <a:gdLst>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34637 h 574964"/>
                <a:gd name="connsiteX6" fmla="*/ 542316 w 542316"/>
                <a:gd name="connsiteY6" fmla="*/ 0 h 574964"/>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 name="connsiteX0" fmla="*/ 292935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316" h="574964">
                  <a:moveTo>
                    <a:pt x="292935" y="574964"/>
                  </a:moveTo>
                  <a:cubicBezTo>
                    <a:pt x="212117" y="559378"/>
                    <a:pt x="119753" y="543792"/>
                    <a:pt x="71262" y="540328"/>
                  </a:cubicBezTo>
                  <a:cubicBezTo>
                    <a:pt x="22771" y="536864"/>
                    <a:pt x="10071" y="596900"/>
                    <a:pt x="1989" y="554182"/>
                  </a:cubicBezTo>
                  <a:cubicBezTo>
                    <a:pt x="-6093" y="511464"/>
                    <a:pt x="12380" y="360219"/>
                    <a:pt x="22771" y="284019"/>
                  </a:cubicBezTo>
                  <a:cubicBezTo>
                    <a:pt x="33162" y="207819"/>
                    <a:pt x="15843" y="140854"/>
                    <a:pt x="64334" y="96982"/>
                  </a:cubicBezTo>
                  <a:cubicBezTo>
                    <a:pt x="112825" y="53110"/>
                    <a:pt x="234052" y="36947"/>
                    <a:pt x="313716" y="20783"/>
                  </a:cubicBezTo>
                  <a:cubicBezTo>
                    <a:pt x="393380" y="4619"/>
                    <a:pt x="467848" y="9236"/>
                    <a:pt x="542316"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p:cNvSpPr/>
            <p:nvPr/>
          </p:nvSpPr>
          <p:spPr bwMode="auto">
            <a:xfrm>
              <a:off x="2418630" y="3023586"/>
              <a:ext cx="579789" cy="18703"/>
            </a:xfrm>
            <a:custGeom>
              <a:avLst/>
              <a:gdLst>
                <a:gd name="connsiteX0" fmla="*/ 0 w 1717964"/>
                <a:gd name="connsiteY0" fmla="*/ 0 h 55419"/>
                <a:gd name="connsiteX1" fmla="*/ 1717964 w 1717964"/>
                <a:gd name="connsiteY1" fmla="*/ 55419 h 55419"/>
              </a:gdLst>
              <a:ahLst/>
              <a:cxnLst>
                <a:cxn ang="0">
                  <a:pos x="connsiteX0" y="connsiteY0"/>
                </a:cxn>
                <a:cxn ang="0">
                  <a:pos x="connsiteX1" y="connsiteY1"/>
                </a:cxn>
              </a:cxnLst>
              <a:rect l="l" t="t" r="r" b="b"/>
              <a:pathLst>
                <a:path w="1717964" h="55419">
                  <a:moveTo>
                    <a:pt x="0" y="0"/>
                  </a:moveTo>
                  <a:lnTo>
                    <a:pt x="1717964" y="55419"/>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p:cNvSpPr/>
            <p:nvPr/>
          </p:nvSpPr>
          <p:spPr bwMode="auto">
            <a:xfrm>
              <a:off x="2486428" y="2668232"/>
              <a:ext cx="96525" cy="294591"/>
            </a:xfrm>
            <a:custGeom>
              <a:avLst/>
              <a:gdLst>
                <a:gd name="connsiteX0" fmla="*/ 0 w 286013"/>
                <a:gd name="connsiteY0" fmla="*/ 755073 h 872900"/>
                <a:gd name="connsiteX1" fmla="*/ 131618 w 286013"/>
                <a:gd name="connsiteY1" fmla="*/ 872836 h 872900"/>
                <a:gd name="connsiteX2" fmla="*/ 235527 w 286013"/>
                <a:gd name="connsiteY2" fmla="*/ 741218 h 872900"/>
                <a:gd name="connsiteX3" fmla="*/ 270164 w 286013"/>
                <a:gd name="connsiteY3" fmla="*/ 277091 h 872900"/>
                <a:gd name="connsiteX4" fmla="*/ 284018 w 286013"/>
                <a:gd name="connsiteY4" fmla="*/ 117764 h 872900"/>
                <a:gd name="connsiteX5" fmla="*/ 228600 w 286013"/>
                <a:gd name="connsiteY5" fmla="*/ 41564 h 872900"/>
                <a:gd name="connsiteX6" fmla="*/ 166255 w 286013"/>
                <a:gd name="connsiteY6" fmla="*/ 0 h 87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013" h="872900">
                  <a:moveTo>
                    <a:pt x="0" y="755073"/>
                  </a:moveTo>
                  <a:cubicBezTo>
                    <a:pt x="46181" y="815109"/>
                    <a:pt x="92363" y="875145"/>
                    <a:pt x="131618" y="872836"/>
                  </a:cubicBezTo>
                  <a:cubicBezTo>
                    <a:pt x="170873" y="870527"/>
                    <a:pt x="212436" y="840509"/>
                    <a:pt x="235527" y="741218"/>
                  </a:cubicBezTo>
                  <a:cubicBezTo>
                    <a:pt x="258618" y="641927"/>
                    <a:pt x="262082" y="381000"/>
                    <a:pt x="270164" y="277091"/>
                  </a:cubicBezTo>
                  <a:cubicBezTo>
                    <a:pt x="278246" y="173182"/>
                    <a:pt x="290945" y="157018"/>
                    <a:pt x="284018" y="117764"/>
                  </a:cubicBezTo>
                  <a:cubicBezTo>
                    <a:pt x="277091" y="78510"/>
                    <a:pt x="248227" y="61191"/>
                    <a:pt x="228600" y="41564"/>
                  </a:cubicBezTo>
                  <a:cubicBezTo>
                    <a:pt x="208973" y="21937"/>
                    <a:pt x="187614" y="10968"/>
                    <a:pt x="166255" y="0"/>
                  </a:cubicBezTo>
                </a:path>
              </a:pathLst>
            </a:custGeom>
            <a:noFill/>
            <a:ln w="19050"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p:cNvSpPr/>
            <p:nvPr/>
          </p:nvSpPr>
          <p:spPr bwMode="auto">
            <a:xfrm>
              <a:off x="2542537" y="3241007"/>
              <a:ext cx="39743" cy="184690"/>
            </a:xfrm>
            <a:custGeom>
              <a:avLst/>
              <a:gdLst>
                <a:gd name="connsiteX0" fmla="*/ 0 w 117763"/>
                <a:gd name="connsiteY0" fmla="*/ 0 h 547254"/>
                <a:gd name="connsiteX1" fmla="*/ 117763 w 117763"/>
                <a:gd name="connsiteY1" fmla="*/ 547254 h 547254"/>
              </a:gdLst>
              <a:ahLst/>
              <a:cxnLst>
                <a:cxn ang="0">
                  <a:pos x="connsiteX0" y="connsiteY0"/>
                </a:cxn>
                <a:cxn ang="0">
                  <a:pos x="connsiteX1" y="connsiteY1"/>
                </a:cxn>
              </a:cxnLst>
              <a:rect l="l" t="t" r="r" b="b"/>
              <a:pathLst>
                <a:path w="117763" h="547254">
                  <a:moveTo>
                    <a:pt x="0" y="0"/>
                  </a:moveTo>
                  <a:lnTo>
                    <a:pt x="117763" y="547254"/>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p:cNvSpPr/>
            <p:nvPr/>
          </p:nvSpPr>
          <p:spPr bwMode="auto">
            <a:xfrm>
              <a:off x="4412823" y="2324567"/>
              <a:ext cx="944494" cy="34502"/>
            </a:xfrm>
            <a:custGeom>
              <a:avLst/>
              <a:gdLst>
                <a:gd name="connsiteX0" fmla="*/ 0 w 2798618"/>
                <a:gd name="connsiteY0" fmla="*/ 0 h 102233"/>
                <a:gd name="connsiteX1" fmla="*/ 491836 w 2798618"/>
                <a:gd name="connsiteY1" fmla="*/ 96982 h 102233"/>
                <a:gd name="connsiteX2" fmla="*/ 1260764 w 2798618"/>
                <a:gd name="connsiteY2" fmla="*/ 90054 h 102233"/>
                <a:gd name="connsiteX3" fmla="*/ 2410691 w 2798618"/>
                <a:gd name="connsiteY3" fmla="*/ 62345 h 102233"/>
                <a:gd name="connsiteX4" fmla="*/ 2798618 w 2798618"/>
                <a:gd name="connsiteY4" fmla="*/ 41564 h 102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618" h="102233">
                  <a:moveTo>
                    <a:pt x="0" y="0"/>
                  </a:moveTo>
                  <a:cubicBezTo>
                    <a:pt x="140854" y="40986"/>
                    <a:pt x="281709" y="81973"/>
                    <a:pt x="491836" y="96982"/>
                  </a:cubicBezTo>
                  <a:cubicBezTo>
                    <a:pt x="701963" y="111991"/>
                    <a:pt x="1260764" y="90054"/>
                    <a:pt x="1260764" y="90054"/>
                  </a:cubicBezTo>
                  <a:lnTo>
                    <a:pt x="2410691" y="62345"/>
                  </a:lnTo>
                  <a:cubicBezTo>
                    <a:pt x="2667000" y="54263"/>
                    <a:pt x="2732809" y="47913"/>
                    <a:pt x="2798618" y="415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p:cNvSpPr/>
            <p:nvPr/>
          </p:nvSpPr>
          <p:spPr bwMode="auto">
            <a:xfrm>
              <a:off x="5287181" y="2287162"/>
              <a:ext cx="757466" cy="28054"/>
            </a:xfrm>
            <a:custGeom>
              <a:avLst/>
              <a:gdLst>
                <a:gd name="connsiteX0" fmla="*/ 0 w 2244436"/>
                <a:gd name="connsiteY0" fmla="*/ 83127 h 83127"/>
                <a:gd name="connsiteX1" fmla="*/ 2244436 w 2244436"/>
                <a:gd name="connsiteY1" fmla="*/ 0 h 83127"/>
              </a:gdLst>
              <a:ahLst/>
              <a:cxnLst>
                <a:cxn ang="0">
                  <a:pos x="connsiteX0" y="connsiteY0"/>
                </a:cxn>
                <a:cxn ang="0">
                  <a:pos x="connsiteX1" y="connsiteY1"/>
                </a:cxn>
              </a:cxnLst>
              <a:rect l="l" t="t" r="r" b="b"/>
              <a:pathLst>
                <a:path w="2244436" h="83127">
                  <a:moveTo>
                    <a:pt x="0" y="83127"/>
                  </a:moveTo>
                  <a:lnTo>
                    <a:pt x="2244436"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p:cNvSpPr/>
            <p:nvPr/>
          </p:nvSpPr>
          <p:spPr bwMode="auto">
            <a:xfrm>
              <a:off x="5263802" y="1733199"/>
              <a:ext cx="1980165" cy="549152"/>
            </a:xfrm>
            <a:custGeom>
              <a:avLst/>
              <a:gdLst>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52054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3124 h 1630811"/>
                <a:gd name="connsiteX1" fmla="*/ 3131127 w 5867400"/>
                <a:gd name="connsiteY1" fmla="*/ 1613179 h 1630811"/>
                <a:gd name="connsiteX2" fmla="*/ 2957946 w 5867400"/>
                <a:gd name="connsiteY2" fmla="*/ 1620106 h 1630811"/>
                <a:gd name="connsiteX3" fmla="*/ 2999509 w 5867400"/>
                <a:gd name="connsiteY3" fmla="*/ 1495415 h 1630811"/>
                <a:gd name="connsiteX4" fmla="*/ 3096491 w 5867400"/>
                <a:gd name="connsiteY4" fmla="*/ 1252961 h 1630811"/>
                <a:gd name="connsiteX5" fmla="*/ 3435927 w 5867400"/>
                <a:gd name="connsiteY5" fmla="*/ 151524 h 1630811"/>
                <a:gd name="connsiteX6" fmla="*/ 3477491 w 5867400"/>
                <a:gd name="connsiteY6" fmla="*/ 12979 h 1630811"/>
                <a:gd name="connsiteX7" fmla="*/ 3290455 w 5867400"/>
                <a:gd name="connsiteY7" fmla="*/ 12978 h 1630811"/>
                <a:gd name="connsiteX8" fmla="*/ 2244437 w 5867400"/>
                <a:gd name="connsiteY8" fmla="*/ 75324 h 1630811"/>
                <a:gd name="connsiteX9" fmla="*/ 1461655 w 5867400"/>
                <a:gd name="connsiteY9" fmla="*/ 227724 h 1630811"/>
                <a:gd name="connsiteX10" fmla="*/ 852054 w 5867400"/>
                <a:gd name="connsiteY10" fmla="*/ 463251 h 1630811"/>
                <a:gd name="connsiteX11" fmla="*/ 228600 w 5867400"/>
                <a:gd name="connsiteY11" fmla="*/ 830397 h 1630811"/>
                <a:gd name="connsiteX12" fmla="*/ 0 w 5867400"/>
                <a:gd name="connsiteY12" fmla="*/ 968942 h 1630811"/>
                <a:gd name="connsiteX0" fmla="*/ 5867400 w 5867400"/>
                <a:gd name="connsiteY0" fmla="*/ 1536065 h 1643752"/>
                <a:gd name="connsiteX1" fmla="*/ 3131127 w 5867400"/>
                <a:gd name="connsiteY1" fmla="*/ 1626120 h 1643752"/>
                <a:gd name="connsiteX2" fmla="*/ 2957946 w 5867400"/>
                <a:gd name="connsiteY2" fmla="*/ 1633047 h 1643752"/>
                <a:gd name="connsiteX3" fmla="*/ 2999509 w 5867400"/>
                <a:gd name="connsiteY3" fmla="*/ 1508356 h 1643752"/>
                <a:gd name="connsiteX4" fmla="*/ 3096491 w 5867400"/>
                <a:gd name="connsiteY4" fmla="*/ 1265902 h 1643752"/>
                <a:gd name="connsiteX5" fmla="*/ 3435927 w 5867400"/>
                <a:gd name="connsiteY5" fmla="*/ 164465 h 1643752"/>
                <a:gd name="connsiteX6" fmla="*/ 3477491 w 5867400"/>
                <a:gd name="connsiteY6" fmla="*/ 25920 h 1643752"/>
                <a:gd name="connsiteX7" fmla="*/ 3290455 w 5867400"/>
                <a:gd name="connsiteY7" fmla="*/ 5137 h 1643752"/>
                <a:gd name="connsiteX8" fmla="*/ 2244437 w 5867400"/>
                <a:gd name="connsiteY8" fmla="*/ 88265 h 1643752"/>
                <a:gd name="connsiteX9" fmla="*/ 1461655 w 5867400"/>
                <a:gd name="connsiteY9" fmla="*/ 240665 h 1643752"/>
                <a:gd name="connsiteX10" fmla="*/ 852054 w 5867400"/>
                <a:gd name="connsiteY10" fmla="*/ 476192 h 1643752"/>
                <a:gd name="connsiteX11" fmla="*/ 228600 w 5867400"/>
                <a:gd name="connsiteY11" fmla="*/ 843338 h 1643752"/>
                <a:gd name="connsiteX12" fmla="*/ 0 w 5867400"/>
                <a:gd name="connsiteY12" fmla="*/ 981883 h 1643752"/>
                <a:gd name="connsiteX0" fmla="*/ 5867400 w 5867400"/>
                <a:gd name="connsiteY0" fmla="*/ 1523125 h 1630812"/>
                <a:gd name="connsiteX1" fmla="*/ 3131127 w 5867400"/>
                <a:gd name="connsiteY1" fmla="*/ 1613180 h 1630812"/>
                <a:gd name="connsiteX2" fmla="*/ 2957946 w 5867400"/>
                <a:gd name="connsiteY2" fmla="*/ 1620107 h 1630812"/>
                <a:gd name="connsiteX3" fmla="*/ 2999509 w 5867400"/>
                <a:gd name="connsiteY3" fmla="*/ 1495416 h 1630812"/>
                <a:gd name="connsiteX4" fmla="*/ 3096491 w 5867400"/>
                <a:gd name="connsiteY4" fmla="*/ 1252962 h 1630812"/>
                <a:gd name="connsiteX5" fmla="*/ 3435927 w 5867400"/>
                <a:gd name="connsiteY5" fmla="*/ 151525 h 1630812"/>
                <a:gd name="connsiteX6" fmla="*/ 3477491 w 5867400"/>
                <a:gd name="connsiteY6" fmla="*/ 12980 h 1630812"/>
                <a:gd name="connsiteX7" fmla="*/ 3290455 w 5867400"/>
                <a:gd name="connsiteY7" fmla="*/ 12979 h 1630812"/>
                <a:gd name="connsiteX8" fmla="*/ 2244437 w 5867400"/>
                <a:gd name="connsiteY8" fmla="*/ 75325 h 1630812"/>
                <a:gd name="connsiteX9" fmla="*/ 1461655 w 5867400"/>
                <a:gd name="connsiteY9" fmla="*/ 227725 h 1630812"/>
                <a:gd name="connsiteX10" fmla="*/ 852054 w 5867400"/>
                <a:gd name="connsiteY10" fmla="*/ 463252 h 1630812"/>
                <a:gd name="connsiteX11" fmla="*/ 228600 w 5867400"/>
                <a:gd name="connsiteY11" fmla="*/ 830398 h 1630812"/>
                <a:gd name="connsiteX12" fmla="*/ 0 w 5867400"/>
                <a:gd name="connsiteY12" fmla="*/ 968943 h 1630812"/>
                <a:gd name="connsiteX0" fmla="*/ 5867400 w 5867400"/>
                <a:gd name="connsiteY0" fmla="*/ 1518398 h 1626085"/>
                <a:gd name="connsiteX1" fmla="*/ 3131127 w 5867400"/>
                <a:gd name="connsiteY1" fmla="*/ 1608453 h 1626085"/>
                <a:gd name="connsiteX2" fmla="*/ 2957946 w 5867400"/>
                <a:gd name="connsiteY2" fmla="*/ 1615380 h 1626085"/>
                <a:gd name="connsiteX3" fmla="*/ 2999509 w 5867400"/>
                <a:gd name="connsiteY3" fmla="*/ 1490689 h 1626085"/>
                <a:gd name="connsiteX4" fmla="*/ 3096491 w 5867400"/>
                <a:gd name="connsiteY4" fmla="*/ 1248235 h 1626085"/>
                <a:gd name="connsiteX5" fmla="*/ 3435927 w 5867400"/>
                <a:gd name="connsiteY5" fmla="*/ 146798 h 1626085"/>
                <a:gd name="connsiteX6" fmla="*/ 3477491 w 5867400"/>
                <a:gd name="connsiteY6" fmla="*/ 8253 h 1626085"/>
                <a:gd name="connsiteX7" fmla="*/ 3290455 w 5867400"/>
                <a:gd name="connsiteY7" fmla="*/ 8252 h 1626085"/>
                <a:gd name="connsiteX8" fmla="*/ 2244437 w 5867400"/>
                <a:gd name="connsiteY8" fmla="*/ 70598 h 1626085"/>
                <a:gd name="connsiteX9" fmla="*/ 1461655 w 5867400"/>
                <a:gd name="connsiteY9" fmla="*/ 222998 h 1626085"/>
                <a:gd name="connsiteX10" fmla="*/ 852054 w 5867400"/>
                <a:gd name="connsiteY10" fmla="*/ 458525 h 1626085"/>
                <a:gd name="connsiteX11" fmla="*/ 228600 w 5867400"/>
                <a:gd name="connsiteY11" fmla="*/ 825671 h 1626085"/>
                <a:gd name="connsiteX12" fmla="*/ 0 w 5867400"/>
                <a:gd name="connsiteY12" fmla="*/ 964216 h 1626085"/>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96491 w 5867400"/>
                <a:gd name="connsiteY4" fmla="*/ 1250173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89564 w 5867400"/>
                <a:gd name="connsiteY4" fmla="*/ 1208609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30893 h 1638580"/>
                <a:gd name="connsiteX1" fmla="*/ 3131127 w 5867400"/>
                <a:gd name="connsiteY1" fmla="*/ 1620948 h 1638580"/>
                <a:gd name="connsiteX2" fmla="*/ 2957946 w 5867400"/>
                <a:gd name="connsiteY2" fmla="*/ 1627875 h 1638580"/>
                <a:gd name="connsiteX3" fmla="*/ 2999509 w 5867400"/>
                <a:gd name="connsiteY3" fmla="*/ 1503184 h 1638580"/>
                <a:gd name="connsiteX4" fmla="*/ 3089564 w 5867400"/>
                <a:gd name="connsiteY4" fmla="*/ 1219166 h 1638580"/>
                <a:gd name="connsiteX5" fmla="*/ 3435927 w 5867400"/>
                <a:gd name="connsiteY5" fmla="*/ 159293 h 1638580"/>
                <a:gd name="connsiteX6" fmla="*/ 3463636 w 5867400"/>
                <a:gd name="connsiteY6" fmla="*/ 13821 h 1638580"/>
                <a:gd name="connsiteX7" fmla="*/ 3290455 w 5867400"/>
                <a:gd name="connsiteY7" fmla="*/ 13819 h 1638580"/>
                <a:gd name="connsiteX8" fmla="*/ 2244437 w 5867400"/>
                <a:gd name="connsiteY8" fmla="*/ 83093 h 1638580"/>
                <a:gd name="connsiteX9" fmla="*/ 1461655 w 5867400"/>
                <a:gd name="connsiteY9" fmla="*/ 235493 h 1638580"/>
                <a:gd name="connsiteX10" fmla="*/ 852054 w 5867400"/>
                <a:gd name="connsiteY10" fmla="*/ 471020 h 1638580"/>
                <a:gd name="connsiteX11" fmla="*/ 228600 w 5867400"/>
                <a:gd name="connsiteY11" fmla="*/ 838166 h 1638580"/>
                <a:gd name="connsiteX12" fmla="*/ 0 w 5867400"/>
                <a:gd name="connsiteY12" fmla="*/ 976711 h 1638580"/>
                <a:gd name="connsiteX0" fmla="*/ 5867400 w 5867400"/>
                <a:gd name="connsiteY0" fmla="*/ 1539905 h 1647592"/>
                <a:gd name="connsiteX1" fmla="*/ 3131127 w 5867400"/>
                <a:gd name="connsiteY1" fmla="*/ 1629960 h 1647592"/>
                <a:gd name="connsiteX2" fmla="*/ 2957946 w 5867400"/>
                <a:gd name="connsiteY2" fmla="*/ 1636887 h 1647592"/>
                <a:gd name="connsiteX3" fmla="*/ 2999509 w 5867400"/>
                <a:gd name="connsiteY3" fmla="*/ 1512196 h 1647592"/>
                <a:gd name="connsiteX4" fmla="*/ 3089564 w 5867400"/>
                <a:gd name="connsiteY4" fmla="*/ 1228178 h 1647592"/>
                <a:gd name="connsiteX5" fmla="*/ 3435927 w 5867400"/>
                <a:gd name="connsiteY5" fmla="*/ 168305 h 1647592"/>
                <a:gd name="connsiteX6" fmla="*/ 3463636 w 5867400"/>
                <a:gd name="connsiteY6" fmla="*/ 22833 h 1647592"/>
                <a:gd name="connsiteX7" fmla="*/ 3290455 w 5867400"/>
                <a:gd name="connsiteY7" fmla="*/ 22831 h 1647592"/>
                <a:gd name="connsiteX8" fmla="*/ 2244437 w 5867400"/>
                <a:gd name="connsiteY8" fmla="*/ 92105 h 1647592"/>
                <a:gd name="connsiteX9" fmla="*/ 1461655 w 5867400"/>
                <a:gd name="connsiteY9" fmla="*/ 244505 h 1647592"/>
                <a:gd name="connsiteX10" fmla="*/ 852054 w 5867400"/>
                <a:gd name="connsiteY10" fmla="*/ 480032 h 1647592"/>
                <a:gd name="connsiteX11" fmla="*/ 228600 w 5867400"/>
                <a:gd name="connsiteY11" fmla="*/ 847178 h 1647592"/>
                <a:gd name="connsiteX12" fmla="*/ 0 w 5867400"/>
                <a:gd name="connsiteY12" fmla="*/ 985723 h 1647592"/>
                <a:gd name="connsiteX0" fmla="*/ 5867400 w 5867400"/>
                <a:gd name="connsiteY0" fmla="*/ 1530604 h 1638291"/>
                <a:gd name="connsiteX1" fmla="*/ 3131127 w 5867400"/>
                <a:gd name="connsiteY1" fmla="*/ 1620659 h 1638291"/>
                <a:gd name="connsiteX2" fmla="*/ 2957946 w 5867400"/>
                <a:gd name="connsiteY2" fmla="*/ 1627586 h 1638291"/>
                <a:gd name="connsiteX3" fmla="*/ 2999509 w 5867400"/>
                <a:gd name="connsiteY3" fmla="*/ 1502895 h 1638291"/>
                <a:gd name="connsiteX4" fmla="*/ 3089564 w 5867400"/>
                <a:gd name="connsiteY4" fmla="*/ 1218877 h 1638291"/>
                <a:gd name="connsiteX5" fmla="*/ 3435927 w 5867400"/>
                <a:gd name="connsiteY5" fmla="*/ 159004 h 1638291"/>
                <a:gd name="connsiteX6" fmla="*/ 3470563 w 5867400"/>
                <a:gd name="connsiteY6" fmla="*/ 27387 h 1638291"/>
                <a:gd name="connsiteX7" fmla="*/ 3290455 w 5867400"/>
                <a:gd name="connsiteY7" fmla="*/ 13530 h 1638291"/>
                <a:gd name="connsiteX8" fmla="*/ 2244437 w 5867400"/>
                <a:gd name="connsiteY8" fmla="*/ 82804 h 1638291"/>
                <a:gd name="connsiteX9" fmla="*/ 1461655 w 5867400"/>
                <a:gd name="connsiteY9" fmla="*/ 235204 h 1638291"/>
                <a:gd name="connsiteX10" fmla="*/ 852054 w 5867400"/>
                <a:gd name="connsiteY10" fmla="*/ 470731 h 1638291"/>
                <a:gd name="connsiteX11" fmla="*/ 228600 w 5867400"/>
                <a:gd name="connsiteY11" fmla="*/ 837877 h 1638291"/>
                <a:gd name="connsiteX12" fmla="*/ 0 w 5867400"/>
                <a:gd name="connsiteY12" fmla="*/ 976422 h 1638291"/>
                <a:gd name="connsiteX0" fmla="*/ 5867400 w 5867400"/>
                <a:gd name="connsiteY0" fmla="*/ 1530604 h 1659202"/>
                <a:gd name="connsiteX1" fmla="*/ 3131127 w 5867400"/>
                <a:gd name="connsiteY1" fmla="*/ 1620659 h 1659202"/>
                <a:gd name="connsiteX2" fmla="*/ 2957946 w 5867400"/>
                <a:gd name="connsiteY2" fmla="*/ 1627586 h 1659202"/>
                <a:gd name="connsiteX3" fmla="*/ 3089564 w 5867400"/>
                <a:gd name="connsiteY3" fmla="*/ 1218877 h 1659202"/>
                <a:gd name="connsiteX4" fmla="*/ 3435927 w 5867400"/>
                <a:gd name="connsiteY4" fmla="*/ 159004 h 1659202"/>
                <a:gd name="connsiteX5" fmla="*/ 3470563 w 5867400"/>
                <a:gd name="connsiteY5" fmla="*/ 27387 h 1659202"/>
                <a:gd name="connsiteX6" fmla="*/ 3290455 w 5867400"/>
                <a:gd name="connsiteY6" fmla="*/ 13530 h 1659202"/>
                <a:gd name="connsiteX7" fmla="*/ 2244437 w 5867400"/>
                <a:gd name="connsiteY7" fmla="*/ 82804 h 1659202"/>
                <a:gd name="connsiteX8" fmla="*/ 1461655 w 5867400"/>
                <a:gd name="connsiteY8" fmla="*/ 235204 h 1659202"/>
                <a:gd name="connsiteX9" fmla="*/ 852054 w 5867400"/>
                <a:gd name="connsiteY9" fmla="*/ 470731 h 1659202"/>
                <a:gd name="connsiteX10" fmla="*/ 228600 w 5867400"/>
                <a:gd name="connsiteY10" fmla="*/ 837877 h 1659202"/>
                <a:gd name="connsiteX11" fmla="*/ 0 w 5867400"/>
                <a:gd name="connsiteY11" fmla="*/ 976422 h 1659202"/>
                <a:gd name="connsiteX0" fmla="*/ 5867400 w 5867400"/>
                <a:gd name="connsiteY0" fmla="*/ 1530604 h 1665349"/>
                <a:gd name="connsiteX1" fmla="*/ 3131127 w 5867400"/>
                <a:gd name="connsiteY1" fmla="*/ 1620659 h 1665349"/>
                <a:gd name="connsiteX2" fmla="*/ 2957946 w 5867400"/>
                <a:gd name="connsiteY2" fmla="*/ 1627586 h 1665349"/>
                <a:gd name="connsiteX3" fmla="*/ 3089564 w 5867400"/>
                <a:gd name="connsiteY3" fmla="*/ 1218877 h 1665349"/>
                <a:gd name="connsiteX4" fmla="*/ 3435927 w 5867400"/>
                <a:gd name="connsiteY4" fmla="*/ 159004 h 1665349"/>
                <a:gd name="connsiteX5" fmla="*/ 3470563 w 5867400"/>
                <a:gd name="connsiteY5" fmla="*/ 27387 h 1665349"/>
                <a:gd name="connsiteX6" fmla="*/ 3290455 w 5867400"/>
                <a:gd name="connsiteY6" fmla="*/ 13530 h 1665349"/>
                <a:gd name="connsiteX7" fmla="*/ 2244437 w 5867400"/>
                <a:gd name="connsiteY7" fmla="*/ 82804 h 1665349"/>
                <a:gd name="connsiteX8" fmla="*/ 1461655 w 5867400"/>
                <a:gd name="connsiteY8" fmla="*/ 235204 h 1665349"/>
                <a:gd name="connsiteX9" fmla="*/ 852054 w 5867400"/>
                <a:gd name="connsiteY9" fmla="*/ 470731 h 1665349"/>
                <a:gd name="connsiteX10" fmla="*/ 228600 w 5867400"/>
                <a:gd name="connsiteY10" fmla="*/ 837877 h 1665349"/>
                <a:gd name="connsiteX11" fmla="*/ 0 w 5867400"/>
                <a:gd name="connsiteY11" fmla="*/ 976422 h 1665349"/>
                <a:gd name="connsiteX0" fmla="*/ 5867400 w 5867400"/>
                <a:gd name="connsiteY0" fmla="*/ 1530604 h 1650866"/>
                <a:gd name="connsiteX1" fmla="*/ 3789218 w 5867400"/>
                <a:gd name="connsiteY1" fmla="*/ 1592950 h 1650866"/>
                <a:gd name="connsiteX2" fmla="*/ 2957946 w 5867400"/>
                <a:gd name="connsiteY2" fmla="*/ 1627586 h 1650866"/>
                <a:gd name="connsiteX3" fmla="*/ 3089564 w 5867400"/>
                <a:gd name="connsiteY3" fmla="*/ 1218877 h 1650866"/>
                <a:gd name="connsiteX4" fmla="*/ 3435927 w 5867400"/>
                <a:gd name="connsiteY4" fmla="*/ 159004 h 1650866"/>
                <a:gd name="connsiteX5" fmla="*/ 3470563 w 5867400"/>
                <a:gd name="connsiteY5" fmla="*/ 27387 h 1650866"/>
                <a:gd name="connsiteX6" fmla="*/ 3290455 w 5867400"/>
                <a:gd name="connsiteY6" fmla="*/ 13530 h 1650866"/>
                <a:gd name="connsiteX7" fmla="*/ 2244437 w 5867400"/>
                <a:gd name="connsiteY7" fmla="*/ 82804 h 1650866"/>
                <a:gd name="connsiteX8" fmla="*/ 1461655 w 5867400"/>
                <a:gd name="connsiteY8" fmla="*/ 235204 h 1650866"/>
                <a:gd name="connsiteX9" fmla="*/ 852054 w 5867400"/>
                <a:gd name="connsiteY9" fmla="*/ 470731 h 1650866"/>
                <a:gd name="connsiteX10" fmla="*/ 228600 w 5867400"/>
                <a:gd name="connsiteY10" fmla="*/ 837877 h 1650866"/>
                <a:gd name="connsiteX11" fmla="*/ 0 w 5867400"/>
                <a:gd name="connsiteY11" fmla="*/ 976422 h 1650866"/>
                <a:gd name="connsiteX0" fmla="*/ 5867400 w 5867400"/>
                <a:gd name="connsiteY0" fmla="*/ 1530604 h 1639086"/>
                <a:gd name="connsiteX1" fmla="*/ 3789218 w 5867400"/>
                <a:gd name="connsiteY1" fmla="*/ 1592950 h 1639086"/>
                <a:gd name="connsiteX2" fmla="*/ 2957946 w 5867400"/>
                <a:gd name="connsiteY2" fmla="*/ 1627586 h 1639086"/>
                <a:gd name="connsiteX3" fmla="*/ 3089564 w 5867400"/>
                <a:gd name="connsiteY3" fmla="*/ 1218877 h 1639086"/>
                <a:gd name="connsiteX4" fmla="*/ 3435927 w 5867400"/>
                <a:gd name="connsiteY4" fmla="*/ 159004 h 1639086"/>
                <a:gd name="connsiteX5" fmla="*/ 3470563 w 5867400"/>
                <a:gd name="connsiteY5" fmla="*/ 27387 h 1639086"/>
                <a:gd name="connsiteX6" fmla="*/ 3290455 w 5867400"/>
                <a:gd name="connsiteY6" fmla="*/ 13530 h 1639086"/>
                <a:gd name="connsiteX7" fmla="*/ 2244437 w 5867400"/>
                <a:gd name="connsiteY7" fmla="*/ 82804 h 1639086"/>
                <a:gd name="connsiteX8" fmla="*/ 1461655 w 5867400"/>
                <a:gd name="connsiteY8" fmla="*/ 235204 h 1639086"/>
                <a:gd name="connsiteX9" fmla="*/ 852054 w 5867400"/>
                <a:gd name="connsiteY9" fmla="*/ 470731 h 1639086"/>
                <a:gd name="connsiteX10" fmla="*/ 228600 w 5867400"/>
                <a:gd name="connsiteY10" fmla="*/ 837877 h 1639086"/>
                <a:gd name="connsiteX11" fmla="*/ 0 w 5867400"/>
                <a:gd name="connsiteY11" fmla="*/ 976422 h 1639086"/>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28600 w 5867400"/>
                <a:gd name="connsiteY10" fmla="*/ 837877 h 1627185"/>
                <a:gd name="connsiteX11" fmla="*/ 0 w 5867400"/>
                <a:gd name="connsiteY11" fmla="*/ 976422 h 1627185"/>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37066 w 5867400"/>
                <a:gd name="connsiteY10" fmla="*/ 812477 h 1627185"/>
                <a:gd name="connsiteX11" fmla="*/ 0 w 5867400"/>
                <a:gd name="connsiteY11" fmla="*/ 976422 h 1627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7400" h="1627185">
                  <a:moveTo>
                    <a:pt x="5867400" y="1530604"/>
                  </a:moveTo>
                  <a:lnTo>
                    <a:pt x="3789218" y="1592950"/>
                  </a:lnTo>
                  <a:cubicBezTo>
                    <a:pt x="3304309" y="1606805"/>
                    <a:pt x="2936010" y="1648368"/>
                    <a:pt x="2957946" y="1613732"/>
                  </a:cubicBezTo>
                  <a:cubicBezTo>
                    <a:pt x="2979882" y="1579096"/>
                    <a:pt x="3009901" y="1461332"/>
                    <a:pt x="3089564" y="1218877"/>
                  </a:cubicBezTo>
                  <a:cubicBezTo>
                    <a:pt x="3169227" y="976422"/>
                    <a:pt x="3372427" y="357586"/>
                    <a:pt x="3435927" y="159004"/>
                  </a:cubicBezTo>
                  <a:cubicBezTo>
                    <a:pt x="3499427" y="-39578"/>
                    <a:pt x="3453244" y="72415"/>
                    <a:pt x="3470563" y="27387"/>
                  </a:cubicBezTo>
                  <a:cubicBezTo>
                    <a:pt x="3487882" y="-17641"/>
                    <a:pt x="3494809" y="4294"/>
                    <a:pt x="3290455" y="13530"/>
                  </a:cubicBezTo>
                  <a:cubicBezTo>
                    <a:pt x="3086101" y="22766"/>
                    <a:pt x="2549237" y="45858"/>
                    <a:pt x="2244437" y="82804"/>
                  </a:cubicBezTo>
                  <a:cubicBezTo>
                    <a:pt x="1939637" y="119750"/>
                    <a:pt x="1693719" y="170550"/>
                    <a:pt x="1461655" y="235204"/>
                  </a:cubicBezTo>
                  <a:cubicBezTo>
                    <a:pt x="1229591" y="299858"/>
                    <a:pt x="1056152" y="374519"/>
                    <a:pt x="852054" y="470731"/>
                  </a:cubicBezTo>
                  <a:cubicBezTo>
                    <a:pt x="647956" y="566943"/>
                    <a:pt x="379075" y="728195"/>
                    <a:pt x="237066" y="812477"/>
                  </a:cubicBezTo>
                  <a:cubicBezTo>
                    <a:pt x="95057" y="896759"/>
                    <a:pt x="40409" y="949290"/>
                    <a:pt x="0" y="976422"/>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p:cNvSpPr/>
            <p:nvPr/>
          </p:nvSpPr>
          <p:spPr bwMode="auto">
            <a:xfrm>
              <a:off x="4859353" y="2041687"/>
              <a:ext cx="411463" cy="306259"/>
            </a:xfrm>
            <a:custGeom>
              <a:avLst/>
              <a:gdLst>
                <a:gd name="connsiteX0" fmla="*/ 0 w 1219200"/>
                <a:gd name="connsiteY0" fmla="*/ 907473 h 907473"/>
                <a:gd name="connsiteX1" fmla="*/ 1219200 w 1219200"/>
                <a:gd name="connsiteY1" fmla="*/ 0 h 907473"/>
                <a:gd name="connsiteX2" fmla="*/ 1184564 w 1219200"/>
                <a:gd name="connsiteY2" fmla="*/ 221673 h 907473"/>
              </a:gdLst>
              <a:ahLst/>
              <a:cxnLst>
                <a:cxn ang="0">
                  <a:pos x="connsiteX0" y="connsiteY0"/>
                </a:cxn>
                <a:cxn ang="0">
                  <a:pos x="connsiteX1" y="connsiteY1"/>
                </a:cxn>
                <a:cxn ang="0">
                  <a:pos x="connsiteX2" y="connsiteY2"/>
                </a:cxn>
              </a:cxnLst>
              <a:rect l="l" t="t" r="r" b="b"/>
              <a:pathLst>
                <a:path w="1219200" h="907473">
                  <a:moveTo>
                    <a:pt x="0" y="907473"/>
                  </a:moveTo>
                  <a:lnTo>
                    <a:pt x="1219200" y="0"/>
                  </a:lnTo>
                  <a:lnTo>
                    <a:pt x="1184564" y="221673"/>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p:cNvSpPr/>
            <p:nvPr/>
          </p:nvSpPr>
          <p:spPr bwMode="auto">
            <a:xfrm>
              <a:off x="4681676" y="1629530"/>
              <a:ext cx="3836423" cy="725430"/>
            </a:xfrm>
            <a:custGeom>
              <a:avLst/>
              <a:gdLst>
                <a:gd name="connsiteX0" fmla="*/ 0 w 11367655"/>
                <a:gd name="connsiteY0" fmla="*/ 2149512 h 2149512"/>
                <a:gd name="connsiteX1" fmla="*/ 623455 w 11367655"/>
                <a:gd name="connsiteY1" fmla="*/ 1699240 h 2149512"/>
                <a:gd name="connsiteX2" fmla="*/ 1537855 w 11367655"/>
                <a:gd name="connsiteY2" fmla="*/ 1082712 h 2149512"/>
                <a:gd name="connsiteX3" fmla="*/ 2348346 w 11367655"/>
                <a:gd name="connsiteY3" fmla="*/ 563167 h 2149512"/>
                <a:gd name="connsiteX4" fmla="*/ 2479964 w 11367655"/>
                <a:gd name="connsiteY4" fmla="*/ 486967 h 2149512"/>
                <a:gd name="connsiteX5" fmla="*/ 2528455 w 11367655"/>
                <a:gd name="connsiteY5" fmla="*/ 431549 h 2149512"/>
                <a:gd name="connsiteX6" fmla="*/ 2750128 w 11367655"/>
                <a:gd name="connsiteY6" fmla="*/ 355349 h 2149512"/>
                <a:gd name="connsiteX7" fmla="*/ 3449782 w 11367655"/>
                <a:gd name="connsiteY7" fmla="*/ 189094 h 2149512"/>
                <a:gd name="connsiteX8" fmla="*/ 4301837 w 11367655"/>
                <a:gd name="connsiteY8" fmla="*/ 78258 h 2149512"/>
                <a:gd name="connsiteX9" fmla="*/ 5368637 w 11367655"/>
                <a:gd name="connsiteY9" fmla="*/ 15912 h 2149512"/>
                <a:gd name="connsiteX10" fmla="*/ 6497782 w 11367655"/>
                <a:gd name="connsiteY10" fmla="*/ 2058 h 2149512"/>
                <a:gd name="connsiteX11" fmla="*/ 7904018 w 11367655"/>
                <a:gd name="connsiteY11" fmla="*/ 50549 h 2149512"/>
                <a:gd name="connsiteX12" fmla="*/ 9033164 w 11367655"/>
                <a:gd name="connsiteY12" fmla="*/ 119822 h 2149512"/>
                <a:gd name="connsiteX13" fmla="*/ 10280073 w 11367655"/>
                <a:gd name="connsiteY13" fmla="*/ 279149 h 2149512"/>
                <a:gd name="connsiteX14" fmla="*/ 11069782 w 11367655"/>
                <a:gd name="connsiteY14" fmla="*/ 438476 h 2149512"/>
                <a:gd name="connsiteX15" fmla="*/ 11367655 w 11367655"/>
                <a:gd name="connsiteY15" fmla="*/ 514676 h 214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67655" h="2149512">
                  <a:moveTo>
                    <a:pt x="0" y="2149512"/>
                  </a:moveTo>
                  <a:cubicBezTo>
                    <a:pt x="183573" y="2013276"/>
                    <a:pt x="367146" y="1877040"/>
                    <a:pt x="623455" y="1699240"/>
                  </a:cubicBezTo>
                  <a:cubicBezTo>
                    <a:pt x="879764" y="1521440"/>
                    <a:pt x="1250373" y="1272057"/>
                    <a:pt x="1537855" y="1082712"/>
                  </a:cubicBezTo>
                  <a:cubicBezTo>
                    <a:pt x="1825337" y="893366"/>
                    <a:pt x="2191328" y="662458"/>
                    <a:pt x="2348346" y="563167"/>
                  </a:cubicBezTo>
                  <a:cubicBezTo>
                    <a:pt x="2505364" y="463876"/>
                    <a:pt x="2449946" y="508903"/>
                    <a:pt x="2479964" y="486967"/>
                  </a:cubicBezTo>
                  <a:cubicBezTo>
                    <a:pt x="2509982" y="465031"/>
                    <a:pt x="2483428" y="453485"/>
                    <a:pt x="2528455" y="431549"/>
                  </a:cubicBezTo>
                  <a:cubicBezTo>
                    <a:pt x="2573482" y="409613"/>
                    <a:pt x="2596573" y="395758"/>
                    <a:pt x="2750128" y="355349"/>
                  </a:cubicBezTo>
                  <a:cubicBezTo>
                    <a:pt x="2903683" y="314940"/>
                    <a:pt x="3191164" y="235276"/>
                    <a:pt x="3449782" y="189094"/>
                  </a:cubicBezTo>
                  <a:cubicBezTo>
                    <a:pt x="3708400" y="142912"/>
                    <a:pt x="3982028" y="107122"/>
                    <a:pt x="4301837" y="78258"/>
                  </a:cubicBezTo>
                  <a:cubicBezTo>
                    <a:pt x="4621646" y="49394"/>
                    <a:pt x="5002646" y="28612"/>
                    <a:pt x="5368637" y="15912"/>
                  </a:cubicBezTo>
                  <a:cubicBezTo>
                    <a:pt x="5734628" y="3212"/>
                    <a:pt x="6075219" y="-3715"/>
                    <a:pt x="6497782" y="2058"/>
                  </a:cubicBezTo>
                  <a:cubicBezTo>
                    <a:pt x="6920345" y="7831"/>
                    <a:pt x="7481454" y="30922"/>
                    <a:pt x="7904018" y="50549"/>
                  </a:cubicBezTo>
                  <a:cubicBezTo>
                    <a:pt x="8326582" y="70176"/>
                    <a:pt x="8637155" y="81722"/>
                    <a:pt x="9033164" y="119822"/>
                  </a:cubicBezTo>
                  <a:cubicBezTo>
                    <a:pt x="9429173" y="157922"/>
                    <a:pt x="9940637" y="226040"/>
                    <a:pt x="10280073" y="279149"/>
                  </a:cubicBezTo>
                  <a:cubicBezTo>
                    <a:pt x="10619509" y="332258"/>
                    <a:pt x="10888519" y="399222"/>
                    <a:pt x="11069782" y="438476"/>
                  </a:cubicBezTo>
                  <a:cubicBezTo>
                    <a:pt x="11251045" y="477730"/>
                    <a:pt x="11309350" y="496203"/>
                    <a:pt x="11367655" y="514676"/>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p:cNvSpPr/>
            <p:nvPr/>
          </p:nvSpPr>
          <p:spPr bwMode="auto">
            <a:xfrm>
              <a:off x="4619985" y="1684215"/>
              <a:ext cx="3433549" cy="1704077"/>
            </a:xfrm>
            <a:custGeom>
              <a:avLst/>
              <a:gdLst>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61729 w 10197719"/>
                <a:gd name="connsiteY24" fmla="*/ 275571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67369 w 10197719"/>
                <a:gd name="connsiteY25" fmla="*/ 3525330 h 5049330"/>
                <a:gd name="connsiteX26" fmla="*/ 7826349 w 10197719"/>
                <a:gd name="connsiteY26" fmla="*/ 4317810 h 5049330"/>
                <a:gd name="connsiteX27" fmla="*/ 7498689 w 10197719"/>
                <a:gd name="connsiteY27" fmla="*/ 4790250 h 5049330"/>
                <a:gd name="connsiteX0" fmla="*/ 160629 w 10198278"/>
                <a:gd name="connsiteY0" fmla="*/ 5049330 h 5049330"/>
                <a:gd name="connsiteX1" fmla="*/ 69189 w 10198278"/>
                <a:gd name="connsiteY1" fmla="*/ 4775010 h 5049330"/>
                <a:gd name="connsiteX2" fmla="*/ 8229 w 10198278"/>
                <a:gd name="connsiteY2" fmla="*/ 3883470 h 5049330"/>
                <a:gd name="connsiteX3" fmla="*/ 609 w 10198278"/>
                <a:gd name="connsiteY3" fmla="*/ 2831910 h 5049330"/>
                <a:gd name="connsiteX4" fmla="*/ 8229 w 10198278"/>
                <a:gd name="connsiteY4" fmla="*/ 2466150 h 5049330"/>
                <a:gd name="connsiteX5" fmla="*/ 38709 w 10198278"/>
                <a:gd name="connsiteY5" fmla="*/ 2306130 h 5049330"/>
                <a:gd name="connsiteX6" fmla="*/ 343509 w 10198278"/>
                <a:gd name="connsiteY6" fmla="*/ 2108010 h 5049330"/>
                <a:gd name="connsiteX7" fmla="*/ 526389 w 10198278"/>
                <a:gd name="connsiteY7" fmla="*/ 1963230 h 5049330"/>
                <a:gd name="connsiteX8" fmla="*/ 762609 w 10198278"/>
                <a:gd name="connsiteY8" fmla="*/ 1787970 h 5049330"/>
                <a:gd name="connsiteX9" fmla="*/ 1494129 w 10198278"/>
                <a:gd name="connsiteY9" fmla="*/ 1231710 h 5049330"/>
                <a:gd name="connsiteX10" fmla="*/ 2263749 w 10198278"/>
                <a:gd name="connsiteY10" fmla="*/ 736410 h 5049330"/>
                <a:gd name="connsiteX11" fmla="*/ 2896209 w 10198278"/>
                <a:gd name="connsiteY11" fmla="*/ 393510 h 5049330"/>
                <a:gd name="connsiteX12" fmla="*/ 3810609 w 10198278"/>
                <a:gd name="connsiteY12" fmla="*/ 149670 h 5049330"/>
                <a:gd name="connsiteX13" fmla="*/ 5288889 w 10198278"/>
                <a:gd name="connsiteY13" fmla="*/ 20130 h 5049330"/>
                <a:gd name="connsiteX14" fmla="*/ 6203289 w 10198278"/>
                <a:gd name="connsiteY14" fmla="*/ 4890 h 5049330"/>
                <a:gd name="connsiteX15" fmla="*/ 7399629 w 10198278"/>
                <a:gd name="connsiteY15" fmla="*/ 65850 h 5049330"/>
                <a:gd name="connsiteX16" fmla="*/ 8474049 w 10198278"/>
                <a:gd name="connsiteY16" fmla="*/ 157290 h 5049330"/>
                <a:gd name="connsiteX17" fmla="*/ 9159849 w 10198278"/>
                <a:gd name="connsiteY17" fmla="*/ 302070 h 5049330"/>
                <a:gd name="connsiteX18" fmla="*/ 9723729 w 10198278"/>
                <a:gd name="connsiteY18" fmla="*/ 454470 h 5049330"/>
                <a:gd name="connsiteX19" fmla="*/ 10074249 w 10198278"/>
                <a:gd name="connsiteY19" fmla="*/ 652590 h 5049330"/>
                <a:gd name="connsiteX20" fmla="*/ 10173309 w 10198278"/>
                <a:gd name="connsiteY20" fmla="*/ 896430 h 5049330"/>
                <a:gd name="connsiteX21" fmla="*/ 10180929 w 10198278"/>
                <a:gd name="connsiteY21" fmla="*/ 1071690 h 5049330"/>
                <a:gd name="connsiteX22" fmla="*/ 9967569 w 10198278"/>
                <a:gd name="connsiteY22" fmla="*/ 1475550 h 5049330"/>
                <a:gd name="connsiteX23" fmla="*/ 9472269 w 10198278"/>
                <a:gd name="connsiteY23" fmla="*/ 2077530 h 5049330"/>
                <a:gd name="connsiteX24" fmla="*/ 8954109 w 10198278"/>
                <a:gd name="connsiteY24" fmla="*/ 2740470 h 5049330"/>
                <a:gd name="connsiteX25" fmla="*/ 8367369 w 10198278"/>
                <a:gd name="connsiteY25" fmla="*/ 3525330 h 5049330"/>
                <a:gd name="connsiteX26" fmla="*/ 7826349 w 10198278"/>
                <a:gd name="connsiteY26" fmla="*/ 4317810 h 5049330"/>
                <a:gd name="connsiteX27" fmla="*/ 7498689 w 10198278"/>
                <a:gd name="connsiteY27" fmla="*/ 4790250 h 5049330"/>
                <a:gd name="connsiteX0" fmla="*/ 160629 w 10198948"/>
                <a:gd name="connsiteY0" fmla="*/ 5049330 h 5049330"/>
                <a:gd name="connsiteX1" fmla="*/ 69189 w 10198948"/>
                <a:gd name="connsiteY1" fmla="*/ 4775010 h 5049330"/>
                <a:gd name="connsiteX2" fmla="*/ 8229 w 10198948"/>
                <a:gd name="connsiteY2" fmla="*/ 3883470 h 5049330"/>
                <a:gd name="connsiteX3" fmla="*/ 609 w 10198948"/>
                <a:gd name="connsiteY3" fmla="*/ 2831910 h 5049330"/>
                <a:gd name="connsiteX4" fmla="*/ 8229 w 10198948"/>
                <a:gd name="connsiteY4" fmla="*/ 2466150 h 5049330"/>
                <a:gd name="connsiteX5" fmla="*/ 38709 w 10198948"/>
                <a:gd name="connsiteY5" fmla="*/ 2306130 h 5049330"/>
                <a:gd name="connsiteX6" fmla="*/ 343509 w 10198948"/>
                <a:gd name="connsiteY6" fmla="*/ 2108010 h 5049330"/>
                <a:gd name="connsiteX7" fmla="*/ 526389 w 10198948"/>
                <a:gd name="connsiteY7" fmla="*/ 1963230 h 5049330"/>
                <a:gd name="connsiteX8" fmla="*/ 762609 w 10198948"/>
                <a:gd name="connsiteY8" fmla="*/ 1787970 h 5049330"/>
                <a:gd name="connsiteX9" fmla="*/ 1494129 w 10198948"/>
                <a:gd name="connsiteY9" fmla="*/ 1231710 h 5049330"/>
                <a:gd name="connsiteX10" fmla="*/ 2263749 w 10198948"/>
                <a:gd name="connsiteY10" fmla="*/ 736410 h 5049330"/>
                <a:gd name="connsiteX11" fmla="*/ 2896209 w 10198948"/>
                <a:gd name="connsiteY11" fmla="*/ 393510 h 5049330"/>
                <a:gd name="connsiteX12" fmla="*/ 3810609 w 10198948"/>
                <a:gd name="connsiteY12" fmla="*/ 149670 h 5049330"/>
                <a:gd name="connsiteX13" fmla="*/ 5288889 w 10198948"/>
                <a:gd name="connsiteY13" fmla="*/ 20130 h 5049330"/>
                <a:gd name="connsiteX14" fmla="*/ 6203289 w 10198948"/>
                <a:gd name="connsiteY14" fmla="*/ 4890 h 5049330"/>
                <a:gd name="connsiteX15" fmla="*/ 7399629 w 10198948"/>
                <a:gd name="connsiteY15" fmla="*/ 65850 h 5049330"/>
                <a:gd name="connsiteX16" fmla="*/ 8474049 w 10198948"/>
                <a:gd name="connsiteY16" fmla="*/ 157290 h 5049330"/>
                <a:gd name="connsiteX17" fmla="*/ 9159849 w 10198948"/>
                <a:gd name="connsiteY17" fmla="*/ 302070 h 5049330"/>
                <a:gd name="connsiteX18" fmla="*/ 9723729 w 10198948"/>
                <a:gd name="connsiteY18" fmla="*/ 454470 h 5049330"/>
                <a:gd name="connsiteX19" fmla="*/ 10059009 w 10198948"/>
                <a:gd name="connsiteY19" fmla="*/ 660210 h 5049330"/>
                <a:gd name="connsiteX20" fmla="*/ 10173309 w 10198948"/>
                <a:gd name="connsiteY20" fmla="*/ 896430 h 5049330"/>
                <a:gd name="connsiteX21" fmla="*/ 10180929 w 10198948"/>
                <a:gd name="connsiteY21" fmla="*/ 1071690 h 5049330"/>
                <a:gd name="connsiteX22" fmla="*/ 9967569 w 10198948"/>
                <a:gd name="connsiteY22" fmla="*/ 1475550 h 5049330"/>
                <a:gd name="connsiteX23" fmla="*/ 9472269 w 10198948"/>
                <a:gd name="connsiteY23" fmla="*/ 2077530 h 5049330"/>
                <a:gd name="connsiteX24" fmla="*/ 8954109 w 10198948"/>
                <a:gd name="connsiteY24" fmla="*/ 2740470 h 5049330"/>
                <a:gd name="connsiteX25" fmla="*/ 8367369 w 10198948"/>
                <a:gd name="connsiteY25" fmla="*/ 3525330 h 5049330"/>
                <a:gd name="connsiteX26" fmla="*/ 7826349 w 10198948"/>
                <a:gd name="connsiteY26" fmla="*/ 4317810 h 5049330"/>
                <a:gd name="connsiteX27" fmla="*/ 7498689 w 10198948"/>
                <a:gd name="connsiteY27" fmla="*/ 4790250 h 5049330"/>
                <a:gd name="connsiteX0" fmla="*/ 160629 w 10189028"/>
                <a:gd name="connsiteY0" fmla="*/ 5049330 h 5049330"/>
                <a:gd name="connsiteX1" fmla="*/ 69189 w 10189028"/>
                <a:gd name="connsiteY1" fmla="*/ 4775010 h 5049330"/>
                <a:gd name="connsiteX2" fmla="*/ 8229 w 10189028"/>
                <a:gd name="connsiteY2" fmla="*/ 3883470 h 5049330"/>
                <a:gd name="connsiteX3" fmla="*/ 609 w 10189028"/>
                <a:gd name="connsiteY3" fmla="*/ 2831910 h 5049330"/>
                <a:gd name="connsiteX4" fmla="*/ 8229 w 10189028"/>
                <a:gd name="connsiteY4" fmla="*/ 2466150 h 5049330"/>
                <a:gd name="connsiteX5" fmla="*/ 38709 w 10189028"/>
                <a:gd name="connsiteY5" fmla="*/ 2306130 h 5049330"/>
                <a:gd name="connsiteX6" fmla="*/ 343509 w 10189028"/>
                <a:gd name="connsiteY6" fmla="*/ 2108010 h 5049330"/>
                <a:gd name="connsiteX7" fmla="*/ 526389 w 10189028"/>
                <a:gd name="connsiteY7" fmla="*/ 1963230 h 5049330"/>
                <a:gd name="connsiteX8" fmla="*/ 762609 w 10189028"/>
                <a:gd name="connsiteY8" fmla="*/ 1787970 h 5049330"/>
                <a:gd name="connsiteX9" fmla="*/ 1494129 w 10189028"/>
                <a:gd name="connsiteY9" fmla="*/ 1231710 h 5049330"/>
                <a:gd name="connsiteX10" fmla="*/ 2263749 w 10189028"/>
                <a:gd name="connsiteY10" fmla="*/ 736410 h 5049330"/>
                <a:gd name="connsiteX11" fmla="*/ 2896209 w 10189028"/>
                <a:gd name="connsiteY11" fmla="*/ 393510 h 5049330"/>
                <a:gd name="connsiteX12" fmla="*/ 3810609 w 10189028"/>
                <a:gd name="connsiteY12" fmla="*/ 149670 h 5049330"/>
                <a:gd name="connsiteX13" fmla="*/ 5288889 w 10189028"/>
                <a:gd name="connsiteY13" fmla="*/ 20130 h 5049330"/>
                <a:gd name="connsiteX14" fmla="*/ 6203289 w 10189028"/>
                <a:gd name="connsiteY14" fmla="*/ 4890 h 5049330"/>
                <a:gd name="connsiteX15" fmla="*/ 7399629 w 10189028"/>
                <a:gd name="connsiteY15" fmla="*/ 65850 h 5049330"/>
                <a:gd name="connsiteX16" fmla="*/ 8474049 w 10189028"/>
                <a:gd name="connsiteY16" fmla="*/ 157290 h 5049330"/>
                <a:gd name="connsiteX17" fmla="*/ 9159849 w 10189028"/>
                <a:gd name="connsiteY17" fmla="*/ 302070 h 5049330"/>
                <a:gd name="connsiteX18" fmla="*/ 9723729 w 10189028"/>
                <a:gd name="connsiteY18" fmla="*/ 454470 h 5049330"/>
                <a:gd name="connsiteX19" fmla="*/ 10059009 w 10189028"/>
                <a:gd name="connsiteY19" fmla="*/ 660210 h 5049330"/>
                <a:gd name="connsiteX20" fmla="*/ 10173309 w 10189028"/>
                <a:gd name="connsiteY20" fmla="*/ 896430 h 5049330"/>
                <a:gd name="connsiteX21" fmla="*/ 10165689 w 10189028"/>
                <a:gd name="connsiteY21" fmla="*/ 1071690 h 5049330"/>
                <a:gd name="connsiteX22" fmla="*/ 9967569 w 10189028"/>
                <a:gd name="connsiteY22" fmla="*/ 1475550 h 5049330"/>
                <a:gd name="connsiteX23" fmla="*/ 9472269 w 10189028"/>
                <a:gd name="connsiteY23" fmla="*/ 2077530 h 5049330"/>
                <a:gd name="connsiteX24" fmla="*/ 8954109 w 10189028"/>
                <a:gd name="connsiteY24" fmla="*/ 2740470 h 5049330"/>
                <a:gd name="connsiteX25" fmla="*/ 8367369 w 10189028"/>
                <a:gd name="connsiteY25" fmla="*/ 3525330 h 5049330"/>
                <a:gd name="connsiteX26" fmla="*/ 7826349 w 10189028"/>
                <a:gd name="connsiteY26" fmla="*/ 4317810 h 5049330"/>
                <a:gd name="connsiteX27" fmla="*/ 7498689 w 10189028"/>
                <a:gd name="connsiteY27" fmla="*/ 4790250 h 5049330"/>
                <a:gd name="connsiteX0" fmla="*/ 160629 w 10168501"/>
                <a:gd name="connsiteY0" fmla="*/ 5049330 h 5049330"/>
                <a:gd name="connsiteX1" fmla="*/ 69189 w 10168501"/>
                <a:gd name="connsiteY1" fmla="*/ 4775010 h 5049330"/>
                <a:gd name="connsiteX2" fmla="*/ 8229 w 10168501"/>
                <a:gd name="connsiteY2" fmla="*/ 3883470 h 5049330"/>
                <a:gd name="connsiteX3" fmla="*/ 609 w 10168501"/>
                <a:gd name="connsiteY3" fmla="*/ 2831910 h 5049330"/>
                <a:gd name="connsiteX4" fmla="*/ 8229 w 10168501"/>
                <a:gd name="connsiteY4" fmla="*/ 2466150 h 5049330"/>
                <a:gd name="connsiteX5" fmla="*/ 38709 w 10168501"/>
                <a:gd name="connsiteY5" fmla="*/ 2306130 h 5049330"/>
                <a:gd name="connsiteX6" fmla="*/ 343509 w 10168501"/>
                <a:gd name="connsiteY6" fmla="*/ 2108010 h 5049330"/>
                <a:gd name="connsiteX7" fmla="*/ 526389 w 10168501"/>
                <a:gd name="connsiteY7" fmla="*/ 1963230 h 5049330"/>
                <a:gd name="connsiteX8" fmla="*/ 762609 w 10168501"/>
                <a:gd name="connsiteY8" fmla="*/ 1787970 h 5049330"/>
                <a:gd name="connsiteX9" fmla="*/ 1494129 w 10168501"/>
                <a:gd name="connsiteY9" fmla="*/ 1231710 h 5049330"/>
                <a:gd name="connsiteX10" fmla="*/ 2263749 w 10168501"/>
                <a:gd name="connsiteY10" fmla="*/ 736410 h 5049330"/>
                <a:gd name="connsiteX11" fmla="*/ 2896209 w 10168501"/>
                <a:gd name="connsiteY11" fmla="*/ 393510 h 5049330"/>
                <a:gd name="connsiteX12" fmla="*/ 3810609 w 10168501"/>
                <a:gd name="connsiteY12" fmla="*/ 149670 h 5049330"/>
                <a:gd name="connsiteX13" fmla="*/ 5288889 w 10168501"/>
                <a:gd name="connsiteY13" fmla="*/ 20130 h 5049330"/>
                <a:gd name="connsiteX14" fmla="*/ 6203289 w 10168501"/>
                <a:gd name="connsiteY14" fmla="*/ 4890 h 5049330"/>
                <a:gd name="connsiteX15" fmla="*/ 7399629 w 10168501"/>
                <a:gd name="connsiteY15" fmla="*/ 65850 h 5049330"/>
                <a:gd name="connsiteX16" fmla="*/ 8474049 w 10168501"/>
                <a:gd name="connsiteY16" fmla="*/ 157290 h 5049330"/>
                <a:gd name="connsiteX17" fmla="*/ 9159849 w 10168501"/>
                <a:gd name="connsiteY17" fmla="*/ 302070 h 5049330"/>
                <a:gd name="connsiteX18" fmla="*/ 9723729 w 10168501"/>
                <a:gd name="connsiteY18" fmla="*/ 454470 h 5049330"/>
                <a:gd name="connsiteX19" fmla="*/ 10059009 w 10168501"/>
                <a:gd name="connsiteY19" fmla="*/ 660210 h 5049330"/>
                <a:gd name="connsiteX20" fmla="*/ 10165689 w 10168501"/>
                <a:gd name="connsiteY20" fmla="*/ 1071690 h 5049330"/>
                <a:gd name="connsiteX21" fmla="*/ 9967569 w 10168501"/>
                <a:gd name="connsiteY21" fmla="*/ 1475550 h 5049330"/>
                <a:gd name="connsiteX22" fmla="*/ 9472269 w 10168501"/>
                <a:gd name="connsiteY22" fmla="*/ 2077530 h 5049330"/>
                <a:gd name="connsiteX23" fmla="*/ 8954109 w 10168501"/>
                <a:gd name="connsiteY23" fmla="*/ 2740470 h 5049330"/>
                <a:gd name="connsiteX24" fmla="*/ 8367369 w 10168501"/>
                <a:gd name="connsiteY24" fmla="*/ 3525330 h 5049330"/>
                <a:gd name="connsiteX25" fmla="*/ 7826349 w 10168501"/>
                <a:gd name="connsiteY25" fmla="*/ 4317810 h 5049330"/>
                <a:gd name="connsiteX26" fmla="*/ 7498689 w 10168501"/>
                <a:gd name="connsiteY26" fmla="*/ 4790250 h 5049330"/>
                <a:gd name="connsiteX0" fmla="*/ 160629 w 10181816"/>
                <a:gd name="connsiteY0" fmla="*/ 5049330 h 5049330"/>
                <a:gd name="connsiteX1" fmla="*/ 69189 w 10181816"/>
                <a:gd name="connsiteY1" fmla="*/ 4775010 h 5049330"/>
                <a:gd name="connsiteX2" fmla="*/ 8229 w 10181816"/>
                <a:gd name="connsiteY2" fmla="*/ 3883470 h 5049330"/>
                <a:gd name="connsiteX3" fmla="*/ 609 w 10181816"/>
                <a:gd name="connsiteY3" fmla="*/ 2831910 h 5049330"/>
                <a:gd name="connsiteX4" fmla="*/ 8229 w 10181816"/>
                <a:gd name="connsiteY4" fmla="*/ 2466150 h 5049330"/>
                <a:gd name="connsiteX5" fmla="*/ 38709 w 10181816"/>
                <a:gd name="connsiteY5" fmla="*/ 2306130 h 5049330"/>
                <a:gd name="connsiteX6" fmla="*/ 343509 w 10181816"/>
                <a:gd name="connsiteY6" fmla="*/ 2108010 h 5049330"/>
                <a:gd name="connsiteX7" fmla="*/ 526389 w 10181816"/>
                <a:gd name="connsiteY7" fmla="*/ 1963230 h 5049330"/>
                <a:gd name="connsiteX8" fmla="*/ 762609 w 10181816"/>
                <a:gd name="connsiteY8" fmla="*/ 1787970 h 5049330"/>
                <a:gd name="connsiteX9" fmla="*/ 1494129 w 10181816"/>
                <a:gd name="connsiteY9" fmla="*/ 1231710 h 5049330"/>
                <a:gd name="connsiteX10" fmla="*/ 2263749 w 10181816"/>
                <a:gd name="connsiteY10" fmla="*/ 736410 h 5049330"/>
                <a:gd name="connsiteX11" fmla="*/ 2896209 w 10181816"/>
                <a:gd name="connsiteY11" fmla="*/ 393510 h 5049330"/>
                <a:gd name="connsiteX12" fmla="*/ 3810609 w 10181816"/>
                <a:gd name="connsiteY12" fmla="*/ 149670 h 5049330"/>
                <a:gd name="connsiteX13" fmla="*/ 5288889 w 10181816"/>
                <a:gd name="connsiteY13" fmla="*/ 20130 h 5049330"/>
                <a:gd name="connsiteX14" fmla="*/ 6203289 w 10181816"/>
                <a:gd name="connsiteY14" fmla="*/ 4890 h 5049330"/>
                <a:gd name="connsiteX15" fmla="*/ 7399629 w 10181816"/>
                <a:gd name="connsiteY15" fmla="*/ 65850 h 5049330"/>
                <a:gd name="connsiteX16" fmla="*/ 8474049 w 10181816"/>
                <a:gd name="connsiteY16" fmla="*/ 157290 h 5049330"/>
                <a:gd name="connsiteX17" fmla="*/ 9159849 w 10181816"/>
                <a:gd name="connsiteY17" fmla="*/ 302070 h 5049330"/>
                <a:gd name="connsiteX18" fmla="*/ 9723729 w 10181816"/>
                <a:gd name="connsiteY18" fmla="*/ 454470 h 5049330"/>
                <a:gd name="connsiteX19" fmla="*/ 10119969 w 10181816"/>
                <a:gd name="connsiteY19" fmla="*/ 713550 h 5049330"/>
                <a:gd name="connsiteX20" fmla="*/ 10165689 w 10181816"/>
                <a:gd name="connsiteY20" fmla="*/ 1071690 h 5049330"/>
                <a:gd name="connsiteX21" fmla="*/ 9967569 w 10181816"/>
                <a:gd name="connsiteY21" fmla="*/ 1475550 h 5049330"/>
                <a:gd name="connsiteX22" fmla="*/ 9472269 w 10181816"/>
                <a:gd name="connsiteY22" fmla="*/ 2077530 h 5049330"/>
                <a:gd name="connsiteX23" fmla="*/ 8954109 w 10181816"/>
                <a:gd name="connsiteY23" fmla="*/ 2740470 h 5049330"/>
                <a:gd name="connsiteX24" fmla="*/ 8367369 w 10181816"/>
                <a:gd name="connsiteY24" fmla="*/ 3525330 h 5049330"/>
                <a:gd name="connsiteX25" fmla="*/ 7826349 w 10181816"/>
                <a:gd name="connsiteY25" fmla="*/ 4317810 h 5049330"/>
                <a:gd name="connsiteX26" fmla="*/ 7498689 w 10181816"/>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5447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7733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3904"/>
                <a:gd name="connsiteY0" fmla="*/ 5049330 h 5049330"/>
                <a:gd name="connsiteX1" fmla="*/ 69189 w 10173904"/>
                <a:gd name="connsiteY1" fmla="*/ 4775010 h 5049330"/>
                <a:gd name="connsiteX2" fmla="*/ 8229 w 10173904"/>
                <a:gd name="connsiteY2" fmla="*/ 3883470 h 5049330"/>
                <a:gd name="connsiteX3" fmla="*/ 609 w 10173904"/>
                <a:gd name="connsiteY3" fmla="*/ 2831910 h 5049330"/>
                <a:gd name="connsiteX4" fmla="*/ 8229 w 10173904"/>
                <a:gd name="connsiteY4" fmla="*/ 2466150 h 5049330"/>
                <a:gd name="connsiteX5" fmla="*/ 38709 w 10173904"/>
                <a:gd name="connsiteY5" fmla="*/ 2306130 h 5049330"/>
                <a:gd name="connsiteX6" fmla="*/ 343509 w 10173904"/>
                <a:gd name="connsiteY6" fmla="*/ 2108010 h 5049330"/>
                <a:gd name="connsiteX7" fmla="*/ 526389 w 10173904"/>
                <a:gd name="connsiteY7" fmla="*/ 1963230 h 5049330"/>
                <a:gd name="connsiteX8" fmla="*/ 762609 w 10173904"/>
                <a:gd name="connsiteY8" fmla="*/ 1787970 h 5049330"/>
                <a:gd name="connsiteX9" fmla="*/ 1494129 w 10173904"/>
                <a:gd name="connsiteY9" fmla="*/ 1231710 h 5049330"/>
                <a:gd name="connsiteX10" fmla="*/ 2263749 w 10173904"/>
                <a:gd name="connsiteY10" fmla="*/ 736410 h 5049330"/>
                <a:gd name="connsiteX11" fmla="*/ 2896209 w 10173904"/>
                <a:gd name="connsiteY11" fmla="*/ 393510 h 5049330"/>
                <a:gd name="connsiteX12" fmla="*/ 3810609 w 10173904"/>
                <a:gd name="connsiteY12" fmla="*/ 149670 h 5049330"/>
                <a:gd name="connsiteX13" fmla="*/ 5288889 w 10173904"/>
                <a:gd name="connsiteY13" fmla="*/ 20130 h 5049330"/>
                <a:gd name="connsiteX14" fmla="*/ 6203289 w 10173904"/>
                <a:gd name="connsiteY14" fmla="*/ 4890 h 5049330"/>
                <a:gd name="connsiteX15" fmla="*/ 7399629 w 10173904"/>
                <a:gd name="connsiteY15" fmla="*/ 65850 h 5049330"/>
                <a:gd name="connsiteX16" fmla="*/ 8474049 w 10173904"/>
                <a:gd name="connsiteY16" fmla="*/ 157290 h 5049330"/>
                <a:gd name="connsiteX17" fmla="*/ 9159849 w 10173904"/>
                <a:gd name="connsiteY17" fmla="*/ 302070 h 5049330"/>
                <a:gd name="connsiteX18" fmla="*/ 9746589 w 10173904"/>
                <a:gd name="connsiteY18" fmla="*/ 469710 h 5049330"/>
                <a:gd name="connsiteX19" fmla="*/ 10097109 w 10173904"/>
                <a:gd name="connsiteY19" fmla="*/ 721170 h 5049330"/>
                <a:gd name="connsiteX20" fmla="*/ 10165689 w 10173904"/>
                <a:gd name="connsiteY20" fmla="*/ 1071690 h 5049330"/>
                <a:gd name="connsiteX21" fmla="*/ 9967569 w 10173904"/>
                <a:gd name="connsiteY21" fmla="*/ 1475550 h 5049330"/>
                <a:gd name="connsiteX22" fmla="*/ 9472269 w 10173904"/>
                <a:gd name="connsiteY22" fmla="*/ 2077530 h 5049330"/>
                <a:gd name="connsiteX23" fmla="*/ 8954109 w 10173904"/>
                <a:gd name="connsiteY23" fmla="*/ 2740470 h 5049330"/>
                <a:gd name="connsiteX24" fmla="*/ 8367369 w 10173904"/>
                <a:gd name="connsiteY24" fmla="*/ 3525330 h 5049330"/>
                <a:gd name="connsiteX25" fmla="*/ 7826349 w 10173904"/>
                <a:gd name="connsiteY25" fmla="*/ 4317810 h 5049330"/>
                <a:gd name="connsiteX26" fmla="*/ 7498689 w 10173904"/>
                <a:gd name="connsiteY26" fmla="*/ 4790250 h 504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173904" h="5049330">
                  <a:moveTo>
                    <a:pt x="160629" y="5049330"/>
                  </a:moveTo>
                  <a:cubicBezTo>
                    <a:pt x="127609" y="5009325"/>
                    <a:pt x="94589" y="4969320"/>
                    <a:pt x="69189" y="4775010"/>
                  </a:cubicBezTo>
                  <a:cubicBezTo>
                    <a:pt x="43789" y="4580700"/>
                    <a:pt x="19659" y="4207320"/>
                    <a:pt x="8229" y="3883470"/>
                  </a:cubicBezTo>
                  <a:cubicBezTo>
                    <a:pt x="-3201" y="3559620"/>
                    <a:pt x="609" y="3068130"/>
                    <a:pt x="609" y="2831910"/>
                  </a:cubicBezTo>
                  <a:cubicBezTo>
                    <a:pt x="609" y="2595690"/>
                    <a:pt x="1879" y="2553780"/>
                    <a:pt x="8229" y="2466150"/>
                  </a:cubicBezTo>
                  <a:cubicBezTo>
                    <a:pt x="14579" y="2378520"/>
                    <a:pt x="-17171" y="2365820"/>
                    <a:pt x="38709" y="2306130"/>
                  </a:cubicBezTo>
                  <a:cubicBezTo>
                    <a:pt x="94589" y="2246440"/>
                    <a:pt x="262229" y="2165160"/>
                    <a:pt x="343509" y="2108010"/>
                  </a:cubicBezTo>
                  <a:cubicBezTo>
                    <a:pt x="424789" y="2050860"/>
                    <a:pt x="456539" y="2016570"/>
                    <a:pt x="526389" y="1963230"/>
                  </a:cubicBezTo>
                  <a:cubicBezTo>
                    <a:pt x="596239" y="1909890"/>
                    <a:pt x="762609" y="1787970"/>
                    <a:pt x="762609" y="1787970"/>
                  </a:cubicBezTo>
                  <a:cubicBezTo>
                    <a:pt x="923899" y="1666050"/>
                    <a:pt x="1243939" y="1406970"/>
                    <a:pt x="1494129" y="1231710"/>
                  </a:cubicBezTo>
                  <a:cubicBezTo>
                    <a:pt x="1744319" y="1056450"/>
                    <a:pt x="2030069" y="876110"/>
                    <a:pt x="2263749" y="736410"/>
                  </a:cubicBezTo>
                  <a:cubicBezTo>
                    <a:pt x="2497429" y="596710"/>
                    <a:pt x="2638399" y="491300"/>
                    <a:pt x="2896209" y="393510"/>
                  </a:cubicBezTo>
                  <a:cubicBezTo>
                    <a:pt x="3154019" y="295720"/>
                    <a:pt x="3411829" y="211900"/>
                    <a:pt x="3810609" y="149670"/>
                  </a:cubicBezTo>
                  <a:cubicBezTo>
                    <a:pt x="4209389" y="87440"/>
                    <a:pt x="4890109" y="44260"/>
                    <a:pt x="5288889" y="20130"/>
                  </a:cubicBezTo>
                  <a:cubicBezTo>
                    <a:pt x="5687669" y="-4000"/>
                    <a:pt x="5851499" y="-2730"/>
                    <a:pt x="6203289" y="4890"/>
                  </a:cubicBezTo>
                  <a:cubicBezTo>
                    <a:pt x="6555079" y="12510"/>
                    <a:pt x="7021169" y="40450"/>
                    <a:pt x="7399629" y="65850"/>
                  </a:cubicBezTo>
                  <a:cubicBezTo>
                    <a:pt x="7778089" y="91250"/>
                    <a:pt x="8180679" y="117920"/>
                    <a:pt x="8474049" y="157290"/>
                  </a:cubicBezTo>
                  <a:cubicBezTo>
                    <a:pt x="8767419" y="196660"/>
                    <a:pt x="8947759" y="250000"/>
                    <a:pt x="9159849" y="302070"/>
                  </a:cubicBezTo>
                  <a:cubicBezTo>
                    <a:pt x="9371939" y="354140"/>
                    <a:pt x="9590379" y="399860"/>
                    <a:pt x="9746589" y="469710"/>
                  </a:cubicBezTo>
                  <a:cubicBezTo>
                    <a:pt x="9902799" y="539560"/>
                    <a:pt x="10027259" y="620840"/>
                    <a:pt x="10097109" y="721170"/>
                  </a:cubicBezTo>
                  <a:cubicBezTo>
                    <a:pt x="10166959" y="821500"/>
                    <a:pt x="10187279" y="945960"/>
                    <a:pt x="10165689" y="1071690"/>
                  </a:cubicBezTo>
                  <a:cubicBezTo>
                    <a:pt x="10144099" y="1197420"/>
                    <a:pt x="10083139" y="1307910"/>
                    <a:pt x="9967569" y="1475550"/>
                  </a:cubicBezTo>
                  <a:cubicBezTo>
                    <a:pt x="9851999" y="1643190"/>
                    <a:pt x="9641179" y="1866710"/>
                    <a:pt x="9472269" y="2077530"/>
                  </a:cubicBezTo>
                  <a:cubicBezTo>
                    <a:pt x="9303359" y="2288350"/>
                    <a:pt x="9138259" y="2499170"/>
                    <a:pt x="8954109" y="2740470"/>
                  </a:cubicBezTo>
                  <a:cubicBezTo>
                    <a:pt x="8769959" y="2981770"/>
                    <a:pt x="8555329" y="3262440"/>
                    <a:pt x="8367369" y="3525330"/>
                  </a:cubicBezTo>
                  <a:cubicBezTo>
                    <a:pt x="8179409" y="3788220"/>
                    <a:pt x="7971129" y="4106990"/>
                    <a:pt x="7826349" y="4317810"/>
                  </a:cubicBezTo>
                  <a:cubicBezTo>
                    <a:pt x="7681569" y="4528630"/>
                    <a:pt x="7592034" y="4660075"/>
                    <a:pt x="7498689" y="479025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p:cNvSpPr/>
            <p:nvPr/>
          </p:nvSpPr>
          <p:spPr bwMode="auto">
            <a:xfrm>
              <a:off x="7490144" y="2231053"/>
              <a:ext cx="452609" cy="10287"/>
            </a:xfrm>
            <a:custGeom>
              <a:avLst/>
              <a:gdLst>
                <a:gd name="connsiteX0" fmla="*/ 0 w 1341120"/>
                <a:gd name="connsiteY0" fmla="*/ 30480 h 30480"/>
                <a:gd name="connsiteX1" fmla="*/ 1341120 w 1341120"/>
                <a:gd name="connsiteY1" fmla="*/ 0 h 30480"/>
              </a:gdLst>
              <a:ahLst/>
              <a:cxnLst>
                <a:cxn ang="0">
                  <a:pos x="connsiteX0" y="connsiteY0"/>
                </a:cxn>
                <a:cxn ang="0">
                  <a:pos x="connsiteX1" y="connsiteY1"/>
                </a:cxn>
              </a:cxnLst>
              <a:rect l="l" t="t" r="r" b="b"/>
              <a:pathLst>
                <a:path w="1341120" h="30480">
                  <a:moveTo>
                    <a:pt x="0" y="30480"/>
                  </a:moveTo>
                  <a:lnTo>
                    <a:pt x="1341120"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p:cNvSpPr/>
            <p:nvPr/>
          </p:nvSpPr>
          <p:spPr bwMode="auto">
            <a:xfrm>
              <a:off x="6635501" y="1727011"/>
              <a:ext cx="1366740" cy="495470"/>
            </a:xfrm>
            <a:custGeom>
              <a:avLst/>
              <a:gdLst>
                <a:gd name="connsiteX0" fmla="*/ 0 w 4054145"/>
                <a:gd name="connsiteY0" fmla="*/ 0 h 1468120"/>
                <a:gd name="connsiteX1" fmla="*/ 772160 w 4054145"/>
                <a:gd name="connsiteY1" fmla="*/ 30480 h 1468120"/>
                <a:gd name="connsiteX2" fmla="*/ 1945640 w 4054145"/>
                <a:gd name="connsiteY2" fmla="*/ 111760 h 1468120"/>
                <a:gd name="connsiteX3" fmla="*/ 3058160 w 4054145"/>
                <a:gd name="connsiteY3" fmla="*/ 294640 h 1468120"/>
                <a:gd name="connsiteX4" fmla="*/ 3825240 w 4054145"/>
                <a:gd name="connsiteY4" fmla="*/ 533400 h 1468120"/>
                <a:gd name="connsiteX5" fmla="*/ 4043680 w 4054145"/>
                <a:gd name="connsiteY5" fmla="*/ 711200 h 1468120"/>
                <a:gd name="connsiteX6" fmla="*/ 3987800 w 4054145"/>
                <a:gd name="connsiteY6" fmla="*/ 1071880 h 1468120"/>
                <a:gd name="connsiteX7" fmla="*/ 3713480 w 4054145"/>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7431"/>
                <a:gd name="connsiteY0" fmla="*/ 0 h 1468120"/>
                <a:gd name="connsiteX1" fmla="*/ 772160 w 4047431"/>
                <a:gd name="connsiteY1" fmla="*/ 30480 h 1468120"/>
                <a:gd name="connsiteX2" fmla="*/ 1945640 w 4047431"/>
                <a:gd name="connsiteY2" fmla="*/ 111760 h 1468120"/>
                <a:gd name="connsiteX3" fmla="*/ 3058160 w 4047431"/>
                <a:gd name="connsiteY3" fmla="*/ 294640 h 1468120"/>
                <a:gd name="connsiteX4" fmla="*/ 3825240 w 4047431"/>
                <a:gd name="connsiteY4" fmla="*/ 533400 h 1468120"/>
                <a:gd name="connsiteX5" fmla="*/ 4038600 w 4047431"/>
                <a:gd name="connsiteY5" fmla="*/ 751840 h 1468120"/>
                <a:gd name="connsiteX6" fmla="*/ 3977640 w 4047431"/>
                <a:gd name="connsiteY6" fmla="*/ 1066800 h 1468120"/>
                <a:gd name="connsiteX7" fmla="*/ 3713480 w 4047431"/>
                <a:gd name="connsiteY7" fmla="*/ 1468120 h 1468120"/>
                <a:gd name="connsiteX0" fmla="*/ 0 w 4049769"/>
                <a:gd name="connsiteY0" fmla="*/ 0 h 1468120"/>
                <a:gd name="connsiteX1" fmla="*/ 772160 w 4049769"/>
                <a:gd name="connsiteY1" fmla="*/ 30480 h 1468120"/>
                <a:gd name="connsiteX2" fmla="*/ 1945640 w 4049769"/>
                <a:gd name="connsiteY2" fmla="*/ 111760 h 1468120"/>
                <a:gd name="connsiteX3" fmla="*/ 3058160 w 4049769"/>
                <a:gd name="connsiteY3" fmla="*/ 294640 h 1468120"/>
                <a:gd name="connsiteX4" fmla="*/ 3825240 w 4049769"/>
                <a:gd name="connsiteY4" fmla="*/ 533400 h 1468120"/>
                <a:gd name="connsiteX5" fmla="*/ 4038600 w 4049769"/>
                <a:gd name="connsiteY5" fmla="*/ 751840 h 1468120"/>
                <a:gd name="connsiteX6" fmla="*/ 3977640 w 4049769"/>
                <a:gd name="connsiteY6" fmla="*/ 1066800 h 1468120"/>
                <a:gd name="connsiteX7" fmla="*/ 3713480 w 4049769"/>
                <a:gd name="connsiteY7"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9769" h="1468120">
                  <a:moveTo>
                    <a:pt x="0" y="0"/>
                  </a:moveTo>
                  <a:cubicBezTo>
                    <a:pt x="223943" y="5926"/>
                    <a:pt x="447887" y="11853"/>
                    <a:pt x="772160" y="30480"/>
                  </a:cubicBezTo>
                  <a:cubicBezTo>
                    <a:pt x="1096433" y="49107"/>
                    <a:pt x="1564640" y="67733"/>
                    <a:pt x="1945640" y="111760"/>
                  </a:cubicBezTo>
                  <a:cubicBezTo>
                    <a:pt x="2326640" y="155787"/>
                    <a:pt x="2744893" y="224367"/>
                    <a:pt x="3058160" y="294640"/>
                  </a:cubicBezTo>
                  <a:cubicBezTo>
                    <a:pt x="3371427" y="364913"/>
                    <a:pt x="3666913" y="436880"/>
                    <a:pt x="3825240" y="533400"/>
                  </a:cubicBezTo>
                  <a:cubicBezTo>
                    <a:pt x="3983567" y="629920"/>
                    <a:pt x="4013200" y="662940"/>
                    <a:pt x="4038600" y="751840"/>
                  </a:cubicBezTo>
                  <a:cubicBezTo>
                    <a:pt x="4064000" y="840740"/>
                    <a:pt x="4047067" y="952500"/>
                    <a:pt x="3977640" y="1066800"/>
                  </a:cubicBezTo>
                  <a:cubicBezTo>
                    <a:pt x="3908213" y="1181100"/>
                    <a:pt x="3823123" y="1333076"/>
                    <a:pt x="3713480" y="146812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p:cNvSpPr/>
            <p:nvPr/>
          </p:nvSpPr>
          <p:spPr bwMode="auto">
            <a:xfrm>
              <a:off x="6539493" y="1723583"/>
              <a:ext cx="97722" cy="545188"/>
            </a:xfrm>
            <a:custGeom>
              <a:avLst/>
              <a:gdLst>
                <a:gd name="connsiteX0" fmla="*/ 289560 w 289560"/>
                <a:gd name="connsiteY0" fmla="*/ 0 h 1615440"/>
                <a:gd name="connsiteX1" fmla="*/ 0 w 289560"/>
                <a:gd name="connsiteY1" fmla="*/ 1615440 h 1615440"/>
              </a:gdLst>
              <a:ahLst/>
              <a:cxnLst>
                <a:cxn ang="0">
                  <a:pos x="connsiteX0" y="connsiteY0"/>
                </a:cxn>
                <a:cxn ang="0">
                  <a:pos x="connsiteX1" y="connsiteY1"/>
                </a:cxn>
              </a:cxnLst>
              <a:rect l="l" t="t" r="r" b="b"/>
              <a:pathLst>
                <a:path w="289560" h="1615440">
                  <a:moveTo>
                    <a:pt x="289560" y="0"/>
                  </a:moveTo>
                  <a:lnTo>
                    <a:pt x="0" y="161544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p:cNvSpPr/>
            <p:nvPr/>
          </p:nvSpPr>
          <p:spPr bwMode="auto">
            <a:xfrm>
              <a:off x="6254417" y="1688671"/>
              <a:ext cx="295207" cy="1673905"/>
            </a:xfrm>
            <a:custGeom>
              <a:avLst/>
              <a:gdLst>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1995054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73381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723" h="4959927">
                  <a:moveTo>
                    <a:pt x="874723" y="0"/>
                  </a:moveTo>
                  <a:cubicBezTo>
                    <a:pt x="718859" y="615373"/>
                    <a:pt x="562996" y="1228436"/>
                    <a:pt x="486796" y="1524000"/>
                  </a:cubicBezTo>
                  <a:cubicBezTo>
                    <a:pt x="410596" y="1819564"/>
                    <a:pt x="456778" y="1691408"/>
                    <a:pt x="417523" y="1773381"/>
                  </a:cubicBezTo>
                  <a:cubicBezTo>
                    <a:pt x="378268" y="1855354"/>
                    <a:pt x="292833" y="1914236"/>
                    <a:pt x="251269" y="2015836"/>
                  </a:cubicBezTo>
                  <a:cubicBezTo>
                    <a:pt x="209705" y="2117436"/>
                    <a:pt x="200468" y="2102428"/>
                    <a:pt x="168141" y="2382982"/>
                  </a:cubicBezTo>
                  <a:cubicBezTo>
                    <a:pt x="135814" y="2663536"/>
                    <a:pt x="85014" y="3336636"/>
                    <a:pt x="57305" y="3699163"/>
                  </a:cubicBezTo>
                  <a:cubicBezTo>
                    <a:pt x="29596" y="4061690"/>
                    <a:pt x="8814" y="4371109"/>
                    <a:pt x="1887" y="4558145"/>
                  </a:cubicBezTo>
                  <a:cubicBezTo>
                    <a:pt x="-5040" y="4745182"/>
                    <a:pt x="8814" y="4754418"/>
                    <a:pt x="15741" y="4821382"/>
                  </a:cubicBezTo>
                  <a:cubicBezTo>
                    <a:pt x="22668" y="4888346"/>
                    <a:pt x="33059" y="4924136"/>
                    <a:pt x="43450" y="495992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p:cNvSpPr/>
            <p:nvPr/>
          </p:nvSpPr>
          <p:spPr bwMode="auto">
            <a:xfrm>
              <a:off x="8424976" y="1751402"/>
              <a:ext cx="215083" cy="135596"/>
            </a:xfrm>
            <a:custGeom>
              <a:avLst/>
              <a:gdLst>
                <a:gd name="connsiteX0" fmla="*/ 540327 w 637309"/>
                <a:gd name="connsiteY0" fmla="*/ 0 h 401782"/>
                <a:gd name="connsiteX1" fmla="*/ 0 w 637309"/>
                <a:gd name="connsiteY1" fmla="*/ 401782 h 401782"/>
                <a:gd name="connsiteX2" fmla="*/ 637309 w 637309"/>
                <a:gd name="connsiteY2" fmla="*/ 48491 h 401782"/>
              </a:gdLst>
              <a:ahLst/>
              <a:cxnLst>
                <a:cxn ang="0">
                  <a:pos x="connsiteX0" y="connsiteY0"/>
                </a:cxn>
                <a:cxn ang="0">
                  <a:pos x="connsiteX1" y="connsiteY1"/>
                </a:cxn>
                <a:cxn ang="0">
                  <a:pos x="connsiteX2" y="connsiteY2"/>
                </a:cxn>
              </a:cxnLst>
              <a:rect l="l" t="t" r="r" b="b"/>
              <a:pathLst>
                <a:path w="637309" h="401782">
                  <a:moveTo>
                    <a:pt x="540327" y="0"/>
                  </a:moveTo>
                  <a:lnTo>
                    <a:pt x="0" y="401782"/>
                  </a:lnTo>
                  <a:lnTo>
                    <a:pt x="637309" y="48491"/>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p:cNvSpPr/>
            <p:nvPr/>
          </p:nvSpPr>
          <p:spPr bwMode="auto">
            <a:xfrm>
              <a:off x="5430957" y="1754131"/>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p:cNvSpPr/>
            <p:nvPr/>
          </p:nvSpPr>
          <p:spPr bwMode="auto">
            <a:xfrm>
              <a:off x="4459580" y="2308202"/>
              <a:ext cx="266516" cy="23671"/>
            </a:xfrm>
            <a:custGeom>
              <a:avLst/>
              <a:gdLst>
                <a:gd name="connsiteX0" fmla="*/ 0 w 789709"/>
                <a:gd name="connsiteY0" fmla="*/ 0 h 70138"/>
                <a:gd name="connsiteX1" fmla="*/ 263237 w 789709"/>
                <a:gd name="connsiteY1" fmla="*/ 48491 h 70138"/>
                <a:gd name="connsiteX2" fmla="*/ 505691 w 789709"/>
                <a:gd name="connsiteY2" fmla="*/ 69273 h 70138"/>
                <a:gd name="connsiteX3" fmla="*/ 651164 w 789709"/>
                <a:gd name="connsiteY3" fmla="*/ 62345 h 70138"/>
                <a:gd name="connsiteX4" fmla="*/ 789709 w 789709"/>
                <a:gd name="connsiteY4" fmla="*/ 27709 h 7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709" h="70138">
                  <a:moveTo>
                    <a:pt x="0" y="0"/>
                  </a:moveTo>
                  <a:cubicBezTo>
                    <a:pt x="89477" y="18473"/>
                    <a:pt x="178955" y="36946"/>
                    <a:pt x="263237" y="48491"/>
                  </a:cubicBezTo>
                  <a:cubicBezTo>
                    <a:pt x="347519" y="60037"/>
                    <a:pt x="441037" y="66964"/>
                    <a:pt x="505691" y="69273"/>
                  </a:cubicBezTo>
                  <a:cubicBezTo>
                    <a:pt x="570345" y="71582"/>
                    <a:pt x="603828" y="69272"/>
                    <a:pt x="651164" y="62345"/>
                  </a:cubicBezTo>
                  <a:cubicBezTo>
                    <a:pt x="698500" y="55418"/>
                    <a:pt x="744104" y="41563"/>
                    <a:pt x="789709" y="2770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Shape 115"/>
            <p:cNvSpPr/>
            <p:nvPr/>
          </p:nvSpPr>
          <p:spPr bwMode="auto">
            <a:xfrm>
              <a:off x="5842212" y="1565024"/>
              <a:ext cx="824779" cy="100213"/>
            </a:xfrm>
            <a:custGeom>
              <a:avLst/>
              <a:gdLst>
                <a:gd name="connsiteX0" fmla="*/ 80711 w 2509424"/>
                <a:gd name="connsiteY0" fmla="*/ 124691 h 264113"/>
                <a:gd name="connsiteX1" fmla="*/ 4511 w 2509424"/>
                <a:gd name="connsiteY1" fmla="*/ 235527 h 264113"/>
                <a:gd name="connsiteX2" fmla="*/ 198474 w 2509424"/>
                <a:gd name="connsiteY2" fmla="*/ 256309 h 264113"/>
                <a:gd name="connsiteX3" fmla="*/ 1154438 w 2509424"/>
                <a:gd name="connsiteY3" fmla="*/ 124691 h 264113"/>
                <a:gd name="connsiteX4" fmla="*/ 1909511 w 2509424"/>
                <a:gd name="connsiteY4" fmla="*/ 83127 h 264113"/>
                <a:gd name="connsiteX5" fmla="*/ 2456765 w 2509424"/>
                <a:gd name="connsiteY5" fmla="*/ 69272 h 264113"/>
                <a:gd name="connsiteX6" fmla="*/ 2456765 w 2509424"/>
                <a:gd name="connsiteY6" fmla="*/ 0 h 264113"/>
                <a:gd name="connsiteX0" fmla="*/ 81678 w 2510391"/>
                <a:gd name="connsiteY0" fmla="*/ 124691 h 251670"/>
                <a:gd name="connsiteX1" fmla="*/ 5478 w 2510391"/>
                <a:gd name="connsiteY1" fmla="*/ 235527 h 251670"/>
                <a:gd name="connsiteX2" fmla="*/ 216374 w 2510391"/>
                <a:gd name="connsiteY2" fmla="*/ 239376 h 251670"/>
                <a:gd name="connsiteX3" fmla="*/ 1155405 w 2510391"/>
                <a:gd name="connsiteY3" fmla="*/ 124691 h 251670"/>
                <a:gd name="connsiteX4" fmla="*/ 1910478 w 2510391"/>
                <a:gd name="connsiteY4" fmla="*/ 83127 h 251670"/>
                <a:gd name="connsiteX5" fmla="*/ 2457732 w 2510391"/>
                <a:gd name="connsiteY5" fmla="*/ 69272 h 251670"/>
                <a:gd name="connsiteX6" fmla="*/ 2457732 w 2510391"/>
                <a:gd name="connsiteY6" fmla="*/ 0 h 251670"/>
                <a:gd name="connsiteX0" fmla="*/ 66366 w 2495079"/>
                <a:gd name="connsiteY0" fmla="*/ 124691 h 265591"/>
                <a:gd name="connsiteX1" fmla="*/ 7099 w 2495079"/>
                <a:gd name="connsiteY1" fmla="*/ 256693 h 265591"/>
                <a:gd name="connsiteX2" fmla="*/ 201062 w 2495079"/>
                <a:gd name="connsiteY2" fmla="*/ 239376 h 265591"/>
                <a:gd name="connsiteX3" fmla="*/ 1140093 w 2495079"/>
                <a:gd name="connsiteY3" fmla="*/ 124691 h 265591"/>
                <a:gd name="connsiteX4" fmla="*/ 1895166 w 2495079"/>
                <a:gd name="connsiteY4" fmla="*/ 83127 h 265591"/>
                <a:gd name="connsiteX5" fmla="*/ 2442420 w 2495079"/>
                <a:gd name="connsiteY5" fmla="*/ 69272 h 265591"/>
                <a:gd name="connsiteX6" fmla="*/ 2442420 w 2495079"/>
                <a:gd name="connsiteY6" fmla="*/ 0 h 265591"/>
                <a:gd name="connsiteX0" fmla="*/ 81678 w 2510391"/>
                <a:gd name="connsiteY0" fmla="*/ 124691 h 259298"/>
                <a:gd name="connsiteX1" fmla="*/ 5478 w 2510391"/>
                <a:gd name="connsiteY1" fmla="*/ 248227 h 259298"/>
                <a:gd name="connsiteX2" fmla="*/ 216374 w 2510391"/>
                <a:gd name="connsiteY2" fmla="*/ 239376 h 259298"/>
                <a:gd name="connsiteX3" fmla="*/ 1155405 w 2510391"/>
                <a:gd name="connsiteY3" fmla="*/ 124691 h 259298"/>
                <a:gd name="connsiteX4" fmla="*/ 1910478 w 2510391"/>
                <a:gd name="connsiteY4" fmla="*/ 83127 h 259298"/>
                <a:gd name="connsiteX5" fmla="*/ 2457732 w 2510391"/>
                <a:gd name="connsiteY5" fmla="*/ 69272 h 259298"/>
                <a:gd name="connsiteX6" fmla="*/ 2457732 w 2510391"/>
                <a:gd name="connsiteY6" fmla="*/ 0 h 259298"/>
                <a:gd name="connsiteX0" fmla="*/ 88022 w 2516735"/>
                <a:gd name="connsiteY0" fmla="*/ 124691 h 266697"/>
                <a:gd name="connsiteX1" fmla="*/ 11822 w 2516735"/>
                <a:gd name="connsiteY1" fmla="*/ 248227 h 266697"/>
                <a:gd name="connsiteX2" fmla="*/ 222718 w 2516735"/>
                <a:gd name="connsiteY2" fmla="*/ 239376 h 266697"/>
                <a:gd name="connsiteX3" fmla="*/ 1161749 w 2516735"/>
                <a:gd name="connsiteY3" fmla="*/ 124691 h 266697"/>
                <a:gd name="connsiteX4" fmla="*/ 1916822 w 2516735"/>
                <a:gd name="connsiteY4" fmla="*/ 83127 h 266697"/>
                <a:gd name="connsiteX5" fmla="*/ 2464076 w 2516735"/>
                <a:gd name="connsiteY5" fmla="*/ 69272 h 266697"/>
                <a:gd name="connsiteX6" fmla="*/ 2464076 w 2516735"/>
                <a:gd name="connsiteY6" fmla="*/ 0 h 266697"/>
                <a:gd name="connsiteX0" fmla="*/ 73359 w 2502072"/>
                <a:gd name="connsiteY0" fmla="*/ 124691 h 263667"/>
                <a:gd name="connsiteX1" fmla="*/ 14092 w 2502072"/>
                <a:gd name="connsiteY1" fmla="*/ 243993 h 263667"/>
                <a:gd name="connsiteX2" fmla="*/ 208055 w 2502072"/>
                <a:gd name="connsiteY2" fmla="*/ 239376 h 263667"/>
                <a:gd name="connsiteX3" fmla="*/ 1147086 w 2502072"/>
                <a:gd name="connsiteY3" fmla="*/ 124691 h 263667"/>
                <a:gd name="connsiteX4" fmla="*/ 1902159 w 2502072"/>
                <a:gd name="connsiteY4" fmla="*/ 83127 h 263667"/>
                <a:gd name="connsiteX5" fmla="*/ 2449413 w 2502072"/>
                <a:gd name="connsiteY5" fmla="*/ 69272 h 263667"/>
                <a:gd name="connsiteX6" fmla="*/ 2449413 w 2502072"/>
                <a:gd name="connsiteY6" fmla="*/ 0 h 263667"/>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83127 h 263073"/>
                <a:gd name="connsiteX5" fmla="*/ 2449413 w 2502072"/>
                <a:gd name="connsiteY5" fmla="*/ 69272 h 263073"/>
                <a:gd name="connsiteX6" fmla="*/ 2449413 w 2502072"/>
                <a:gd name="connsiteY6" fmla="*/ 0 h 263073"/>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95827 h 263073"/>
                <a:gd name="connsiteX5" fmla="*/ 2449413 w 2502072"/>
                <a:gd name="connsiteY5" fmla="*/ 69272 h 263073"/>
                <a:gd name="connsiteX6" fmla="*/ 2449413 w 2502072"/>
                <a:gd name="connsiteY6" fmla="*/ 0 h 263073"/>
                <a:gd name="connsiteX0" fmla="*/ 73359 w 2471318"/>
                <a:gd name="connsiteY0" fmla="*/ 124691 h 263073"/>
                <a:gd name="connsiteX1" fmla="*/ 14092 w 2471318"/>
                <a:gd name="connsiteY1" fmla="*/ 243993 h 263073"/>
                <a:gd name="connsiteX2" fmla="*/ 208055 w 2471318"/>
                <a:gd name="connsiteY2" fmla="*/ 239376 h 263073"/>
                <a:gd name="connsiteX3" fmla="*/ 1155553 w 2471318"/>
                <a:gd name="connsiteY3" fmla="*/ 137391 h 263073"/>
                <a:gd name="connsiteX4" fmla="*/ 1902159 w 2471318"/>
                <a:gd name="connsiteY4" fmla="*/ 95827 h 263073"/>
                <a:gd name="connsiteX5" fmla="*/ 2377446 w 2471318"/>
                <a:gd name="connsiteY5" fmla="*/ 86205 h 263073"/>
                <a:gd name="connsiteX6" fmla="*/ 2449413 w 2471318"/>
                <a:gd name="connsiteY6" fmla="*/ 0 h 263073"/>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3893" h="296940">
                  <a:moveTo>
                    <a:pt x="73359" y="158558"/>
                  </a:moveTo>
                  <a:cubicBezTo>
                    <a:pt x="25445" y="203008"/>
                    <a:pt x="-25290" y="241813"/>
                    <a:pt x="14092" y="277860"/>
                  </a:cubicBezTo>
                  <a:cubicBezTo>
                    <a:pt x="53474" y="313907"/>
                    <a:pt x="17811" y="291010"/>
                    <a:pt x="208055" y="273243"/>
                  </a:cubicBezTo>
                  <a:cubicBezTo>
                    <a:pt x="398299" y="255476"/>
                    <a:pt x="873202" y="195183"/>
                    <a:pt x="1155553" y="171258"/>
                  </a:cubicBezTo>
                  <a:cubicBezTo>
                    <a:pt x="1437904" y="147333"/>
                    <a:pt x="1698510" y="138225"/>
                    <a:pt x="1902159" y="129694"/>
                  </a:cubicBezTo>
                  <a:cubicBezTo>
                    <a:pt x="2105808" y="121163"/>
                    <a:pt x="2292587" y="124755"/>
                    <a:pt x="2377446" y="120072"/>
                  </a:cubicBezTo>
                  <a:cubicBezTo>
                    <a:pt x="2462305" y="115389"/>
                    <a:pt x="2456916" y="27709"/>
                    <a:pt x="2411312"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Shape 116"/>
            <p:cNvSpPr/>
            <p:nvPr/>
          </p:nvSpPr>
          <p:spPr bwMode="auto">
            <a:xfrm>
              <a:off x="5482392" y="1723583"/>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8" name="Freeform: Shape 117"/>
            <p:cNvSpPr/>
            <p:nvPr/>
          </p:nvSpPr>
          <p:spPr bwMode="auto">
            <a:xfrm>
              <a:off x="5504532" y="1711248"/>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19" name="Freeform: Shape 118"/>
            <p:cNvSpPr/>
            <p:nvPr/>
          </p:nvSpPr>
          <p:spPr bwMode="auto">
            <a:xfrm>
              <a:off x="5008226" y="2262127"/>
              <a:ext cx="44598" cy="86436"/>
            </a:xfrm>
            <a:custGeom>
              <a:avLst/>
              <a:gdLst>
                <a:gd name="connsiteX0" fmla="*/ 120135 w 120135"/>
                <a:gd name="connsiteY0" fmla="*/ 0 h 211667"/>
                <a:gd name="connsiteX1" fmla="*/ 5835 w 120135"/>
                <a:gd name="connsiteY1" fmla="*/ 97367 h 211667"/>
                <a:gd name="connsiteX2" fmla="*/ 27002 w 120135"/>
                <a:gd name="connsiteY2" fmla="*/ 182034 h 211667"/>
                <a:gd name="connsiteX3" fmla="*/ 115902 w 120135"/>
                <a:gd name="connsiteY3" fmla="*/ 211667 h 211667"/>
              </a:gdLst>
              <a:ahLst/>
              <a:cxnLst>
                <a:cxn ang="0">
                  <a:pos x="connsiteX0" y="connsiteY0"/>
                </a:cxn>
                <a:cxn ang="0">
                  <a:pos x="connsiteX1" y="connsiteY1"/>
                </a:cxn>
                <a:cxn ang="0">
                  <a:pos x="connsiteX2" y="connsiteY2"/>
                </a:cxn>
                <a:cxn ang="0">
                  <a:pos x="connsiteX3" y="connsiteY3"/>
                </a:cxn>
              </a:cxnLst>
              <a:rect l="l" t="t" r="r" b="b"/>
              <a:pathLst>
                <a:path w="120135" h="211667">
                  <a:moveTo>
                    <a:pt x="120135" y="0"/>
                  </a:moveTo>
                  <a:cubicBezTo>
                    <a:pt x="70746" y="33514"/>
                    <a:pt x="21357" y="67028"/>
                    <a:pt x="5835" y="97367"/>
                  </a:cubicBezTo>
                  <a:cubicBezTo>
                    <a:pt x="-9687" y="127706"/>
                    <a:pt x="8658" y="162984"/>
                    <a:pt x="27002" y="182034"/>
                  </a:cubicBezTo>
                  <a:cubicBezTo>
                    <a:pt x="45346" y="201084"/>
                    <a:pt x="80624" y="206375"/>
                    <a:pt x="115902" y="21166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0" name="Freeform: Shape 119"/>
            <p:cNvSpPr/>
            <p:nvPr/>
          </p:nvSpPr>
          <p:spPr bwMode="auto">
            <a:xfrm>
              <a:off x="5044737" y="2119534"/>
              <a:ext cx="288791" cy="215915"/>
            </a:xfrm>
            <a:custGeom>
              <a:avLst/>
              <a:gdLst>
                <a:gd name="connsiteX0" fmla="*/ 1026 w 880224"/>
                <a:gd name="connsiteY0" fmla="*/ 224608 h 639520"/>
                <a:gd name="connsiteX1" fmla="*/ 30660 w 880224"/>
                <a:gd name="connsiteY1" fmla="*/ 423574 h 639520"/>
                <a:gd name="connsiteX2" fmla="*/ 204226 w 880224"/>
                <a:gd name="connsiteY2" fmla="*/ 597141 h 639520"/>
                <a:gd name="connsiteX3" fmla="*/ 403193 w 880224"/>
                <a:gd name="connsiteY3" fmla="*/ 639474 h 639520"/>
                <a:gd name="connsiteX4" fmla="*/ 712226 w 880224"/>
                <a:gd name="connsiteY4" fmla="*/ 592908 h 639520"/>
                <a:gd name="connsiteX5" fmla="*/ 873093 w 880224"/>
                <a:gd name="connsiteY5" fmla="*/ 398174 h 639520"/>
                <a:gd name="connsiteX6" fmla="*/ 839226 w 880224"/>
                <a:gd name="connsiteY6" fmla="*/ 190741 h 639520"/>
                <a:gd name="connsiteX7" fmla="*/ 724926 w 880224"/>
                <a:gd name="connsiteY7" fmla="*/ 51041 h 639520"/>
                <a:gd name="connsiteX8" fmla="*/ 564060 w 880224"/>
                <a:gd name="connsiteY8" fmla="*/ 241 h 639520"/>
                <a:gd name="connsiteX9" fmla="*/ 382026 w 880224"/>
                <a:gd name="connsiteY9" fmla="*/ 34108 h 639520"/>
                <a:gd name="connsiteX10" fmla="*/ 255026 w 880224"/>
                <a:gd name="connsiteY10" fmla="*/ 84908 h 639520"/>
                <a:gd name="connsiteX0" fmla="*/ 1026 w 866038"/>
                <a:gd name="connsiteY0" fmla="*/ 224608 h 639520"/>
                <a:gd name="connsiteX1" fmla="*/ 30660 w 866038"/>
                <a:gd name="connsiteY1" fmla="*/ 423574 h 639520"/>
                <a:gd name="connsiteX2" fmla="*/ 204226 w 866038"/>
                <a:gd name="connsiteY2" fmla="*/ 597141 h 639520"/>
                <a:gd name="connsiteX3" fmla="*/ 403193 w 866038"/>
                <a:gd name="connsiteY3" fmla="*/ 639474 h 639520"/>
                <a:gd name="connsiteX4" fmla="*/ 712226 w 866038"/>
                <a:gd name="connsiteY4" fmla="*/ 592908 h 639520"/>
                <a:gd name="connsiteX5" fmla="*/ 856159 w 866038"/>
                <a:gd name="connsiteY5" fmla="*/ 398174 h 639520"/>
                <a:gd name="connsiteX6" fmla="*/ 839226 w 866038"/>
                <a:gd name="connsiteY6" fmla="*/ 190741 h 639520"/>
                <a:gd name="connsiteX7" fmla="*/ 724926 w 866038"/>
                <a:gd name="connsiteY7" fmla="*/ 51041 h 639520"/>
                <a:gd name="connsiteX8" fmla="*/ 564060 w 866038"/>
                <a:gd name="connsiteY8" fmla="*/ 241 h 639520"/>
                <a:gd name="connsiteX9" fmla="*/ 382026 w 866038"/>
                <a:gd name="connsiteY9" fmla="*/ 34108 h 639520"/>
                <a:gd name="connsiteX10" fmla="*/ 255026 w 866038"/>
                <a:gd name="connsiteY10" fmla="*/ 84908 h 639520"/>
                <a:gd name="connsiteX0" fmla="*/ 1026 w 862652"/>
                <a:gd name="connsiteY0" fmla="*/ 224608 h 639520"/>
                <a:gd name="connsiteX1" fmla="*/ 30660 w 862652"/>
                <a:gd name="connsiteY1" fmla="*/ 423574 h 639520"/>
                <a:gd name="connsiteX2" fmla="*/ 204226 w 862652"/>
                <a:gd name="connsiteY2" fmla="*/ 597141 h 639520"/>
                <a:gd name="connsiteX3" fmla="*/ 403193 w 862652"/>
                <a:gd name="connsiteY3" fmla="*/ 639474 h 639520"/>
                <a:gd name="connsiteX4" fmla="*/ 712226 w 862652"/>
                <a:gd name="connsiteY4" fmla="*/ 592908 h 639520"/>
                <a:gd name="connsiteX5" fmla="*/ 856159 w 862652"/>
                <a:gd name="connsiteY5" fmla="*/ 398174 h 639520"/>
                <a:gd name="connsiteX6" fmla="*/ 826526 w 862652"/>
                <a:gd name="connsiteY6" fmla="*/ 194974 h 639520"/>
                <a:gd name="connsiteX7" fmla="*/ 724926 w 862652"/>
                <a:gd name="connsiteY7" fmla="*/ 51041 h 639520"/>
                <a:gd name="connsiteX8" fmla="*/ 564060 w 862652"/>
                <a:gd name="connsiteY8" fmla="*/ 241 h 639520"/>
                <a:gd name="connsiteX9" fmla="*/ 382026 w 862652"/>
                <a:gd name="connsiteY9" fmla="*/ 34108 h 639520"/>
                <a:gd name="connsiteX10" fmla="*/ 255026 w 862652"/>
                <a:gd name="connsiteY10" fmla="*/ 84908 h 639520"/>
                <a:gd name="connsiteX0" fmla="*/ 1026 w 855405"/>
                <a:gd name="connsiteY0" fmla="*/ 224608 h 639520"/>
                <a:gd name="connsiteX1" fmla="*/ 30660 w 855405"/>
                <a:gd name="connsiteY1" fmla="*/ 423574 h 639520"/>
                <a:gd name="connsiteX2" fmla="*/ 204226 w 855405"/>
                <a:gd name="connsiteY2" fmla="*/ 597141 h 639520"/>
                <a:gd name="connsiteX3" fmla="*/ 403193 w 855405"/>
                <a:gd name="connsiteY3" fmla="*/ 639474 h 639520"/>
                <a:gd name="connsiteX4" fmla="*/ 712226 w 855405"/>
                <a:gd name="connsiteY4" fmla="*/ 592908 h 639520"/>
                <a:gd name="connsiteX5" fmla="*/ 847692 w 855405"/>
                <a:gd name="connsiteY5" fmla="*/ 398174 h 639520"/>
                <a:gd name="connsiteX6" fmla="*/ 826526 w 855405"/>
                <a:gd name="connsiteY6" fmla="*/ 194974 h 639520"/>
                <a:gd name="connsiteX7" fmla="*/ 724926 w 855405"/>
                <a:gd name="connsiteY7" fmla="*/ 51041 h 639520"/>
                <a:gd name="connsiteX8" fmla="*/ 564060 w 855405"/>
                <a:gd name="connsiteY8" fmla="*/ 241 h 639520"/>
                <a:gd name="connsiteX9" fmla="*/ 382026 w 855405"/>
                <a:gd name="connsiteY9" fmla="*/ 34108 h 639520"/>
                <a:gd name="connsiteX10" fmla="*/ 255026 w 855405"/>
                <a:gd name="connsiteY10" fmla="*/ 84908 h 639520"/>
                <a:gd name="connsiteX0" fmla="*/ 1026 w 855714"/>
                <a:gd name="connsiteY0" fmla="*/ 224608 h 639776"/>
                <a:gd name="connsiteX1" fmla="*/ 30660 w 855714"/>
                <a:gd name="connsiteY1" fmla="*/ 423574 h 639776"/>
                <a:gd name="connsiteX2" fmla="*/ 204226 w 855714"/>
                <a:gd name="connsiteY2" fmla="*/ 597141 h 639776"/>
                <a:gd name="connsiteX3" fmla="*/ 403193 w 855714"/>
                <a:gd name="connsiteY3" fmla="*/ 639474 h 639776"/>
                <a:gd name="connsiteX4" fmla="*/ 707993 w 855714"/>
                <a:gd name="connsiteY4" fmla="*/ 584441 h 639776"/>
                <a:gd name="connsiteX5" fmla="*/ 847692 w 855714"/>
                <a:gd name="connsiteY5" fmla="*/ 398174 h 639776"/>
                <a:gd name="connsiteX6" fmla="*/ 826526 w 855714"/>
                <a:gd name="connsiteY6" fmla="*/ 194974 h 639776"/>
                <a:gd name="connsiteX7" fmla="*/ 724926 w 855714"/>
                <a:gd name="connsiteY7" fmla="*/ 51041 h 639776"/>
                <a:gd name="connsiteX8" fmla="*/ 564060 w 855714"/>
                <a:gd name="connsiteY8" fmla="*/ 241 h 639776"/>
                <a:gd name="connsiteX9" fmla="*/ 382026 w 855714"/>
                <a:gd name="connsiteY9" fmla="*/ 34108 h 639776"/>
                <a:gd name="connsiteX10" fmla="*/ 255026 w 855714"/>
                <a:gd name="connsiteY10" fmla="*/ 84908 h 63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5714" h="639776">
                  <a:moveTo>
                    <a:pt x="1026" y="224608"/>
                  </a:moveTo>
                  <a:cubicBezTo>
                    <a:pt x="-1091" y="293046"/>
                    <a:pt x="-3207" y="361485"/>
                    <a:pt x="30660" y="423574"/>
                  </a:cubicBezTo>
                  <a:cubicBezTo>
                    <a:pt x="64527" y="485663"/>
                    <a:pt x="142137" y="561158"/>
                    <a:pt x="204226" y="597141"/>
                  </a:cubicBezTo>
                  <a:cubicBezTo>
                    <a:pt x="266315" y="633124"/>
                    <a:pt x="319232" y="641591"/>
                    <a:pt x="403193" y="639474"/>
                  </a:cubicBezTo>
                  <a:cubicBezTo>
                    <a:pt x="487154" y="637357"/>
                    <a:pt x="633910" y="624658"/>
                    <a:pt x="707993" y="584441"/>
                  </a:cubicBezTo>
                  <a:cubicBezTo>
                    <a:pt x="782076" y="544224"/>
                    <a:pt x="827937" y="463085"/>
                    <a:pt x="847692" y="398174"/>
                  </a:cubicBezTo>
                  <a:cubicBezTo>
                    <a:pt x="867447" y="333263"/>
                    <a:pt x="846987" y="252830"/>
                    <a:pt x="826526" y="194974"/>
                  </a:cubicBezTo>
                  <a:cubicBezTo>
                    <a:pt x="806065" y="137118"/>
                    <a:pt x="768670" y="83496"/>
                    <a:pt x="724926" y="51041"/>
                  </a:cubicBezTo>
                  <a:cubicBezTo>
                    <a:pt x="681182" y="18586"/>
                    <a:pt x="621210" y="3063"/>
                    <a:pt x="564060" y="241"/>
                  </a:cubicBezTo>
                  <a:cubicBezTo>
                    <a:pt x="506910" y="-2581"/>
                    <a:pt x="433532" y="19997"/>
                    <a:pt x="382026" y="34108"/>
                  </a:cubicBezTo>
                  <a:cubicBezTo>
                    <a:pt x="330520" y="48219"/>
                    <a:pt x="292773" y="66563"/>
                    <a:pt x="255026" y="8490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1" name="Freeform: Shape 120"/>
            <p:cNvSpPr/>
            <p:nvPr/>
          </p:nvSpPr>
          <p:spPr bwMode="auto">
            <a:xfrm>
              <a:off x="5045083" y="2192479"/>
              <a:ext cx="220019" cy="2857"/>
            </a:xfrm>
            <a:custGeom>
              <a:avLst/>
              <a:gdLst>
                <a:gd name="connsiteX0" fmla="*/ 0 w 651934"/>
                <a:gd name="connsiteY0" fmla="*/ 8466 h 8466"/>
                <a:gd name="connsiteX1" fmla="*/ 651934 w 651934"/>
                <a:gd name="connsiteY1" fmla="*/ 0 h 8466"/>
              </a:gdLst>
              <a:ahLst/>
              <a:cxnLst>
                <a:cxn ang="0">
                  <a:pos x="connsiteX0" y="connsiteY0"/>
                </a:cxn>
                <a:cxn ang="0">
                  <a:pos x="connsiteX1" y="connsiteY1"/>
                </a:cxn>
              </a:cxnLst>
              <a:rect l="l" t="t" r="r" b="b"/>
              <a:pathLst>
                <a:path w="651934" h="8466">
                  <a:moveTo>
                    <a:pt x="0" y="8466"/>
                  </a:moveTo>
                  <a:lnTo>
                    <a:pt x="651934"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2" name="Freeform: Shape 121"/>
            <p:cNvSpPr/>
            <p:nvPr/>
          </p:nvSpPr>
          <p:spPr bwMode="auto">
            <a:xfrm>
              <a:off x="5213669" y="2111044"/>
              <a:ext cx="136555" cy="228590"/>
            </a:xfrm>
            <a:custGeom>
              <a:avLst/>
              <a:gdLst>
                <a:gd name="connsiteX0" fmla="*/ 80434 w 469130"/>
                <a:gd name="connsiteY0" fmla="*/ 669259 h 669259"/>
                <a:gd name="connsiteX1" fmla="*/ 393700 w 469130"/>
                <a:gd name="connsiteY1" fmla="*/ 550726 h 669259"/>
                <a:gd name="connsiteX2" fmla="*/ 465667 w 469130"/>
                <a:gd name="connsiteY2" fmla="*/ 364459 h 669259"/>
                <a:gd name="connsiteX3" fmla="*/ 444500 w 469130"/>
                <a:gd name="connsiteY3" fmla="*/ 203593 h 669259"/>
                <a:gd name="connsiteX4" fmla="*/ 330200 w 469130"/>
                <a:gd name="connsiteY4" fmla="*/ 59659 h 669259"/>
                <a:gd name="connsiteX5" fmla="*/ 169334 w 469130"/>
                <a:gd name="connsiteY5" fmla="*/ 393 h 669259"/>
                <a:gd name="connsiteX6" fmla="*/ 0 w 469130"/>
                <a:gd name="connsiteY6" fmla="*/ 38493 h 669259"/>
                <a:gd name="connsiteX0" fmla="*/ 118534 w 507230"/>
                <a:gd name="connsiteY0" fmla="*/ 669873 h 669873"/>
                <a:gd name="connsiteX1" fmla="*/ 431800 w 507230"/>
                <a:gd name="connsiteY1" fmla="*/ 551340 h 669873"/>
                <a:gd name="connsiteX2" fmla="*/ 503767 w 507230"/>
                <a:gd name="connsiteY2" fmla="*/ 365073 h 669873"/>
                <a:gd name="connsiteX3" fmla="*/ 482600 w 507230"/>
                <a:gd name="connsiteY3" fmla="*/ 204207 h 669873"/>
                <a:gd name="connsiteX4" fmla="*/ 368300 w 507230"/>
                <a:gd name="connsiteY4" fmla="*/ 60273 h 669873"/>
                <a:gd name="connsiteX5" fmla="*/ 207434 w 507230"/>
                <a:gd name="connsiteY5" fmla="*/ 1007 h 669873"/>
                <a:gd name="connsiteX6" fmla="*/ 0 w 507230"/>
                <a:gd name="connsiteY6" fmla="*/ 30641 h 669873"/>
                <a:gd name="connsiteX0" fmla="*/ 0 w 388696"/>
                <a:gd name="connsiteY0" fmla="*/ 678024 h 678024"/>
                <a:gd name="connsiteX1" fmla="*/ 313266 w 388696"/>
                <a:gd name="connsiteY1" fmla="*/ 559491 h 678024"/>
                <a:gd name="connsiteX2" fmla="*/ 385233 w 388696"/>
                <a:gd name="connsiteY2" fmla="*/ 373224 h 678024"/>
                <a:gd name="connsiteX3" fmla="*/ 364066 w 388696"/>
                <a:gd name="connsiteY3" fmla="*/ 212358 h 678024"/>
                <a:gd name="connsiteX4" fmla="*/ 249766 w 388696"/>
                <a:gd name="connsiteY4" fmla="*/ 68424 h 678024"/>
                <a:gd name="connsiteX5" fmla="*/ 88900 w 388696"/>
                <a:gd name="connsiteY5" fmla="*/ 9158 h 678024"/>
                <a:gd name="connsiteX6" fmla="*/ 122766 w 388696"/>
                <a:gd name="connsiteY6" fmla="*/ 13392 h 678024"/>
                <a:gd name="connsiteX0" fmla="*/ 0 w 388696"/>
                <a:gd name="connsiteY0" fmla="*/ 668866 h 668866"/>
                <a:gd name="connsiteX1" fmla="*/ 313266 w 388696"/>
                <a:gd name="connsiteY1" fmla="*/ 550333 h 668866"/>
                <a:gd name="connsiteX2" fmla="*/ 385233 w 388696"/>
                <a:gd name="connsiteY2" fmla="*/ 364066 h 668866"/>
                <a:gd name="connsiteX3" fmla="*/ 364066 w 388696"/>
                <a:gd name="connsiteY3" fmla="*/ 203200 h 668866"/>
                <a:gd name="connsiteX4" fmla="*/ 249766 w 388696"/>
                <a:gd name="connsiteY4" fmla="*/ 59266 h 668866"/>
                <a:gd name="connsiteX5" fmla="*/ 88900 w 388696"/>
                <a:gd name="connsiteY5" fmla="*/ 0 h 668866"/>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67266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404062"/>
                <a:gd name="connsiteY0" fmla="*/ 677332 h 677332"/>
                <a:gd name="connsiteX1" fmla="*/ 313266 w 404062"/>
                <a:gd name="connsiteY1" fmla="*/ 567266 h 677332"/>
                <a:gd name="connsiteX2" fmla="*/ 402166 w 404062"/>
                <a:gd name="connsiteY2" fmla="*/ 372532 h 677332"/>
                <a:gd name="connsiteX3" fmla="*/ 364066 w 404062"/>
                <a:gd name="connsiteY3" fmla="*/ 211666 h 677332"/>
                <a:gd name="connsiteX4" fmla="*/ 249766 w 404062"/>
                <a:gd name="connsiteY4" fmla="*/ 67732 h 677332"/>
                <a:gd name="connsiteX5" fmla="*/ 114300 w 404062"/>
                <a:gd name="connsiteY5" fmla="*/ 0 h 677332"/>
                <a:gd name="connsiteX0" fmla="*/ 0 w 404624"/>
                <a:gd name="connsiteY0" fmla="*/ 677332 h 677332"/>
                <a:gd name="connsiteX1" fmla="*/ 313266 w 404624"/>
                <a:gd name="connsiteY1" fmla="*/ 567266 h 677332"/>
                <a:gd name="connsiteX2" fmla="*/ 402166 w 404624"/>
                <a:gd name="connsiteY2" fmla="*/ 372532 h 677332"/>
                <a:gd name="connsiteX3" fmla="*/ 368300 w 404624"/>
                <a:gd name="connsiteY3" fmla="*/ 194733 h 677332"/>
                <a:gd name="connsiteX4" fmla="*/ 249766 w 404624"/>
                <a:gd name="connsiteY4" fmla="*/ 67732 h 677332"/>
                <a:gd name="connsiteX5" fmla="*/ 114300 w 404624"/>
                <a:gd name="connsiteY5" fmla="*/ 0 h 67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624" h="677332">
                  <a:moveTo>
                    <a:pt x="0" y="677332"/>
                  </a:moveTo>
                  <a:cubicBezTo>
                    <a:pt x="179563" y="651932"/>
                    <a:pt x="246238" y="618066"/>
                    <a:pt x="313266" y="567266"/>
                  </a:cubicBezTo>
                  <a:cubicBezTo>
                    <a:pt x="380294" y="516466"/>
                    <a:pt x="392994" y="434621"/>
                    <a:pt x="402166" y="372532"/>
                  </a:cubicBezTo>
                  <a:cubicBezTo>
                    <a:pt x="411338" y="310443"/>
                    <a:pt x="393700" y="245533"/>
                    <a:pt x="368300" y="194733"/>
                  </a:cubicBezTo>
                  <a:cubicBezTo>
                    <a:pt x="342900" y="143933"/>
                    <a:pt x="292099" y="100187"/>
                    <a:pt x="249766" y="67732"/>
                  </a:cubicBezTo>
                  <a:cubicBezTo>
                    <a:pt x="207433" y="35277"/>
                    <a:pt x="135467" y="9172"/>
                    <a:pt x="114300"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3" name="Freeform: Shape 122"/>
            <p:cNvSpPr/>
            <p:nvPr/>
          </p:nvSpPr>
          <p:spPr bwMode="auto">
            <a:xfrm>
              <a:off x="8481941" y="2843104"/>
              <a:ext cx="781779" cy="97722"/>
            </a:xfrm>
            <a:custGeom>
              <a:avLst/>
              <a:gdLst>
                <a:gd name="connsiteX0" fmla="*/ 0 w 2316480"/>
                <a:gd name="connsiteY0" fmla="*/ 289560 h 289560"/>
                <a:gd name="connsiteX1" fmla="*/ 2316480 w 2316480"/>
                <a:gd name="connsiteY1" fmla="*/ 0 h 289560"/>
              </a:gdLst>
              <a:ahLst/>
              <a:cxnLst>
                <a:cxn ang="0">
                  <a:pos x="connsiteX0" y="connsiteY0"/>
                </a:cxn>
                <a:cxn ang="0">
                  <a:pos x="connsiteX1" y="connsiteY1"/>
                </a:cxn>
              </a:cxnLst>
              <a:rect l="l" t="t" r="r" b="b"/>
              <a:pathLst>
                <a:path w="2316480" h="289560">
                  <a:moveTo>
                    <a:pt x="0" y="289560"/>
                  </a:moveTo>
                  <a:lnTo>
                    <a:pt x="2316480"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4" name="Freeform: Shape 123"/>
            <p:cNvSpPr/>
            <p:nvPr/>
          </p:nvSpPr>
          <p:spPr bwMode="auto">
            <a:xfrm>
              <a:off x="8780251" y="2515648"/>
              <a:ext cx="236591" cy="1714"/>
            </a:xfrm>
            <a:custGeom>
              <a:avLst/>
              <a:gdLst>
                <a:gd name="connsiteX0" fmla="*/ 0 w 701040"/>
                <a:gd name="connsiteY0" fmla="*/ 0 h 5080"/>
                <a:gd name="connsiteX1" fmla="*/ 701040 w 701040"/>
                <a:gd name="connsiteY1" fmla="*/ 5080 h 5080"/>
              </a:gdLst>
              <a:ahLst/>
              <a:cxnLst>
                <a:cxn ang="0">
                  <a:pos x="connsiteX0" y="connsiteY0"/>
                </a:cxn>
                <a:cxn ang="0">
                  <a:pos x="connsiteX1" y="connsiteY1"/>
                </a:cxn>
              </a:cxnLst>
              <a:rect l="l" t="t" r="r" b="b"/>
              <a:pathLst>
                <a:path w="701040" h="5080">
                  <a:moveTo>
                    <a:pt x="0" y="0"/>
                  </a:moveTo>
                  <a:lnTo>
                    <a:pt x="701040" y="508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5" name="Freeform: Shape 124"/>
            <p:cNvSpPr/>
            <p:nvPr/>
          </p:nvSpPr>
          <p:spPr bwMode="auto">
            <a:xfrm>
              <a:off x="8727181" y="2383791"/>
              <a:ext cx="274309" cy="1715"/>
            </a:xfrm>
            <a:custGeom>
              <a:avLst/>
              <a:gdLst>
                <a:gd name="connsiteX0" fmla="*/ 0 w 812800"/>
                <a:gd name="connsiteY0" fmla="*/ 0 h 5080"/>
                <a:gd name="connsiteX1" fmla="*/ 812800 w 812800"/>
                <a:gd name="connsiteY1" fmla="*/ 5080 h 5080"/>
              </a:gdLst>
              <a:ahLst/>
              <a:cxnLst>
                <a:cxn ang="0">
                  <a:pos x="connsiteX0" y="connsiteY0"/>
                </a:cxn>
                <a:cxn ang="0">
                  <a:pos x="connsiteX1" y="connsiteY1"/>
                </a:cxn>
              </a:cxnLst>
              <a:rect l="l" t="t" r="r" b="b"/>
              <a:pathLst>
                <a:path w="812800" h="5080">
                  <a:moveTo>
                    <a:pt x="0" y="0"/>
                  </a:moveTo>
                  <a:lnTo>
                    <a:pt x="812800" y="508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6" name="Freeform: Shape 125"/>
            <p:cNvSpPr/>
            <p:nvPr/>
          </p:nvSpPr>
          <p:spPr bwMode="auto">
            <a:xfrm>
              <a:off x="8941407" y="2393924"/>
              <a:ext cx="18859" cy="125153"/>
            </a:xfrm>
            <a:custGeom>
              <a:avLst/>
              <a:gdLst>
                <a:gd name="connsiteX0" fmla="*/ 0 w 55880"/>
                <a:gd name="connsiteY0" fmla="*/ 0 h 370840"/>
                <a:gd name="connsiteX1" fmla="*/ 55880 w 55880"/>
                <a:gd name="connsiteY1" fmla="*/ 370840 h 370840"/>
              </a:gdLst>
              <a:ahLst/>
              <a:cxnLst>
                <a:cxn ang="0">
                  <a:pos x="connsiteX0" y="connsiteY0"/>
                </a:cxn>
                <a:cxn ang="0">
                  <a:pos x="connsiteX1" y="connsiteY1"/>
                </a:cxn>
              </a:cxnLst>
              <a:rect l="l" t="t" r="r" b="b"/>
              <a:pathLst>
                <a:path w="55880" h="370840">
                  <a:moveTo>
                    <a:pt x="0" y="0"/>
                  </a:moveTo>
                  <a:lnTo>
                    <a:pt x="55880" y="37084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7" name="Freeform: Shape 126"/>
            <p:cNvSpPr/>
            <p:nvPr/>
          </p:nvSpPr>
          <p:spPr bwMode="auto">
            <a:xfrm>
              <a:off x="8723532" y="2268771"/>
              <a:ext cx="168157" cy="248592"/>
            </a:xfrm>
            <a:custGeom>
              <a:avLst/>
              <a:gdLst>
                <a:gd name="connsiteX0" fmla="*/ 501021 w 501021"/>
                <a:gd name="connsiteY0" fmla="*/ 0 h 726440"/>
                <a:gd name="connsiteX1" fmla="*/ 257181 w 501021"/>
                <a:gd name="connsiteY1" fmla="*/ 71120 h 726440"/>
                <a:gd name="connsiteX2" fmla="*/ 43821 w 501021"/>
                <a:gd name="connsiteY2" fmla="*/ 254000 h 726440"/>
                <a:gd name="connsiteX3" fmla="*/ 3181 w 501021"/>
                <a:gd name="connsiteY3" fmla="*/ 401320 h 726440"/>
                <a:gd name="connsiteX4" fmla="*/ 94621 w 501021"/>
                <a:gd name="connsiteY4" fmla="*/ 640080 h 726440"/>
                <a:gd name="connsiteX5" fmla="*/ 160661 w 501021"/>
                <a:gd name="connsiteY5" fmla="*/ 726440 h 726440"/>
                <a:gd name="connsiteX0" fmla="*/ 498263 w 498263"/>
                <a:gd name="connsiteY0" fmla="*/ 0 h 726440"/>
                <a:gd name="connsiteX1" fmla="*/ 254423 w 498263"/>
                <a:gd name="connsiteY1" fmla="*/ 71120 h 726440"/>
                <a:gd name="connsiteX2" fmla="*/ 66463 w 498263"/>
                <a:gd name="connsiteY2" fmla="*/ 238760 h 726440"/>
                <a:gd name="connsiteX3" fmla="*/ 423 w 498263"/>
                <a:gd name="connsiteY3" fmla="*/ 401320 h 726440"/>
                <a:gd name="connsiteX4" fmla="*/ 91863 w 498263"/>
                <a:gd name="connsiteY4" fmla="*/ 640080 h 726440"/>
                <a:gd name="connsiteX5" fmla="*/ 157903 w 498263"/>
                <a:gd name="connsiteY5" fmla="*/ 726440 h 726440"/>
                <a:gd name="connsiteX0" fmla="*/ 498263 w 498263"/>
                <a:gd name="connsiteY0" fmla="*/ 0 h 736600"/>
                <a:gd name="connsiteX1" fmla="*/ 254423 w 498263"/>
                <a:gd name="connsiteY1" fmla="*/ 7112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 name="connsiteX0" fmla="*/ 498263 w 498263"/>
                <a:gd name="connsiteY0" fmla="*/ 0 h 736600"/>
                <a:gd name="connsiteX1" fmla="*/ 254423 w 498263"/>
                <a:gd name="connsiteY1" fmla="*/ 8636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263" h="736600">
                  <a:moveTo>
                    <a:pt x="498263" y="0"/>
                  </a:moveTo>
                  <a:cubicBezTo>
                    <a:pt x="414443" y="14393"/>
                    <a:pt x="326390" y="46567"/>
                    <a:pt x="254423" y="86360"/>
                  </a:cubicBezTo>
                  <a:cubicBezTo>
                    <a:pt x="182456" y="126153"/>
                    <a:pt x="108796" y="186267"/>
                    <a:pt x="66463" y="238760"/>
                  </a:cubicBezTo>
                  <a:cubicBezTo>
                    <a:pt x="24130" y="291253"/>
                    <a:pt x="-3810" y="334433"/>
                    <a:pt x="423" y="401320"/>
                  </a:cubicBezTo>
                  <a:cubicBezTo>
                    <a:pt x="4656" y="468207"/>
                    <a:pt x="63076" y="584200"/>
                    <a:pt x="91863" y="640080"/>
                  </a:cubicBezTo>
                  <a:cubicBezTo>
                    <a:pt x="120650" y="695960"/>
                    <a:pt x="153246" y="720513"/>
                    <a:pt x="173143" y="73660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8" name="Freeform: Shape 127"/>
            <p:cNvSpPr/>
            <p:nvPr/>
          </p:nvSpPr>
          <p:spPr bwMode="auto">
            <a:xfrm>
              <a:off x="9003720" y="2333919"/>
              <a:ext cx="134846" cy="462895"/>
            </a:xfrm>
            <a:custGeom>
              <a:avLst/>
              <a:gdLst>
                <a:gd name="connsiteX0" fmla="*/ 399561 w 399561"/>
                <a:gd name="connsiteY0" fmla="*/ 1371600 h 1371600"/>
                <a:gd name="connsiteX1" fmla="*/ 242081 w 399561"/>
                <a:gd name="connsiteY1" fmla="*/ 1178560 h 1371600"/>
                <a:gd name="connsiteX2" fmla="*/ 64281 w 399561"/>
                <a:gd name="connsiteY2" fmla="*/ 660400 h 1371600"/>
                <a:gd name="connsiteX3" fmla="*/ 3321 w 399561"/>
                <a:gd name="connsiteY3" fmla="*/ 208280 h 1371600"/>
                <a:gd name="connsiteX4" fmla="*/ 13481 w 399561"/>
                <a:gd name="connsiteY4" fmla="*/ 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61" h="1371600">
                  <a:moveTo>
                    <a:pt x="399561" y="1371600"/>
                  </a:moveTo>
                  <a:cubicBezTo>
                    <a:pt x="348761" y="1334346"/>
                    <a:pt x="297961" y="1297093"/>
                    <a:pt x="242081" y="1178560"/>
                  </a:cubicBezTo>
                  <a:cubicBezTo>
                    <a:pt x="186201" y="1060027"/>
                    <a:pt x="104074" y="822113"/>
                    <a:pt x="64281" y="660400"/>
                  </a:cubicBezTo>
                  <a:cubicBezTo>
                    <a:pt x="24488" y="498687"/>
                    <a:pt x="11788" y="318347"/>
                    <a:pt x="3321" y="208280"/>
                  </a:cubicBezTo>
                  <a:cubicBezTo>
                    <a:pt x="-5146" y="98213"/>
                    <a:pt x="4167" y="49106"/>
                    <a:pt x="1348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29" name="Freeform: Shape 128"/>
            <p:cNvSpPr/>
            <p:nvPr/>
          </p:nvSpPr>
          <p:spPr bwMode="auto">
            <a:xfrm>
              <a:off x="8913977" y="2268771"/>
              <a:ext cx="224590" cy="70292"/>
            </a:xfrm>
            <a:custGeom>
              <a:avLst/>
              <a:gdLst>
                <a:gd name="connsiteX0" fmla="*/ 0 w 665480"/>
                <a:gd name="connsiteY0" fmla="*/ 0 h 208280"/>
                <a:gd name="connsiteX1" fmla="*/ 289560 w 665480"/>
                <a:gd name="connsiteY1" fmla="*/ 208280 h 208280"/>
                <a:gd name="connsiteX2" fmla="*/ 665480 w 665480"/>
                <a:gd name="connsiteY2" fmla="*/ 137160 h 208280"/>
              </a:gdLst>
              <a:ahLst/>
              <a:cxnLst>
                <a:cxn ang="0">
                  <a:pos x="connsiteX0" y="connsiteY0"/>
                </a:cxn>
                <a:cxn ang="0">
                  <a:pos x="connsiteX1" y="connsiteY1"/>
                </a:cxn>
                <a:cxn ang="0">
                  <a:pos x="connsiteX2" y="connsiteY2"/>
                </a:cxn>
              </a:cxnLst>
              <a:rect l="l" t="t" r="r" b="b"/>
              <a:pathLst>
                <a:path w="665480" h="208280">
                  <a:moveTo>
                    <a:pt x="0" y="0"/>
                  </a:moveTo>
                  <a:lnTo>
                    <a:pt x="289560" y="208280"/>
                  </a:lnTo>
                  <a:lnTo>
                    <a:pt x="665480" y="13716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Shape 129"/>
            <p:cNvSpPr/>
            <p:nvPr/>
          </p:nvSpPr>
          <p:spPr bwMode="auto">
            <a:xfrm>
              <a:off x="8708428" y="2853390"/>
              <a:ext cx="563864" cy="131763"/>
            </a:xfrm>
            <a:custGeom>
              <a:avLst/>
              <a:gdLst>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55880 h 390426"/>
                <a:gd name="connsiteX9" fmla="*/ 1635219 w 1670779"/>
                <a:gd name="connsiteY9" fmla="*/ 0 h 390426"/>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30480 h 390426"/>
                <a:gd name="connsiteX9" fmla="*/ 1635219 w 1670779"/>
                <a:gd name="connsiteY9" fmla="*/ 0 h 390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0779" h="390426">
                  <a:moveTo>
                    <a:pt x="1670779" y="177800"/>
                  </a:moveTo>
                  <a:cubicBezTo>
                    <a:pt x="1661889" y="193463"/>
                    <a:pt x="1652999" y="209127"/>
                    <a:pt x="1538699" y="233680"/>
                  </a:cubicBezTo>
                  <a:cubicBezTo>
                    <a:pt x="1424399" y="258233"/>
                    <a:pt x="1176325" y="299720"/>
                    <a:pt x="984979" y="325120"/>
                  </a:cubicBezTo>
                  <a:cubicBezTo>
                    <a:pt x="793633" y="350520"/>
                    <a:pt x="526932" y="378460"/>
                    <a:pt x="390619" y="386080"/>
                  </a:cubicBezTo>
                  <a:cubicBezTo>
                    <a:pt x="254306" y="393700"/>
                    <a:pt x="230599" y="392853"/>
                    <a:pt x="167099" y="370840"/>
                  </a:cubicBezTo>
                  <a:cubicBezTo>
                    <a:pt x="103599" y="348827"/>
                    <a:pt x="23166" y="281940"/>
                    <a:pt x="9619" y="254000"/>
                  </a:cubicBezTo>
                  <a:cubicBezTo>
                    <a:pt x="-3928" y="226060"/>
                    <a:pt x="-19168" y="226060"/>
                    <a:pt x="85819" y="203200"/>
                  </a:cubicBezTo>
                  <a:cubicBezTo>
                    <a:pt x="190806" y="180340"/>
                    <a:pt x="438032" y="145627"/>
                    <a:pt x="639539" y="116840"/>
                  </a:cubicBezTo>
                  <a:cubicBezTo>
                    <a:pt x="841046" y="88053"/>
                    <a:pt x="1128912" y="49953"/>
                    <a:pt x="1294859" y="30480"/>
                  </a:cubicBezTo>
                  <a:cubicBezTo>
                    <a:pt x="1460806" y="11007"/>
                    <a:pt x="1548012" y="18203"/>
                    <a:pt x="1635219"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marL="0" marR="0" lvl="0" indent="0" algn="ctr" defTabSz="5246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149" name="Text Placeholder 148"/>
          <p:cNvSpPr>
            <a:spLocks noGrp="1"/>
          </p:cNvSpPr>
          <p:nvPr>
            <p:ph type="body" sz="quarter" idx="16"/>
          </p:nvPr>
        </p:nvSpPr>
        <p:spPr>
          <a:xfrm>
            <a:off x="6502400" y="2900097"/>
            <a:ext cx="5402263" cy="3640403"/>
          </a:xfrm>
        </p:spPr>
        <p:txBody>
          <a:bodyPr>
            <a:noAutofit/>
          </a:bodyPr>
          <a:lstStyle>
            <a:lvl1pPr>
              <a:defRPr lang="en-US" sz="1600" kern="1200" dirty="0" smtClean="0">
                <a:solidFill>
                  <a:schemeClr val="bg1"/>
                </a:solidFill>
                <a:latin typeface="+mn-lt"/>
                <a:ea typeface="+mn-ea"/>
                <a:cs typeface="+mn-cs"/>
              </a:defRPr>
            </a:lvl1pPr>
            <a:lvl2pPr>
              <a:defRPr lang="en-US" sz="1600" kern="1200" dirty="0" smtClean="0">
                <a:solidFill>
                  <a:schemeClr val="bg1"/>
                </a:solidFill>
                <a:latin typeface="+mn-lt"/>
                <a:ea typeface="+mn-ea"/>
                <a:cs typeface="+mn-cs"/>
              </a:defRPr>
            </a:lvl2pPr>
            <a:lvl3pPr>
              <a:defRPr lang="en-US" sz="1600" kern="1200" dirty="0" smtClean="0">
                <a:solidFill>
                  <a:schemeClr val="bg1"/>
                </a:solidFill>
                <a:latin typeface="+mn-lt"/>
                <a:ea typeface="+mn-ea"/>
                <a:cs typeface="+mn-cs"/>
              </a:defRPr>
            </a:lvl3pPr>
            <a:lvl4pPr>
              <a:defRPr lang="en-US" sz="1600" kern="1200" dirty="0" smtClean="0">
                <a:solidFill>
                  <a:schemeClr val="bg1"/>
                </a:solidFill>
                <a:latin typeface="+mn-lt"/>
                <a:ea typeface="+mn-ea"/>
                <a:cs typeface="+mn-cs"/>
              </a:defRPr>
            </a:lvl4pPr>
            <a:lvl5pPr>
              <a:defRPr lang="en-US" sz="1600" kern="1200" dirty="0">
                <a:solidFill>
                  <a:schemeClr val="bg1"/>
                </a:solidFill>
                <a:latin typeface="+mn-lt"/>
                <a:ea typeface="+mn-ea"/>
                <a:cs typeface="+mn-cs"/>
              </a:defRPr>
            </a:lvl5pPr>
          </a:lstStyle>
          <a:p>
            <a:pPr lvl="0"/>
            <a:r>
              <a:rPr lang="en-US"/>
              <a:t>Edit Master text styles</a:t>
            </a:r>
          </a:p>
        </p:txBody>
      </p:sp>
      <p:sp>
        <p:nvSpPr>
          <p:cNvPr id="148" name="Text Placeholder 6"/>
          <p:cNvSpPr>
            <a:spLocks noGrp="1"/>
          </p:cNvSpPr>
          <p:nvPr>
            <p:ph type="body" sz="quarter" idx="17"/>
          </p:nvPr>
        </p:nvSpPr>
        <p:spPr>
          <a:xfrm>
            <a:off x="423332" y="4122738"/>
            <a:ext cx="5791731" cy="2074862"/>
          </a:xfrm>
        </p:spPr>
        <p:txBody>
          <a:bodyPr>
            <a:noAutofit/>
          </a:bodyPr>
          <a:lstStyle>
            <a:lvl1pPr>
              <a:lnSpc>
                <a:spcPct val="90000"/>
              </a:lnSpc>
              <a:spcBef>
                <a:spcPts val="600"/>
              </a:spcBef>
              <a:spcAft>
                <a:spcPts val="0"/>
              </a:spcAft>
              <a:defRPr sz="2000"/>
            </a:lvl1pPr>
            <a:lvl2pPr marL="0" indent="0">
              <a:spcBef>
                <a:spcPts val="0"/>
              </a:spcBef>
              <a:spcAft>
                <a:spcPts val="600"/>
              </a:spcAft>
              <a:buNone/>
              <a:defRPr sz="1400"/>
            </a:lvl2pPr>
            <a:lvl3pPr marL="0" indent="0">
              <a:buNone/>
              <a:defRPr/>
            </a:lvl3pPr>
            <a:lvl4pPr marL="0" indent="0">
              <a:buNone/>
              <a:defRPr/>
            </a:lvl4pPr>
            <a:lvl5pPr marL="0" indent="0">
              <a:buNone/>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811779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t>Footer</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53" y="2084183"/>
            <a:ext cx="10143478" cy="1015455"/>
          </a:xfrm>
        </p:spPr>
        <p:txBody>
          <a:bodyPr wrap="square" anchor="t" anchorCtr="0">
            <a:spAutoFit/>
          </a:bodyPr>
          <a:lstStyle>
            <a:lvl1pPr>
              <a:defRPr sz="5400">
                <a:solidFill>
                  <a:schemeClr val="bg1"/>
                </a:solidFill>
              </a:defRPr>
            </a:lvl1pPr>
          </a:lstStyle>
          <a:p>
            <a:r>
              <a:rPr lang="en-US"/>
              <a:t>Click to edit Master title sty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Title Light Purple">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52" y="2084183"/>
            <a:ext cx="11653523" cy="905104"/>
          </a:xfrm>
        </p:spPr>
        <p:txBody>
          <a:bodyPr anchor="t" anchorCtr="0">
            <a:spAutoFit/>
          </a:bodyPr>
          <a:lstStyle>
            <a:lvl1pPr>
              <a:defRPr sz="4704">
                <a:solidFill>
                  <a:schemeClr val="bg1"/>
                </a:solidFill>
              </a:defRPr>
            </a:lvl1pPr>
          </a:lstStyle>
          <a:p>
            <a:r>
              <a:rPr lang="en-US"/>
              <a:t>Click to edit Master title sty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Title Purple">
    <p:bg>
      <p:bgPr>
        <a:solidFill>
          <a:schemeClr val="accent4"/>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52" y="2084183"/>
            <a:ext cx="11653523" cy="905104"/>
          </a:xfrm>
        </p:spPr>
        <p:txBody>
          <a:bodyPr anchor="t" anchorCtr="0">
            <a:spAutoFit/>
          </a:bodyPr>
          <a:lstStyle>
            <a:lvl1pPr>
              <a:defRPr sz="4704">
                <a:solidFill>
                  <a:schemeClr val="bg1"/>
                </a:solidFill>
              </a:defRPr>
            </a:lvl1pPr>
          </a:lstStyle>
          <a:p>
            <a:r>
              <a:rPr lang="en-US"/>
              <a:t>Click to edit Master title sty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16" y="3083666"/>
            <a:ext cx="3223868" cy="690695"/>
          </a:xfrm>
          <a:prstGeom prst="rect">
            <a:avLst/>
          </a:prstGeom>
        </p:spPr>
      </p:pic>
      <p:sp>
        <p:nvSpPr>
          <p:cNvPr id="4" name="Text Box 3"/>
          <p:cNvSpPr txBox="1">
            <a:spLocks noChangeArrowheads="1"/>
          </p:cNvSpPr>
          <p:nvPr userDrawn="1"/>
        </p:nvSpPr>
        <p:spPr bwMode="blackWhite">
          <a:xfrm>
            <a:off x="267683" y="5960377"/>
            <a:ext cx="10758655" cy="612811"/>
          </a:xfrm>
          <a:prstGeom prst="rect">
            <a:avLst/>
          </a:prstGeom>
        </p:spPr>
        <p:txBody>
          <a:bodyPr vert="horz" wrap="square" lIns="179059" tIns="143246" rIns="179059" bIns="143246" numCol="1" anchor="t" anchorCtr="0" compatLnSpc="1">
            <a:prstTxWarp prst="textNoShape">
              <a:avLst/>
            </a:prstTxWarp>
            <a:spAutoFit/>
          </a:bodyPr>
          <a:lstStyle/>
          <a:p>
            <a:pPr defTabSz="912719" eaLnBrk="0" hangingPunct="0"/>
            <a:r>
              <a:rPr lang="en-US" sz="686">
                <a:gradFill>
                  <a:gsLst>
                    <a:gs pos="0">
                      <a:srgbClr val="505050"/>
                    </a:gs>
                    <a:gs pos="100000">
                      <a:srgbClr val="505050"/>
                    </a:gs>
                  </a:gsLst>
                  <a:lin ang="5400000" scaled="0"/>
                </a:gradFill>
                <a:cs typeface="Segoe UI" pitchFamily="34" charset="0"/>
              </a:rPr>
              <a:t>© 2017 Microsoft Corporation. All rights reserved. Microsoft, Windows, and other product names are or may be registered trademarks and/or trademarks in the U.S. and/or other countries.</a:t>
            </a:r>
          </a:p>
          <a:p>
            <a:pPr defTabSz="912719" eaLnBrk="0" hangingPunct="0"/>
            <a:r>
              <a:rPr lang="en-US" sz="686">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7348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69240" y="222616"/>
            <a:ext cx="8129693" cy="899665"/>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t>Footer</a:t>
            </a:r>
          </a:p>
        </p:txBody>
      </p:sp>
      <p:sp>
        <p:nvSpPr>
          <p:cNvPr id="4" name="Main Text Box"/>
          <p:cNvSpPr>
            <a:spLocks noGrp="1" noChangeArrowheads="1"/>
          </p:cNvSpPr>
          <p:nvPr>
            <p:ph idx="1"/>
          </p:nvPr>
        </p:nvSpPr>
        <p:spPr bwMode="auto">
          <a:xfrm>
            <a:off x="269240" y="1370691"/>
            <a:ext cx="8129693" cy="4677923"/>
          </a:xfrm>
          <a:prstGeom prst="rect">
            <a:avLst/>
          </a:prstGeom>
          <a:noFill/>
          <a:ln w="9525" algn="ctr">
            <a:noFill/>
            <a:miter lim="800000"/>
            <a:headEnd/>
            <a:tailEnd/>
          </a:ln>
          <a:effectLst/>
        </p:spPr>
        <p:txBody>
          <a:bodyPr vert="horz" wrap="square" lIns="146139" tIns="91337" rIns="146139" bIns="91337" numCol="1" anchor="t" anchorCtr="0" compatLnSpc="1">
            <a:prstTxWarp prst="textNoShape">
              <a:avLst/>
            </a:prstTxWarp>
            <a:noAutofit/>
          </a:bodyPr>
          <a:lstStyle>
            <a:lvl1pPr>
              <a:defRPr sz="2000" b="0" i="0">
                <a:latin typeface="+mn-lt"/>
              </a:defRPr>
            </a:lvl1pPr>
            <a:lvl2pPr>
              <a:defRPr sz="1765"/>
            </a:lvl2pPr>
            <a:lvl3pPr>
              <a:defRPr sz="1568"/>
            </a:lvl3pPr>
            <a:lvl4pPr>
              <a:defRPr sz="1372"/>
            </a:lvl4pPr>
            <a:lvl5pPr>
              <a:defRPr sz="117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6158071-A598-47FB-AF3C-DA8DB8C581FE}" type="datetimeFigureOut">
              <a:rPr lang="en-US" smtClean="0"/>
              <a:t>2/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BA1BDA-3DFC-4F14-A698-DCCF2F092190}" type="slidenum">
              <a:rPr lang="en-US" smtClean="0"/>
              <a:t>‹#›</a:t>
            </a:fld>
            <a:endParaRPr lang="en-US"/>
          </a:p>
        </p:txBody>
      </p:sp>
    </p:spTree>
    <p:extLst>
      <p:ext uri="{BB962C8B-B14F-4D97-AF65-F5344CB8AC3E}">
        <p14:creationId xmlns:p14="http://schemas.microsoft.com/office/powerpoint/2010/main" val="1373377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4DB4154-8AB2-4D61-8255-74DF1B0763F1}" type="datetimeFigureOut">
              <a:rPr lang="en-US" smtClean="0"/>
              <a:t>2/1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5883B87-BD65-4DFF-B51D-50355AB43A8C}" type="slidenum">
              <a:rPr lang="en-US" smtClean="0"/>
              <a:t>‹#›</a:t>
            </a:fld>
            <a:endParaRPr lang="en-US"/>
          </a:p>
        </p:txBody>
      </p:sp>
    </p:spTree>
    <p:extLst>
      <p:ext uri="{BB962C8B-B14F-4D97-AF65-F5344CB8AC3E}">
        <p14:creationId xmlns:p14="http://schemas.microsoft.com/office/powerpoint/2010/main" val="6895695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250374893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897940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40253027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51007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798534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223262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965116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086230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Main Text Box"/>
          <p:cNvSpPr>
            <a:spLocks noGrp="1" noChangeArrowheads="1"/>
          </p:cNvSpPr>
          <p:nvPr>
            <p:ph idx="1"/>
          </p:nvPr>
        </p:nvSpPr>
        <p:spPr bwMode="auto">
          <a:xfrm>
            <a:off x="269240" y="1860034"/>
            <a:ext cx="11655840" cy="4188579"/>
          </a:xfrm>
          <a:prstGeom prst="rect">
            <a:avLst/>
          </a:prstGeom>
          <a:noFill/>
          <a:ln w="9525" algn="ctr">
            <a:noFill/>
            <a:miter lim="800000"/>
            <a:headEnd/>
            <a:tailEnd/>
          </a:ln>
          <a:effectLst/>
        </p:spPr>
        <p:txBody>
          <a:bodyPr vert="horz" wrap="square" lIns="146139" tIns="91337" rIns="146139" bIns="91337" numCol="1" anchor="t" anchorCtr="0" compatLnSpc="1">
            <a:prstTxWarp prst="textNoShape">
              <a:avLst/>
            </a:prstTxWarp>
            <a:noAutofit/>
          </a:bodyPr>
          <a:lstStyle>
            <a:lvl1pPr>
              <a:defRPr sz="2353"/>
            </a:lvl1pPr>
            <a:lvl2pPr>
              <a:defRPr sz="1765"/>
            </a:lvl2pPr>
            <a:lvl3pPr>
              <a:defRPr sz="1568"/>
            </a:lvl3pPr>
            <a:lvl4pPr>
              <a:defRPr sz="1372"/>
            </a:lvl4pPr>
            <a:lvl5pPr>
              <a:defRPr sz="117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137"/>
            </a:lvl1pPr>
          </a:lstStyle>
          <a:p>
            <a:r>
              <a:rPr lang="en-US"/>
              <a:t>Click to edit Master title style</a:t>
            </a:r>
          </a:p>
        </p:txBody>
      </p:sp>
      <p:sp>
        <p:nvSpPr>
          <p:cNvPr id="6" name="Text Placeholder 2"/>
          <p:cNvSpPr>
            <a:spLocks noGrp="1"/>
          </p:cNvSpPr>
          <p:nvPr>
            <p:ph type="body" sz="quarter" idx="11"/>
          </p:nvPr>
        </p:nvSpPr>
        <p:spPr>
          <a:xfrm>
            <a:off x="269240" y="1189177"/>
            <a:ext cx="11655840" cy="482626"/>
          </a:xfrm>
          <a:prstGeom prst="rect">
            <a:avLst/>
          </a:prstGeom>
        </p:spPr>
        <p:txBody>
          <a:bodyPr vert="horz" wrap="square" lIns="146139" tIns="91337" rIns="146139" bIns="91337" rtlCol="0" anchor="t">
            <a:noAutofit/>
          </a:bodyPr>
          <a:lstStyle>
            <a:lvl1pPr marL="0" indent="0">
              <a:buFontTx/>
              <a:buNone/>
              <a:defRPr lang="en-US" sz="1961" b="0" cap="none" spc="-100" dirty="0" smtClean="0">
                <a:ln w="3175">
                  <a:noFill/>
                </a:ln>
                <a:solidFill>
                  <a:schemeClr val="tx1"/>
                </a:solidFill>
                <a:effectLst/>
                <a:latin typeface="+mn-lt"/>
                <a:cs typeface="Segoe UI" pitchFamily="34" charset="0"/>
              </a:defRPr>
            </a:lvl1pPr>
            <a:lvl2pPr>
              <a:defRPr lang="en-US" sz="1567" dirty="0" smtClean="0"/>
            </a:lvl2pPr>
            <a:lvl3pPr>
              <a:defRPr lang="en-US" sz="1567" dirty="0" smtClean="0"/>
            </a:lvl3pPr>
            <a:lvl4pPr>
              <a:defRPr lang="en-US" sz="1371" dirty="0" smtClean="0"/>
            </a:lvl4pPr>
            <a:lvl5pPr>
              <a:defRPr lang="en-US" sz="1371" dirty="0"/>
            </a:lvl5pPr>
          </a:lstStyle>
          <a:p>
            <a:pPr lvl="0">
              <a:spcBef>
                <a:spcPct val="0"/>
              </a:spcBef>
              <a:buNone/>
            </a:pPr>
            <a:r>
              <a:rPr lang="en-US"/>
              <a:t>Edit Master text styles</a:t>
            </a:r>
          </a:p>
        </p:txBody>
      </p:sp>
      <p:sp>
        <p:nvSpPr>
          <p:cNvPr id="3" name="Footer Placeholder 2"/>
          <p:cNvSpPr>
            <a:spLocks noGrp="1"/>
          </p:cNvSpPr>
          <p:nvPr>
            <p:ph type="ftr" sz="quarter" idx="12"/>
          </p:nvPr>
        </p:nvSpPr>
        <p:spPr/>
        <p:txBody>
          <a:bodyPr/>
          <a:lstStyle/>
          <a:p>
            <a:r>
              <a:t>Footer</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4533590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9563846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2573257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5412349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17310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39408974"/>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08133309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1333198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277933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62121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Text Placeholder 4"/>
          <p:cNvSpPr>
            <a:spLocks noGrp="1"/>
          </p:cNvSpPr>
          <p:nvPr>
            <p:ph type="body" sz="quarter" idx="13"/>
          </p:nvPr>
        </p:nvSpPr>
        <p:spPr>
          <a:xfrm>
            <a:off x="269875" y="935832"/>
            <a:ext cx="11655425" cy="373062"/>
          </a:xfrm>
        </p:spPr>
        <p:txBody>
          <a:bodyPr anchor="ctr">
            <a:noAutofit/>
          </a:bodyPr>
          <a:lstStyle>
            <a:lvl1pPr>
              <a:defRPr sz="2000"/>
            </a:lvl1pPr>
          </a:lstStyle>
          <a:p>
            <a:pPr lvl="0"/>
            <a:r>
              <a:rPr lang="en-US"/>
              <a:t>Edit Master text styles</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27025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89632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1A92948-37AE-45B7-826F-6BB8F96EB3D9}" type="datetimeFigureOut">
              <a:rPr lang="en-US" smtClean="0"/>
              <a:t>2/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9D17DFE-88F8-47D9-BE4E-1948A9B5C938}" type="slidenum">
              <a:rPr lang="en-US" smtClean="0"/>
              <a:t>‹#›</a:t>
            </a:fld>
            <a:endParaRPr lang="en-US"/>
          </a:p>
        </p:txBody>
      </p:sp>
    </p:spTree>
    <p:extLst>
      <p:ext uri="{BB962C8B-B14F-4D97-AF65-F5344CB8AC3E}">
        <p14:creationId xmlns:p14="http://schemas.microsoft.com/office/powerpoint/2010/main" val="1789540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086540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3 Text P">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0787" t="1795" r="365" b="869"/>
          <a:stretch/>
        </p:blipFill>
        <p:spPr>
          <a:xfrm>
            <a:off x="7797739" y="1"/>
            <a:ext cx="4394263" cy="6858340"/>
          </a:xfrm>
          <a:prstGeom prst="rect">
            <a:avLst/>
          </a:prstGeom>
        </p:spPr>
      </p:pic>
      <p:sp>
        <p:nvSpPr>
          <p:cNvPr id="15" name="Footer Placeholder 4"/>
          <p:cNvSpPr>
            <a:spLocks noGrp="1"/>
          </p:cNvSpPr>
          <p:nvPr>
            <p:ph type="ftr" sz="quarter" idx="3"/>
          </p:nvPr>
        </p:nvSpPr>
        <p:spPr>
          <a:xfrm>
            <a:off x="4038600" y="6492876"/>
            <a:ext cx="4114800" cy="365125"/>
          </a:xfrm>
          <a:prstGeom prst="rect">
            <a:avLst/>
          </a:prstGeom>
        </p:spPr>
        <p:txBody>
          <a:bodyPr vert="horz" lIns="91440" tIns="45720" rIns="91440" bIns="45720" rtlCol="0" anchor="ctr"/>
          <a:lstStyle>
            <a:lvl1pPr algn="ctr">
              <a:defRPr sz="900">
                <a:solidFill>
                  <a:schemeClr val="tx1"/>
                </a:solidFill>
              </a:defRPr>
            </a:lvl1pPr>
          </a:lstStyle>
          <a:p>
            <a:pPr defTabSz="914225">
              <a:defRPr/>
            </a:pPr>
            <a:r>
              <a:rPr lang="en-US" kern="0">
                <a:latin typeface="Segoe UI" panose="020B0502040204020203" pitchFamily="34" charset="0"/>
                <a:cs typeface="Segoe UI" panose="020B0502040204020203" pitchFamily="34" charset="0"/>
              </a:rPr>
              <a:t>MICROSOFT CONFIDENTIAL</a:t>
            </a:r>
          </a:p>
        </p:txBody>
      </p:sp>
      <p:sp>
        <p:nvSpPr>
          <p:cNvPr id="17" name="Slide Number Placeholder 5"/>
          <p:cNvSpPr>
            <a:spLocks noGrp="1"/>
          </p:cNvSpPr>
          <p:nvPr>
            <p:ph type="sldNum" sz="quarter" idx="4"/>
          </p:nvPr>
        </p:nvSpPr>
        <p:spPr>
          <a:xfrm>
            <a:off x="11065324" y="6492876"/>
            <a:ext cx="604157" cy="365125"/>
          </a:xfrm>
          <a:prstGeom prst="rect">
            <a:avLst/>
          </a:prstGeom>
        </p:spPr>
        <p:txBody>
          <a:bodyPr vert="horz" lIns="91440" tIns="45720" rIns="91440" bIns="45720" rtlCol="0" anchor="ctr"/>
          <a:lstStyle>
            <a:lvl1pPr algn="r">
              <a:defRPr lang="en-US" sz="900" kern="1200" smtClean="0">
                <a:solidFill>
                  <a:schemeClr val="tx1"/>
                </a:solidFill>
                <a:latin typeface="Segoe UI" panose="020B0502040204020203" pitchFamily="34" charset="0"/>
                <a:ea typeface="+mn-ea"/>
                <a:cs typeface="Segoe UI" panose="020B0502040204020203" pitchFamily="34" charset="0"/>
              </a:defRPr>
            </a:lvl1pPr>
          </a:lstStyle>
          <a:p>
            <a:pPr defTabSz="914225">
              <a:defRPr/>
            </a:pPr>
            <a:fld id="{C2555A70-3761-409A-80C6-4DAEDF7E07DB}" type="slidenum">
              <a:rPr lang="en-US" smtClean="0"/>
              <a:pPr defTabSz="914225">
                <a:defRPr/>
              </a:pPr>
              <a:t>‹#›</a:t>
            </a:fld>
            <a:endParaRPr lang="en-US"/>
          </a:p>
        </p:txBody>
      </p:sp>
      <p:sp>
        <p:nvSpPr>
          <p:cNvPr id="14" name="Title 1"/>
          <p:cNvSpPr>
            <a:spLocks noGrp="1"/>
          </p:cNvSpPr>
          <p:nvPr>
            <p:ph type="ctrTitle" hasCustomPrompt="1"/>
          </p:nvPr>
        </p:nvSpPr>
        <p:spPr>
          <a:xfrm>
            <a:off x="555171" y="561751"/>
            <a:ext cx="3200400" cy="992730"/>
          </a:xfrm>
          <a:prstGeom prst="rect">
            <a:avLst/>
          </a:prstGeom>
        </p:spPr>
        <p:txBody>
          <a:bodyPr anchor="t">
            <a:noAutofit/>
          </a:bodyPr>
          <a:lstStyle>
            <a:lvl1pPr algn="l">
              <a:lnSpc>
                <a:spcPct val="70000"/>
              </a:lnSpc>
              <a:defRPr sz="3200">
                <a:latin typeface="Segoe UI" panose="020B0502040204020203" pitchFamily="34" charset="0"/>
                <a:cs typeface="Segoe UI" panose="020B0502040204020203" pitchFamily="34" charset="0"/>
              </a:defRPr>
            </a:lvl1pPr>
          </a:lstStyle>
          <a:p>
            <a:r>
              <a:rPr lang="en-US"/>
              <a:t>Click to </a:t>
            </a:r>
            <a:br>
              <a:rPr lang="en-US"/>
            </a:br>
            <a:r>
              <a:rPr lang="en-US"/>
              <a:t>edit </a:t>
            </a:r>
            <a:br>
              <a:rPr lang="en-US"/>
            </a:br>
            <a:r>
              <a:rPr lang="en-US"/>
              <a:t>Master title</a:t>
            </a:r>
          </a:p>
        </p:txBody>
      </p:sp>
      <p:sp>
        <p:nvSpPr>
          <p:cNvPr id="16" name="Rectangle 15"/>
          <p:cNvSpPr/>
          <p:nvPr userDrawn="1"/>
        </p:nvSpPr>
        <p:spPr>
          <a:xfrm flipH="1">
            <a:off x="484632" y="548640"/>
            <a:ext cx="64008"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endParaRPr>
          </a:p>
        </p:txBody>
      </p:sp>
      <p:sp>
        <p:nvSpPr>
          <p:cNvPr id="9" name="Text Placeholder 10"/>
          <p:cNvSpPr>
            <a:spLocks noGrp="1"/>
          </p:cNvSpPr>
          <p:nvPr>
            <p:ph type="body" sz="quarter" idx="11"/>
          </p:nvPr>
        </p:nvSpPr>
        <p:spPr>
          <a:xfrm>
            <a:off x="555171" y="1828801"/>
            <a:ext cx="6675120" cy="523733"/>
          </a:xfrm>
          <a:prstGeom prst="rect">
            <a:avLst/>
          </a:prstGeom>
        </p:spPr>
        <p:txBody>
          <a:bodyPr/>
          <a:lstStyle>
            <a:lvl1pPr>
              <a:defRPr lang="en-US" sz="2400" spc="-50" baseline="0" dirty="0" smtClean="0">
                <a:latin typeface="Segoe UI" panose="020B0502040204020203" pitchFamily="34" charset="0"/>
                <a:cs typeface="Segoe UI" panose="020B0502040204020203" pitchFamily="34" charset="0"/>
              </a:defRPr>
            </a:lvl1pPr>
          </a:lstStyle>
          <a:p>
            <a:pPr marL="0" lvl="0" indent="0">
              <a:buNone/>
            </a:pPr>
            <a:r>
              <a:rPr lang="en-US"/>
              <a:t>Edit Master text styles</a:t>
            </a:r>
          </a:p>
        </p:txBody>
      </p:sp>
    </p:spTree>
    <p:extLst>
      <p:ext uri="{BB962C8B-B14F-4D97-AF65-F5344CB8AC3E}">
        <p14:creationId xmlns:p14="http://schemas.microsoft.com/office/powerpoint/2010/main" val="405339017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288">
          <p15:clr>
            <a:srgbClr val="FBAE40"/>
          </p15:clr>
        </p15:guide>
        <p15:guide id="2" orient="horz" pos="4032">
          <p15:clr>
            <a:srgbClr val="FBAE40"/>
          </p15:clr>
        </p15:guide>
        <p15:guide id="3" orient="horz" pos="2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2_Title Slid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30810" b="3400"/>
          <a:stretch/>
        </p:blipFill>
        <p:spPr>
          <a:xfrm>
            <a:off x="1" y="0"/>
            <a:ext cx="12340371" cy="6858000"/>
          </a:xfrm>
          <a:prstGeom prst="rect">
            <a:avLst/>
          </a:prstGeom>
        </p:spPr>
      </p:pic>
      <p:sp>
        <p:nvSpPr>
          <p:cNvPr id="2" name="Rectangle 1"/>
          <p:cNvSpPr/>
          <p:nvPr userDrawn="1"/>
        </p:nvSpPr>
        <p:spPr bwMode="auto">
          <a:xfrm>
            <a:off x="1" y="0"/>
            <a:ext cx="4629241" cy="6964218"/>
          </a:xfrm>
          <a:prstGeom prst="rect">
            <a:avLst/>
          </a:prstGeom>
          <a:solidFill>
            <a:srgbClr val="030708">
              <a:alpha val="52000"/>
            </a:srgbClr>
          </a:solidFill>
          <a:ln w="952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marL="0" marR="0" indent="0" algn="ctr" defTabSz="888829" rtl="0" eaLnBrk="1" fontAlgn="base" latinLnBrk="0" hangingPunct="1"/>
            <a:endParaRPr kumimoji="0" lang="en-US" sz="1400" b="0" i="0" u="none" strike="noStrike" cap="none" normalizeH="0" baseline="0">
              <a:solidFill>
                <a:schemeClr val="tx1"/>
              </a:solidFill>
              <a:effectLst/>
              <a:latin typeface="+mn-lt"/>
              <a:cs typeface="+mn-cs"/>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358120" y="6230603"/>
            <a:ext cx="1517768" cy="326950"/>
          </a:xfrm>
          <a:prstGeom prst="rect">
            <a:avLst/>
          </a:prstGeom>
        </p:spPr>
      </p:pic>
      <p:sp>
        <p:nvSpPr>
          <p:cNvPr id="7" name="Title 1"/>
          <p:cNvSpPr>
            <a:spLocks noGrp="1"/>
          </p:cNvSpPr>
          <p:nvPr>
            <p:ph type="ctrTitle" hasCustomPrompt="1"/>
          </p:nvPr>
        </p:nvSpPr>
        <p:spPr>
          <a:xfrm>
            <a:off x="269317" y="378862"/>
            <a:ext cx="4193441" cy="4282850"/>
          </a:xfrm>
        </p:spPr>
        <p:txBody>
          <a:bodyPr lIns="146139" tIns="91337" rIns="146139" bIns="91337" anchor="b" anchorCtr="0">
            <a:normAutofit/>
          </a:bodyPr>
          <a:lstStyle>
            <a:lvl1pPr algn="l">
              <a:defRPr sz="5880" b="0" cap="none" baseline="0">
                <a:solidFill>
                  <a:schemeClr val="bg1"/>
                </a:solidFill>
                <a:latin typeface="+mj-lt"/>
              </a:defRPr>
            </a:lvl1pPr>
          </a:lstStyle>
          <a:p>
            <a:r>
              <a:rPr lang="en-US"/>
              <a:t>Deck Title</a:t>
            </a:r>
          </a:p>
        </p:txBody>
      </p:sp>
      <p:sp>
        <p:nvSpPr>
          <p:cNvPr id="8" name="Subtitle 2"/>
          <p:cNvSpPr>
            <a:spLocks noGrp="1"/>
          </p:cNvSpPr>
          <p:nvPr>
            <p:ph type="subTitle" idx="1"/>
          </p:nvPr>
        </p:nvSpPr>
        <p:spPr>
          <a:xfrm>
            <a:off x="255813" y="4661713"/>
            <a:ext cx="4117614" cy="624418"/>
          </a:xfrm>
          <a:prstGeom prst="rect">
            <a:avLst/>
          </a:prstGeom>
        </p:spPr>
        <p:txBody>
          <a:bodyPr lIns="146139" tIns="109605" rIns="146139" bIns="109605"/>
          <a:lstStyle>
            <a:lvl1pPr marL="0" indent="0" algn="l">
              <a:spcBef>
                <a:spcPts val="588"/>
              </a:spcBef>
              <a:buNone/>
              <a:defRPr sz="2941" b="0" cap="none" spc="0" baseline="0">
                <a:solidFill>
                  <a:schemeClr val="bg1"/>
                </a:solidFill>
                <a:latin typeface="+mj-lt"/>
              </a:defRPr>
            </a:lvl1pPr>
            <a:lvl2pPr marL="528290" indent="0" algn="ctr">
              <a:buNone/>
              <a:defRPr>
                <a:solidFill>
                  <a:schemeClr val="tx1">
                    <a:tint val="75000"/>
                  </a:schemeClr>
                </a:solidFill>
              </a:defRPr>
            </a:lvl2pPr>
            <a:lvl3pPr marL="1056590" indent="0" algn="ctr">
              <a:buNone/>
              <a:defRPr>
                <a:solidFill>
                  <a:schemeClr val="tx1">
                    <a:tint val="75000"/>
                  </a:schemeClr>
                </a:solidFill>
              </a:defRPr>
            </a:lvl3pPr>
            <a:lvl4pPr marL="1584878" indent="0" algn="ctr">
              <a:buNone/>
              <a:defRPr>
                <a:solidFill>
                  <a:schemeClr val="tx1">
                    <a:tint val="75000"/>
                  </a:schemeClr>
                </a:solidFill>
              </a:defRPr>
            </a:lvl4pPr>
            <a:lvl5pPr marL="2113173" indent="0" algn="ctr">
              <a:buNone/>
              <a:defRPr>
                <a:solidFill>
                  <a:schemeClr val="tx1">
                    <a:tint val="75000"/>
                  </a:schemeClr>
                </a:solidFill>
              </a:defRPr>
            </a:lvl5pPr>
            <a:lvl6pPr marL="2641457" indent="0" algn="ctr">
              <a:buNone/>
              <a:defRPr>
                <a:solidFill>
                  <a:schemeClr val="tx1">
                    <a:tint val="75000"/>
                  </a:schemeClr>
                </a:solidFill>
              </a:defRPr>
            </a:lvl6pPr>
            <a:lvl7pPr marL="3169754" indent="0" algn="ctr">
              <a:buNone/>
              <a:defRPr>
                <a:solidFill>
                  <a:schemeClr val="tx1">
                    <a:tint val="75000"/>
                  </a:schemeClr>
                </a:solidFill>
              </a:defRPr>
            </a:lvl7pPr>
            <a:lvl8pPr marL="3698046" indent="0" algn="ctr">
              <a:buNone/>
              <a:defRPr>
                <a:solidFill>
                  <a:schemeClr val="tx1">
                    <a:tint val="75000"/>
                  </a:schemeClr>
                </a:solidFill>
              </a:defRPr>
            </a:lvl8pPr>
            <a:lvl9pPr marL="4226336" indent="0" algn="ctr">
              <a:buNone/>
              <a:defRPr>
                <a:solidFill>
                  <a:schemeClr val="tx1">
                    <a:tint val="75000"/>
                  </a:schemeClr>
                </a:solidFill>
              </a:defRPr>
            </a:lvl9pPr>
          </a:lstStyle>
          <a:p>
            <a:endParaRPr lang="en-US"/>
          </a:p>
        </p:txBody>
      </p:sp>
      <p:sp>
        <p:nvSpPr>
          <p:cNvPr id="10" name="SP Placeholder Confidential Disclaimer"/>
          <p:cNvSpPr>
            <a:spLocks noChangeArrowheads="1"/>
          </p:cNvSpPr>
          <p:nvPr userDrawn="1"/>
        </p:nvSpPr>
        <p:spPr bwMode="gray">
          <a:xfrm>
            <a:off x="4740054" y="6636673"/>
            <a:ext cx="2670603" cy="180690"/>
          </a:xfrm>
          <a:prstGeom prst="rect">
            <a:avLst/>
          </a:prstGeom>
          <a:noFill/>
          <a:ln w="12700" algn="ctr">
            <a:noFill/>
            <a:miter lim="800000"/>
            <a:headEnd/>
            <a:tailEnd/>
          </a:ln>
        </p:spPr>
        <p:txBody>
          <a:bodyPr wrap="none" lIns="0" tIns="0" rIns="0" bIns="0">
            <a:spAutoFit/>
          </a:bodyPr>
          <a:lstStyle/>
          <a:p>
            <a:pPr defTabSz="914192" eaLnBrk="0" hangingPunct="0">
              <a:spcBef>
                <a:spcPct val="0"/>
              </a:spcBef>
              <a:spcAft>
                <a:spcPct val="0"/>
              </a:spcAft>
            </a:pPr>
            <a:r>
              <a:rPr lang="en-US" sz="1174">
                <a:solidFill>
                  <a:schemeClr val="tx2"/>
                </a:solidFill>
                <a:ea typeface="Segoe UI"/>
                <a:cs typeface="Segoe UI"/>
                <a:sym typeface="Segoe UI"/>
              </a:rPr>
              <a:t>CONFIDENTIAL | FOR DISCUSSION ONLY</a:t>
            </a:r>
          </a:p>
        </p:txBody>
      </p:sp>
    </p:spTree>
    <p:extLst>
      <p:ext uri="{BB962C8B-B14F-4D97-AF65-F5344CB8AC3E}">
        <p14:creationId xmlns:p14="http://schemas.microsoft.com/office/powerpoint/2010/main" val="303341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Tree>
    <p:extLst>
      <p:ext uri="{BB962C8B-B14F-4D97-AF65-F5344CB8AC3E}">
        <p14:creationId xmlns:p14="http://schemas.microsoft.com/office/powerpoint/2010/main" val="175849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Text Placeholder 4"/>
          <p:cNvSpPr>
            <a:spLocks noGrp="1"/>
          </p:cNvSpPr>
          <p:nvPr>
            <p:ph type="body" sz="quarter" idx="13"/>
          </p:nvPr>
        </p:nvSpPr>
        <p:spPr>
          <a:xfrm>
            <a:off x="269875" y="935832"/>
            <a:ext cx="11655425" cy="373062"/>
          </a:xfrm>
        </p:spPr>
        <p:txBody>
          <a:bodyPr anchor="ctr">
            <a:noAutofit/>
          </a:bodyPr>
          <a:lstStyle>
            <a:lvl1pPr>
              <a:defRPr sz="2000"/>
            </a:lvl1pPr>
          </a:lstStyle>
          <a:p>
            <a:pPr lvl="0"/>
            <a:r>
              <a:rPr lang="en-US"/>
              <a:t>Edit Master text styles</a:t>
            </a:r>
          </a:p>
        </p:txBody>
      </p:sp>
    </p:spTree>
    <p:extLst>
      <p:ext uri="{BB962C8B-B14F-4D97-AF65-F5344CB8AC3E}">
        <p14:creationId xmlns:p14="http://schemas.microsoft.com/office/powerpoint/2010/main" val="968245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Tree>
    <p:extLst>
      <p:ext uri="{BB962C8B-B14F-4D97-AF65-F5344CB8AC3E}">
        <p14:creationId xmlns:p14="http://schemas.microsoft.com/office/powerpoint/2010/main" val="386497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22616"/>
            <a:ext cx="6039093" cy="899665"/>
          </a:xfrm>
        </p:spPr>
        <p:txBody>
          <a:bodyPr/>
          <a:lstStyle>
            <a:lvl1pPr>
              <a:defRPr sz="4000"/>
            </a:lvl1p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6" name="Text Placeholder 5"/>
          <p:cNvSpPr>
            <a:spLocks noGrp="1"/>
          </p:cNvSpPr>
          <p:nvPr>
            <p:ph type="body" sz="quarter" idx="13"/>
          </p:nvPr>
        </p:nvSpPr>
        <p:spPr>
          <a:xfrm>
            <a:off x="269239" y="1564640"/>
            <a:ext cx="6174423" cy="4284028"/>
          </a:xfrm>
        </p:spPr>
        <p:txBody>
          <a:bodyPr>
            <a:normAutofit/>
          </a:bodyPr>
          <a:lstStyle>
            <a:lvl1pPr>
              <a:defRPr sz="24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6648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22616"/>
            <a:ext cx="6039093" cy="899665"/>
          </a:xfrm>
        </p:spPr>
        <p:txBody>
          <a:bodyPr/>
          <a:lstStyle>
            <a:lvl1pPr>
              <a:defRPr sz="4000"/>
            </a:lvl1p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Rectangle 4"/>
          <p:cNvSpPr/>
          <p:nvPr userDrawn="1"/>
        </p:nvSpPr>
        <p:spPr bwMode="auto">
          <a:xfrm>
            <a:off x="6308333" y="0"/>
            <a:ext cx="5883667"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6" name="Text Placeholder 5"/>
          <p:cNvSpPr>
            <a:spLocks noGrp="1"/>
          </p:cNvSpPr>
          <p:nvPr>
            <p:ph type="body" sz="quarter" idx="13"/>
          </p:nvPr>
        </p:nvSpPr>
        <p:spPr>
          <a:xfrm>
            <a:off x="269240" y="1564640"/>
            <a:ext cx="5857240" cy="4284028"/>
          </a:xfrm>
        </p:spPr>
        <p:txBody>
          <a:bodyPr>
            <a:normAutofit/>
          </a:bodyPr>
          <a:lstStyle>
            <a:lvl1pPr>
              <a:defRPr sz="24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270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22616"/>
            <a:ext cx="6039093" cy="899665"/>
          </a:xfrm>
        </p:spPr>
        <p:txBody>
          <a:bodyPr/>
          <a:lstStyle>
            <a:lvl1pPr>
              <a:defRPr sz="4000"/>
            </a:lvl1p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Rectangle 4"/>
          <p:cNvSpPr/>
          <p:nvPr userDrawn="1"/>
        </p:nvSpPr>
        <p:spPr bwMode="auto">
          <a:xfrm>
            <a:off x="6308333" y="0"/>
            <a:ext cx="5883667"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Tree>
    <p:extLst>
      <p:ext uri="{BB962C8B-B14F-4D97-AF65-F5344CB8AC3E}">
        <p14:creationId xmlns:p14="http://schemas.microsoft.com/office/powerpoint/2010/main" val="96765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theme" Target="../theme/theme2.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4"/>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25" imgW="347" imgH="346" progId="TCLayout.ActiveDocument.1">
                  <p:embed/>
                </p:oleObj>
              </mc:Choice>
              <mc:Fallback>
                <p:oleObj name="think-cell Slide" r:id="rId25" imgW="347" imgH="346" progId="TCLayout.ActiveDocument.1">
                  <p:embed/>
                  <p:pic>
                    <p:nvPicPr>
                      <p:cNvPr id="7" name="Object 6" hidden="1"/>
                      <p:cNvPicPr/>
                      <p:nvPr/>
                    </p:nvPicPr>
                    <p:blipFill>
                      <a:blip r:embed="rId26"/>
                      <a:stretch>
                        <a:fillRect/>
                      </a:stretch>
                    </p:blipFill>
                    <p:spPr>
                      <a:xfrm>
                        <a:off x="1589" y="1589"/>
                        <a:ext cx="1587" cy="1587"/>
                      </a:xfrm>
                      <a:prstGeom prst="rect">
                        <a:avLst/>
                      </a:prstGeom>
                    </p:spPr>
                  </p:pic>
                </p:oleObj>
              </mc:Fallback>
            </mc:AlternateContent>
          </a:graphicData>
        </a:graphic>
      </p:graphicFrame>
      <p:sp>
        <p:nvSpPr>
          <p:cNvPr id="1026" name="Slide Title"/>
          <p:cNvSpPr>
            <a:spLocks noGrp="1" noChangeArrowheads="1"/>
          </p:cNvSpPr>
          <p:nvPr>
            <p:ph type="title"/>
          </p:nvPr>
        </p:nvSpPr>
        <p:spPr bwMode="auto">
          <a:xfrm>
            <a:off x="269240" y="222616"/>
            <a:ext cx="11655840" cy="899665"/>
          </a:xfrm>
          <a:prstGeom prst="rect">
            <a:avLst/>
          </a:prstGeom>
          <a:noFill/>
          <a:ln w="9525" algn="ctr">
            <a:noFill/>
            <a:miter lim="800000"/>
            <a:headEnd/>
            <a:tailEnd/>
          </a:ln>
          <a:effectLst/>
        </p:spPr>
        <p:txBody>
          <a:bodyPr vert="horz" wrap="square" lIns="146139" tIns="91337" rIns="146139" bIns="91337" numCol="1" anchor="t" anchorCtr="0" compatLnSpc="1">
            <a:prstTxWarp prst="textNoShape">
              <a:avLst/>
            </a:prstTxWarp>
            <a:noAutofit/>
          </a:bodyPr>
          <a:lstStyle/>
          <a:p>
            <a:pPr lvl="0"/>
            <a:r>
              <a:rPr lang="en-US"/>
              <a:t>Enter Title Text</a:t>
            </a:r>
          </a:p>
        </p:txBody>
      </p:sp>
      <p:sp>
        <p:nvSpPr>
          <p:cNvPr id="6" name="Page Number"/>
          <p:cNvSpPr txBox="1"/>
          <p:nvPr/>
        </p:nvSpPr>
        <p:spPr>
          <a:xfrm>
            <a:off x="11719595" y="6641285"/>
            <a:ext cx="205486" cy="124521"/>
          </a:xfrm>
          <a:prstGeom prst="rect">
            <a:avLst/>
          </a:prstGeom>
          <a:noFill/>
          <a:ln/>
          <a:effectLst/>
        </p:spPr>
        <p:txBody>
          <a:bodyPr wrap="none" lIns="0" tIns="0" rIns="0" bIns="0" rtlCol="0">
            <a:noAutofit/>
          </a:bodyPr>
          <a:lstStyle/>
          <a:p>
            <a:pPr algn="r" defTabSz="895204">
              <a:defRPr/>
            </a:pPr>
            <a:fld id="{8FDC6993-5875-43F1-AB5B-56FAFD3221C9}" type="slidenum">
              <a:rPr lang="en-US" sz="882">
                <a:solidFill>
                  <a:srgbClr val="505050"/>
                </a:solidFill>
              </a:rPr>
              <a:pPr algn="r" defTabSz="895204">
                <a:defRPr/>
              </a:pPr>
              <a:t>‹#›</a:t>
            </a:fld>
            <a:endParaRPr lang="en-US" sz="882">
              <a:solidFill>
                <a:srgbClr val="505050"/>
              </a:solidFill>
            </a:endParaRPr>
          </a:p>
          <a:p>
            <a:pPr defTabSz="914367"/>
            <a:endParaRPr lang="en-US" sz="882">
              <a:solidFill>
                <a:srgbClr val="505050"/>
              </a:solidFill>
            </a:endParaRPr>
          </a:p>
        </p:txBody>
      </p:sp>
      <p:sp>
        <p:nvSpPr>
          <p:cNvPr id="9" name="SP Placeholder Footnote and Source" hidden="1"/>
          <p:cNvSpPr txBox="1">
            <a:spLocks noChangeArrowheads="1"/>
          </p:cNvSpPr>
          <p:nvPr userDrawn="1"/>
        </p:nvSpPr>
        <p:spPr bwMode="auto">
          <a:xfrm>
            <a:off x="269240" y="6182095"/>
            <a:ext cx="11655840" cy="344017"/>
          </a:xfrm>
          <a:prstGeom prst="rect">
            <a:avLst/>
          </a:prstGeom>
          <a:noFill/>
          <a:ln w="12700">
            <a:noFill/>
            <a:miter lim="800000"/>
            <a:headEnd/>
            <a:tailEnd/>
          </a:ln>
        </p:spPr>
        <p:txBody>
          <a:bodyPr wrap="square" lIns="143407" tIns="89630" rIns="143407" bIns="89630" anchor="b">
            <a:spAutoFit/>
          </a:bodyPr>
          <a:lstStyle/>
          <a:p>
            <a:pPr defTabSz="914367" eaLnBrk="0" hangingPunct="0">
              <a:lnSpc>
                <a:spcPct val="90000"/>
              </a:lnSpc>
              <a:spcBef>
                <a:spcPct val="0"/>
              </a:spcBef>
              <a:spcAft>
                <a:spcPct val="0"/>
              </a:spcAft>
            </a:pPr>
            <a:r>
              <a:rPr lang="en-US" sz="1175" baseline="30000">
                <a:solidFill>
                  <a:srgbClr val="505050"/>
                </a:solidFill>
                <a:ea typeface="Segoe UI"/>
                <a:cs typeface="Segoe UI"/>
                <a:sym typeface="Segoe UI"/>
              </a:rPr>
              <a:t>1</a:t>
            </a:r>
            <a:r>
              <a:rPr lang="en-US" sz="1175">
                <a:solidFill>
                  <a:srgbClr val="505050"/>
                </a:solidFill>
                <a:ea typeface="Segoe UI"/>
                <a:cs typeface="Segoe UI"/>
                <a:sym typeface="Segoe UI"/>
              </a:rPr>
              <a:t>Lorem ipsum dolor sit </a:t>
            </a:r>
            <a:r>
              <a:rPr lang="en-US" sz="1175" err="1">
                <a:solidFill>
                  <a:srgbClr val="505050"/>
                </a:solidFill>
                <a:ea typeface="Segoe UI"/>
                <a:cs typeface="Segoe UI"/>
                <a:sym typeface="Segoe UI"/>
              </a:rPr>
              <a:t>amet</a:t>
            </a:r>
            <a:endParaRPr lang="en-US" sz="1175">
              <a:solidFill>
                <a:srgbClr val="505050"/>
              </a:solidFill>
              <a:ea typeface="Segoe UI"/>
              <a:cs typeface="Segoe UI"/>
              <a:sym typeface="Segoe UI"/>
            </a:endParaRPr>
          </a:p>
        </p:txBody>
      </p:sp>
      <p:sp>
        <p:nvSpPr>
          <p:cNvPr id="10" name="SP Placeholder Confidential Disclaimer"/>
          <p:cNvSpPr>
            <a:spLocks noChangeArrowheads="1"/>
          </p:cNvSpPr>
          <p:nvPr userDrawn="1"/>
        </p:nvSpPr>
        <p:spPr bwMode="gray">
          <a:xfrm>
            <a:off x="745075" y="7259651"/>
            <a:ext cx="2723502" cy="180819"/>
          </a:xfrm>
          <a:prstGeom prst="rect">
            <a:avLst/>
          </a:prstGeom>
          <a:noFill/>
          <a:ln w="12700" algn="ctr">
            <a:noFill/>
            <a:miter lim="800000"/>
            <a:headEnd/>
            <a:tailEnd/>
          </a:ln>
        </p:spPr>
        <p:txBody>
          <a:bodyPr wrap="none" lIns="0" tIns="0" rIns="0" bIns="0">
            <a:spAutoFit/>
          </a:bodyPr>
          <a:lstStyle/>
          <a:p>
            <a:pPr defTabSz="914367" eaLnBrk="0" hangingPunct="0">
              <a:spcBef>
                <a:spcPct val="0"/>
              </a:spcBef>
              <a:spcAft>
                <a:spcPct val="0"/>
              </a:spcAft>
            </a:pPr>
            <a:r>
              <a:rPr lang="en-US" sz="1175">
                <a:solidFill>
                  <a:srgbClr val="4D4D4D"/>
                </a:solidFill>
                <a:ea typeface="Segoe UI"/>
                <a:cs typeface="Segoe UI"/>
                <a:sym typeface="Segoe UI"/>
              </a:rPr>
              <a:t>CONFIDENTIAL | FOR DISCUSSION ONLY</a:t>
            </a:r>
          </a:p>
        </p:txBody>
      </p:sp>
      <p:sp>
        <p:nvSpPr>
          <p:cNvPr id="2" name="Text Placeholder 1"/>
          <p:cNvSpPr>
            <a:spLocks noGrp="1"/>
          </p:cNvSpPr>
          <p:nvPr>
            <p:ph type="body" idx="1"/>
          </p:nvPr>
        </p:nvSpPr>
        <p:spPr>
          <a:xfrm>
            <a:off x="269240" y="1434483"/>
            <a:ext cx="11655840" cy="4614601"/>
          </a:xfrm>
          <a:prstGeom prst="rect">
            <a:avLst/>
          </a:prstGeom>
        </p:spPr>
        <p:txBody>
          <a:bodyPr vert="horz" lIns="146304" tIns="91440" rIns="146304" bIns="9144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SP Placeholder Draft Stamp" hidden="1"/>
          <p:cNvGrpSpPr/>
          <p:nvPr userDrawn="1"/>
        </p:nvGrpSpPr>
        <p:grpSpPr>
          <a:xfrm>
            <a:off x="5602915" y="6190420"/>
            <a:ext cx="986170" cy="324406"/>
            <a:chOff x="5456237" y="6313664"/>
            <a:chExt cx="1005945" cy="330865"/>
          </a:xfrm>
        </p:grpSpPr>
        <p:sp>
          <p:nvSpPr>
            <p:cNvPr id="3" name="TextBox 2"/>
            <p:cNvSpPr txBox="1"/>
            <p:nvPr userDrawn="1"/>
          </p:nvSpPr>
          <p:spPr>
            <a:xfrm>
              <a:off x="5456237" y="6313664"/>
              <a:ext cx="1005945" cy="313773"/>
            </a:xfrm>
            <a:prstGeom prst="rect">
              <a:avLst/>
            </a:prstGeom>
            <a:noFill/>
          </p:spPr>
          <p:txBody>
            <a:bodyPr vert="horz" wrap="square" rtlCol="0" anchor="ctr">
              <a:spAutoFit/>
            </a:bodyPr>
            <a:lstStyle/>
            <a:p>
              <a:pPr defTabSz="914367"/>
              <a:r>
                <a:rPr lang="en-US" sz="1371">
                  <a:solidFill>
                    <a:srgbClr val="505050"/>
                  </a:solidFill>
                </a:rPr>
                <a:t>DRAFT</a:t>
              </a:r>
            </a:p>
          </p:txBody>
        </p:sp>
        <p:cxnSp>
          <p:nvCxnSpPr>
            <p:cNvPr id="5" name="Straight Connector 4"/>
            <p:cNvCxnSpPr/>
            <p:nvPr userDrawn="1"/>
          </p:nvCxnSpPr>
          <p:spPr bwMode="auto">
            <a:xfrm>
              <a:off x="5578209" y="6644529"/>
              <a:ext cx="762000" cy="0"/>
            </a:xfrm>
            <a:prstGeom prst="line">
              <a:avLst/>
            </a:prstGeom>
            <a:noFill/>
            <a:ln w="19050" cap="flat" cmpd="sng" algn="ctr">
              <a:solidFill>
                <a:schemeClr val="tx1"/>
              </a:solidFill>
              <a:prstDash val="solid"/>
              <a:round/>
              <a:headEnd type="none" w="med" len="med"/>
              <a:tailEnd type="none" w="med" len="med"/>
            </a:ln>
            <a:effectLst/>
          </p:spPr>
        </p:cxnSp>
        <p:cxnSp>
          <p:nvCxnSpPr>
            <p:cNvPr id="16" name="Straight Connector 15"/>
            <p:cNvCxnSpPr/>
            <p:nvPr userDrawn="1"/>
          </p:nvCxnSpPr>
          <p:spPr bwMode="auto">
            <a:xfrm>
              <a:off x="5578209" y="6317110"/>
              <a:ext cx="762000" cy="0"/>
            </a:xfrm>
            <a:prstGeom prst="line">
              <a:avLst/>
            </a:prstGeom>
            <a:noFill/>
            <a:ln w="19050" cap="flat" cmpd="sng" algn="ctr">
              <a:solidFill>
                <a:schemeClr val="tx1"/>
              </a:solidFill>
              <a:prstDash val="solid"/>
              <a:round/>
              <a:headEnd type="none" w="med" len="med"/>
              <a:tailEnd type="none" w="med" len="med"/>
            </a:ln>
            <a:effectLst/>
          </p:spPr>
        </p:cxnSp>
      </p:grpSp>
      <p:sp>
        <p:nvSpPr>
          <p:cNvPr id="4" name="Footer Placeholder 3"/>
          <p:cNvSpPr>
            <a:spLocks noGrp="1"/>
          </p:cNvSpPr>
          <p:nvPr>
            <p:ph type="ftr" sz="quarter" idx="3"/>
          </p:nvPr>
        </p:nvSpPr>
        <p:spPr>
          <a:xfrm>
            <a:off x="269240" y="6541144"/>
            <a:ext cx="4332718" cy="3168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46304" tIns="91440" rIns="146304" bIns="91440" rtlCol="0" anchor="ctr">
            <a:noAutofit/>
          </a:bodyPr>
          <a:lstStyle>
            <a:lvl1pPr>
              <a:defRPr lang="en-US" sz="882">
                <a:solidFill>
                  <a:srgbClr val="505050"/>
                </a:solidFill>
              </a:defRPr>
            </a:lvl1pPr>
          </a:lstStyle>
          <a:p>
            <a:pPr defTabSz="914367"/>
            <a:r>
              <a:rPr lang="en-US"/>
              <a:t>Footer</a:t>
            </a:r>
          </a:p>
        </p:txBody>
      </p:sp>
    </p:spTree>
    <p:extLst>
      <p:ext uri="{BB962C8B-B14F-4D97-AF65-F5344CB8AC3E}">
        <p14:creationId xmlns:p14="http://schemas.microsoft.com/office/powerpoint/2010/main" val="7393318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5" r:id="rId4"/>
    <p:sldLayoutId id="2147483892" r:id="rId5"/>
    <p:sldLayoutId id="2147483885" r:id="rId6"/>
    <p:sldLayoutId id="2147483800" r:id="rId7"/>
    <p:sldLayoutId id="2147483794" r:id="rId8"/>
    <p:sldLayoutId id="2147483795" r:id="rId9"/>
    <p:sldLayoutId id="2147483886" r:id="rId10"/>
    <p:sldLayoutId id="2147483891" r:id="rId11"/>
    <p:sldLayoutId id="2147483889" r:id="rId12"/>
    <p:sldLayoutId id="2147483890" r:id="rId13"/>
    <p:sldLayoutId id="2147483676" r:id="rId14"/>
    <p:sldLayoutId id="2147483677" r:id="rId15"/>
    <p:sldLayoutId id="2147483678" r:id="rId16"/>
    <p:sldLayoutId id="2147483679" r:id="rId17"/>
    <p:sldLayoutId id="2147483680" r:id="rId18"/>
    <p:sldLayoutId id="2147483893" r:id="rId19"/>
    <p:sldLayoutId id="2147483920" r:id="rId20"/>
    <p:sldLayoutId id="2147483921"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027430" rtl="0" eaLnBrk="1" fontAlgn="base" hangingPunct="1">
        <a:spcBef>
          <a:spcPct val="0"/>
        </a:spcBef>
        <a:spcAft>
          <a:spcPct val="0"/>
        </a:spcAft>
        <a:defRPr sz="4000" b="0" baseline="0">
          <a:solidFill>
            <a:schemeClr val="accent1"/>
          </a:solidFill>
          <a:latin typeface="+mj-lt"/>
          <a:ea typeface="+mj-ea"/>
          <a:cs typeface="+mj-cs"/>
        </a:defRPr>
      </a:lvl1pPr>
      <a:lvl2pPr algn="l" defTabSz="1027430" rtl="0" eaLnBrk="1" fontAlgn="base" hangingPunct="1">
        <a:spcBef>
          <a:spcPct val="0"/>
        </a:spcBef>
        <a:spcAft>
          <a:spcPct val="0"/>
        </a:spcAft>
        <a:defRPr sz="2745" b="1">
          <a:solidFill>
            <a:schemeClr val="tx2"/>
          </a:solidFill>
          <a:latin typeface="Trebuchet MS" pitchFamily="34" charset="0"/>
          <a:cs typeface="Arial" charset="0"/>
        </a:defRPr>
      </a:lvl2pPr>
      <a:lvl3pPr algn="l" defTabSz="1027430" rtl="0" eaLnBrk="1" fontAlgn="base" hangingPunct="1">
        <a:spcBef>
          <a:spcPct val="0"/>
        </a:spcBef>
        <a:spcAft>
          <a:spcPct val="0"/>
        </a:spcAft>
        <a:defRPr sz="2745" b="1">
          <a:solidFill>
            <a:schemeClr val="tx2"/>
          </a:solidFill>
          <a:latin typeface="Trebuchet MS" pitchFamily="34" charset="0"/>
          <a:cs typeface="Arial" charset="0"/>
        </a:defRPr>
      </a:lvl3pPr>
      <a:lvl4pPr algn="l" defTabSz="1027430" rtl="0" eaLnBrk="1" fontAlgn="base" hangingPunct="1">
        <a:spcBef>
          <a:spcPct val="0"/>
        </a:spcBef>
        <a:spcAft>
          <a:spcPct val="0"/>
        </a:spcAft>
        <a:defRPr sz="2745" b="1">
          <a:solidFill>
            <a:schemeClr val="tx2"/>
          </a:solidFill>
          <a:latin typeface="Trebuchet MS" pitchFamily="34" charset="0"/>
          <a:cs typeface="Arial" charset="0"/>
        </a:defRPr>
      </a:lvl4pPr>
      <a:lvl5pPr algn="l" defTabSz="1027430" rtl="0" eaLnBrk="1" fontAlgn="base" hangingPunct="1">
        <a:spcBef>
          <a:spcPct val="0"/>
        </a:spcBef>
        <a:spcAft>
          <a:spcPct val="0"/>
        </a:spcAft>
        <a:defRPr sz="2745" b="1">
          <a:solidFill>
            <a:schemeClr val="tx2"/>
          </a:solidFill>
          <a:latin typeface="Trebuchet MS" pitchFamily="34" charset="0"/>
          <a:cs typeface="Arial" charset="0"/>
        </a:defRPr>
      </a:lvl5pPr>
      <a:lvl6pPr marL="528391" algn="l" defTabSz="1027430" rtl="0" eaLnBrk="1" fontAlgn="base" hangingPunct="1">
        <a:spcBef>
          <a:spcPct val="0"/>
        </a:spcBef>
        <a:spcAft>
          <a:spcPct val="0"/>
        </a:spcAft>
        <a:defRPr sz="2745" b="1">
          <a:solidFill>
            <a:schemeClr val="tx2"/>
          </a:solidFill>
          <a:latin typeface="Trebuchet MS" pitchFamily="34" charset="0"/>
          <a:cs typeface="Arial" charset="0"/>
        </a:defRPr>
      </a:lvl6pPr>
      <a:lvl7pPr marL="1056793" algn="l" defTabSz="1027430" rtl="0" eaLnBrk="1" fontAlgn="base" hangingPunct="1">
        <a:spcBef>
          <a:spcPct val="0"/>
        </a:spcBef>
        <a:spcAft>
          <a:spcPct val="0"/>
        </a:spcAft>
        <a:defRPr sz="2745" b="1">
          <a:solidFill>
            <a:schemeClr val="tx2"/>
          </a:solidFill>
          <a:latin typeface="Trebuchet MS" pitchFamily="34" charset="0"/>
          <a:cs typeface="Arial" charset="0"/>
        </a:defRPr>
      </a:lvl7pPr>
      <a:lvl8pPr marL="1585183" algn="l" defTabSz="1027430" rtl="0" eaLnBrk="1" fontAlgn="base" hangingPunct="1">
        <a:spcBef>
          <a:spcPct val="0"/>
        </a:spcBef>
        <a:spcAft>
          <a:spcPct val="0"/>
        </a:spcAft>
        <a:defRPr sz="2745" b="1">
          <a:solidFill>
            <a:schemeClr val="tx2"/>
          </a:solidFill>
          <a:latin typeface="Trebuchet MS" pitchFamily="34" charset="0"/>
          <a:cs typeface="Arial" charset="0"/>
        </a:defRPr>
      </a:lvl8pPr>
      <a:lvl9pPr marL="2113579" algn="l" defTabSz="1027430" rtl="0" eaLnBrk="1" fontAlgn="base" hangingPunct="1">
        <a:spcBef>
          <a:spcPct val="0"/>
        </a:spcBef>
        <a:spcAft>
          <a:spcPct val="0"/>
        </a:spcAft>
        <a:defRPr sz="2745" b="1">
          <a:solidFill>
            <a:schemeClr val="tx2"/>
          </a:solidFill>
          <a:latin typeface="Trebuchet MS" pitchFamily="34" charset="0"/>
          <a:cs typeface="Arial" charset="0"/>
        </a:defRPr>
      </a:lvl9pPr>
    </p:titleStyle>
    <p:bodyStyle>
      <a:lvl1pPr marL="0" indent="0" algn="l" defTabSz="1027430" rtl="0" eaLnBrk="1" fontAlgn="base" hangingPunct="1">
        <a:spcBef>
          <a:spcPts val="1765"/>
        </a:spcBef>
        <a:spcAft>
          <a:spcPts val="0"/>
        </a:spcAft>
        <a:buClrTx/>
        <a:buFontTx/>
        <a:buNone/>
        <a:defRPr sz="1765" b="0" cap="none" spc="0" baseline="0">
          <a:ln>
            <a:noFill/>
          </a:ln>
          <a:solidFill>
            <a:schemeClr val="tx1"/>
          </a:solidFill>
          <a:effectLst/>
          <a:latin typeface="+mn-lt"/>
          <a:ea typeface="+mn-ea"/>
          <a:cs typeface="+mn-cs"/>
        </a:defRPr>
      </a:lvl1pPr>
      <a:lvl2pPr marL="447602" marR="0" indent="-223802" algn="l" defTabSz="1027430" rtl="0" eaLnBrk="1" fontAlgn="base" latinLnBrk="0" hangingPunct="1">
        <a:lnSpc>
          <a:spcPct val="100000"/>
        </a:lnSpc>
        <a:spcBef>
          <a:spcPct val="20000"/>
        </a:spcBef>
        <a:spcAft>
          <a:spcPct val="0"/>
        </a:spcAft>
        <a:buClrTx/>
        <a:buSzTx/>
        <a:buFont typeface="Arial" panose="020B0604020202020204" pitchFamily="34" charset="0"/>
        <a:buChar char="•"/>
        <a:tabLst/>
        <a:defRPr sz="1567" b="0">
          <a:solidFill>
            <a:schemeClr val="tx1"/>
          </a:solidFill>
          <a:latin typeface="+mn-lt"/>
          <a:cs typeface="+mn-cs"/>
        </a:defRPr>
      </a:lvl2pPr>
      <a:lvl3pPr marL="671405" indent="-223802" algn="l" defTabSz="1027430" rtl="0" eaLnBrk="1" fontAlgn="base" hangingPunct="1">
        <a:spcBef>
          <a:spcPts val="588"/>
        </a:spcBef>
        <a:spcAft>
          <a:spcPct val="0"/>
        </a:spcAft>
        <a:buClrTx/>
        <a:buFont typeface="Arial" pitchFamily="34" charset="0"/>
        <a:buChar char="•"/>
        <a:defRPr sz="1371" b="0">
          <a:solidFill>
            <a:schemeClr val="tx1"/>
          </a:solidFill>
          <a:latin typeface="+mn-lt"/>
          <a:cs typeface="+mn-cs"/>
        </a:defRPr>
      </a:lvl3pPr>
      <a:lvl4pPr marL="895204" indent="-223802" algn="l" defTabSz="1027430" rtl="0" eaLnBrk="1" fontAlgn="base" hangingPunct="1">
        <a:spcBef>
          <a:spcPts val="588"/>
        </a:spcBef>
        <a:spcAft>
          <a:spcPct val="0"/>
        </a:spcAft>
        <a:buClrTx/>
        <a:buFont typeface="Arial" panose="020B0604020202020204" pitchFamily="34" charset="0"/>
        <a:buChar char="•"/>
        <a:defRPr sz="1175" b="0">
          <a:solidFill>
            <a:schemeClr val="tx1"/>
          </a:solidFill>
          <a:latin typeface="+mn-lt"/>
          <a:cs typeface="+mn-cs"/>
        </a:defRPr>
      </a:lvl4pPr>
      <a:lvl5pPr marL="1119005" indent="-223802" algn="l" defTabSz="1027430" rtl="0" eaLnBrk="1" fontAlgn="base" hangingPunct="1">
        <a:spcBef>
          <a:spcPts val="588"/>
        </a:spcBef>
        <a:spcAft>
          <a:spcPct val="0"/>
        </a:spcAft>
        <a:buClrTx/>
        <a:buFont typeface="Arial" pitchFamily="34" charset="0"/>
        <a:buChar char="•"/>
        <a:defRPr sz="1077" b="0">
          <a:solidFill>
            <a:schemeClr val="tx1"/>
          </a:solidFill>
          <a:latin typeface="+mn-lt"/>
          <a:cs typeface="+mn-cs"/>
        </a:defRPr>
      </a:lvl5pPr>
      <a:lvl6pPr marL="2838284" indent="-255024" algn="l" defTabSz="1027430"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66681" indent="-255024" algn="l" defTabSz="1027430"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895072" indent="-255024" algn="l" defTabSz="1027430"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3467" indent="-255024" algn="l" defTabSz="1027430"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p:bodyStyle>
    <p:otherStyle>
      <a:defPPr>
        <a:defRPr lang="en-US"/>
      </a:defPPr>
      <a:lvl1pPr marL="0" algn="l" defTabSz="1056793" rtl="0" eaLnBrk="1" latinLnBrk="0" hangingPunct="1">
        <a:defRPr sz="2059" kern="1200">
          <a:solidFill>
            <a:schemeClr val="tx1"/>
          </a:solidFill>
          <a:latin typeface="+mn-lt"/>
          <a:ea typeface="+mn-ea"/>
          <a:cs typeface="+mn-cs"/>
        </a:defRPr>
      </a:lvl1pPr>
      <a:lvl2pPr marL="528391" algn="l" defTabSz="1056793" rtl="0" eaLnBrk="1" latinLnBrk="0" hangingPunct="1">
        <a:defRPr sz="2059" kern="1200">
          <a:solidFill>
            <a:schemeClr val="tx1"/>
          </a:solidFill>
          <a:latin typeface="+mn-lt"/>
          <a:ea typeface="+mn-ea"/>
          <a:cs typeface="+mn-cs"/>
        </a:defRPr>
      </a:lvl2pPr>
      <a:lvl3pPr marL="1056793" algn="l" defTabSz="1056793" rtl="0" eaLnBrk="1" latinLnBrk="0" hangingPunct="1">
        <a:defRPr sz="2059" kern="1200">
          <a:solidFill>
            <a:schemeClr val="tx1"/>
          </a:solidFill>
          <a:latin typeface="+mn-lt"/>
          <a:ea typeface="+mn-ea"/>
          <a:cs typeface="+mn-cs"/>
        </a:defRPr>
      </a:lvl3pPr>
      <a:lvl4pPr marL="1585183" algn="l" defTabSz="1056793" rtl="0" eaLnBrk="1" latinLnBrk="0" hangingPunct="1">
        <a:defRPr sz="2059" kern="1200">
          <a:solidFill>
            <a:schemeClr val="tx1"/>
          </a:solidFill>
          <a:latin typeface="+mn-lt"/>
          <a:ea typeface="+mn-ea"/>
          <a:cs typeface="+mn-cs"/>
        </a:defRPr>
      </a:lvl4pPr>
      <a:lvl5pPr marL="2113579" algn="l" defTabSz="1056793" rtl="0" eaLnBrk="1" latinLnBrk="0" hangingPunct="1">
        <a:defRPr sz="2059" kern="1200">
          <a:solidFill>
            <a:schemeClr val="tx1"/>
          </a:solidFill>
          <a:latin typeface="+mn-lt"/>
          <a:ea typeface="+mn-ea"/>
          <a:cs typeface="+mn-cs"/>
        </a:defRPr>
      </a:lvl5pPr>
      <a:lvl6pPr marL="2641964" algn="l" defTabSz="1056793" rtl="0" eaLnBrk="1" latinLnBrk="0" hangingPunct="1">
        <a:defRPr sz="2059" kern="1200">
          <a:solidFill>
            <a:schemeClr val="tx1"/>
          </a:solidFill>
          <a:latin typeface="+mn-lt"/>
          <a:ea typeface="+mn-ea"/>
          <a:cs typeface="+mn-cs"/>
        </a:defRPr>
      </a:lvl6pPr>
      <a:lvl7pPr marL="3170363" algn="l" defTabSz="1056793" rtl="0" eaLnBrk="1" latinLnBrk="0" hangingPunct="1">
        <a:defRPr sz="2059" kern="1200">
          <a:solidFill>
            <a:schemeClr val="tx1"/>
          </a:solidFill>
          <a:latin typeface="+mn-lt"/>
          <a:ea typeface="+mn-ea"/>
          <a:cs typeface="+mn-cs"/>
        </a:defRPr>
      </a:lvl7pPr>
      <a:lvl8pPr marL="3698757" algn="l" defTabSz="1056793" rtl="0" eaLnBrk="1" latinLnBrk="0" hangingPunct="1">
        <a:defRPr sz="2059" kern="1200">
          <a:solidFill>
            <a:schemeClr val="tx1"/>
          </a:solidFill>
          <a:latin typeface="+mn-lt"/>
          <a:ea typeface="+mn-ea"/>
          <a:cs typeface="+mn-cs"/>
        </a:defRPr>
      </a:lvl8pPr>
      <a:lvl9pPr marL="4227148" algn="l" defTabSz="1056793" rtl="0" eaLnBrk="1" latinLnBrk="0" hangingPunct="1">
        <a:defRPr sz="205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pos="3917">
          <p15:clr>
            <a:srgbClr val="F26B43"/>
          </p15:clr>
        </p15:guide>
        <p15:guide id="3" pos="173">
          <p15:clr>
            <a:srgbClr val="F26B43"/>
          </p15:clr>
        </p15:guide>
        <p15:guide id="4" pos="7662">
          <p15:clr>
            <a:srgbClr val="F26B43"/>
          </p15:clr>
        </p15:guide>
        <p15:guide id="5" orient="horz" pos="143">
          <p15:clr>
            <a:srgbClr val="F26B43"/>
          </p15:clr>
        </p15:guide>
        <p15:guide id="6" orient="horz" pos="721">
          <p15:clr>
            <a:srgbClr val="F26B43"/>
          </p15:clr>
        </p15:guide>
        <p15:guide id="8" orient="horz" pos="388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46403539"/>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 id="2147483917" r:id="rId23"/>
    <p:sldLayoutId id="2147483918" r:id="rId24"/>
    <p:sldLayoutId id="2147483919"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43.xml"/><Relationship Id="rId5" Type="http://schemas.openxmlformats.org/officeDocument/2006/relationships/image" Target="../media/image25.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customXml" Target="../../customXml/item8.xml"/><Relationship Id="rId7" Type="http://schemas.openxmlformats.org/officeDocument/2006/relationships/notesSlide" Target="../notesSlides/notesSlide13.xml"/><Relationship Id="rId2" Type="http://schemas.openxmlformats.org/officeDocument/2006/relationships/customXml" Target="../../customXml/item3.xml"/><Relationship Id="rId1" Type="http://schemas.openxmlformats.org/officeDocument/2006/relationships/customXml" Target="../../customXml/item4.xml"/><Relationship Id="rId6" Type="http://schemas.openxmlformats.org/officeDocument/2006/relationships/slideLayout" Target="../slideLayouts/slideLayout43.xml"/><Relationship Id="rId5" Type="http://schemas.openxmlformats.org/officeDocument/2006/relationships/customXml" Target="../../customXml/item5.xml"/><Relationship Id="rId10" Type="http://schemas.openxmlformats.org/officeDocument/2006/relationships/image" Target="../media/image25.png"/><Relationship Id="rId4" Type="http://schemas.openxmlformats.org/officeDocument/2006/relationships/customXml" Target="../../customXml/item1.xml"/><Relationship Id="rId9" Type="http://schemas.openxmlformats.org/officeDocument/2006/relationships/image" Target="../media/image27.emf"/></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emf"/><Relationship Id="rId7" Type="http://schemas.openxmlformats.org/officeDocument/2006/relationships/image" Target="../media/image33.emf"/><Relationship Id="rId2" Type="http://schemas.openxmlformats.org/officeDocument/2006/relationships/notesSlide" Target="../notesSlides/notesSlide17.xml"/><Relationship Id="rId1" Type="http://schemas.openxmlformats.org/officeDocument/2006/relationships/slideLayout" Target="../slideLayouts/slideLayout26.x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image" Target="../media/image30.emf"/></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19.xml"/><Relationship Id="rId5" Type="http://schemas.openxmlformats.org/officeDocument/2006/relationships/image" Target="../media/image37.png"/><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t="7812" b="7812"/>
          <a:stretch/>
        </p:blipFill>
        <p:spPr>
          <a:xfrm>
            <a:off x="0" y="0"/>
            <a:ext cx="12192000" cy="6858000"/>
          </a:xfrm>
          <a:prstGeom prst="rect">
            <a:avLst/>
          </a:prstGeom>
        </p:spPr>
      </p:pic>
      <p:sp>
        <p:nvSpPr>
          <p:cNvPr id="14" name="Rectangle 13"/>
          <p:cNvSpPr/>
          <p:nvPr/>
        </p:nvSpPr>
        <p:spPr bwMode="auto">
          <a:xfrm>
            <a:off x="417811" y="1470255"/>
            <a:ext cx="5830000" cy="3585036"/>
          </a:xfrm>
          <a:prstGeom prst="rect">
            <a:avLst/>
          </a:prstGeom>
          <a:solidFill>
            <a:srgbClr val="0078D7">
              <a:alpha val="57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defRPr/>
            </a:pPr>
            <a:endParaRPr lang="en-US" sz="2400" kern="0">
              <a:solidFill>
                <a:schemeClr val="bg1"/>
              </a:solidFill>
              <a:latin typeface="Segoe UI"/>
              <a:ea typeface="Segoe UI" pitchFamily="34" charset="0"/>
              <a:cs typeface="Segoe UI" pitchFamily="34" charset="0"/>
            </a:endParaRPr>
          </a:p>
        </p:txBody>
      </p:sp>
      <p:sp>
        <p:nvSpPr>
          <p:cNvPr id="17" name="Title 1"/>
          <p:cNvSpPr txBox="1">
            <a:spLocks/>
          </p:cNvSpPr>
          <p:nvPr/>
        </p:nvSpPr>
        <p:spPr bwMode="auto">
          <a:xfrm>
            <a:off x="421050" y="1651552"/>
            <a:ext cx="5826761" cy="1499033"/>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5294" b="0" kern="1200" cap="none" spc="-98" baseline="0">
                <a:ln w="3175">
                  <a:noFill/>
                </a:ln>
                <a:gradFill>
                  <a:gsLst>
                    <a:gs pos="76250">
                      <a:srgbClr val="FFFFFF"/>
                    </a:gs>
                    <a:gs pos="51000">
                      <a:srgbClr val="FFFFFF"/>
                    </a:gs>
                  </a:gsLst>
                  <a:lin ang="5400000" scaled="0"/>
                </a:gradFill>
                <a:effectLst/>
                <a:latin typeface="+mj-lt"/>
                <a:ea typeface="+mn-ea"/>
                <a:cs typeface="Segoe UI" pitchFamily="34" charset="0"/>
              </a:defRPr>
            </a:lvl1pPr>
          </a:lstStyle>
          <a:p>
            <a:pPr defTabSz="914344">
              <a:defRPr/>
            </a:pPr>
            <a:r>
              <a:rPr lang="en-US" sz="4267" spc="-99">
                <a:latin typeface="Segoe UI Light"/>
              </a:rPr>
              <a:t>Friday Forum </a:t>
            </a:r>
            <a:r>
              <a:rPr lang="en-US" sz="4267" spc="-99" err="1">
                <a:latin typeface="Segoe UI Light"/>
              </a:rPr>
              <a:t>TechWatch</a:t>
            </a:r>
            <a:r>
              <a:rPr lang="en-US" sz="4267" spc="-99">
                <a:latin typeface="Segoe UI Light"/>
              </a:rPr>
              <a:t>:</a:t>
            </a:r>
            <a:endParaRPr lang="en-US" sz="4267" b="1" spc="-99">
              <a:latin typeface="Segoe UI Light"/>
            </a:endParaRPr>
          </a:p>
          <a:p>
            <a:pPr defTabSz="914344">
              <a:defRPr/>
            </a:pPr>
            <a:r>
              <a:rPr lang="en-US" sz="4267" b="1" i="1" spc="-99">
                <a:solidFill>
                  <a:schemeClr val="bg1"/>
                </a:solidFill>
                <a:latin typeface="Segoe UI Light"/>
              </a:rPr>
              <a:t>Connected Vehicle Introduction</a:t>
            </a:r>
          </a:p>
        </p:txBody>
      </p:sp>
      <p:sp>
        <p:nvSpPr>
          <p:cNvPr id="18" name="Text Placeholder 2"/>
          <p:cNvSpPr txBox="1">
            <a:spLocks/>
          </p:cNvSpPr>
          <p:nvPr/>
        </p:nvSpPr>
        <p:spPr bwMode="auto">
          <a:xfrm>
            <a:off x="371233" y="4531065"/>
            <a:ext cx="5830000" cy="508568"/>
          </a:xfrm>
          <a:prstGeom prst="rect">
            <a:avLst/>
          </a:prstGeom>
        </p:spPr>
        <p:txBody>
          <a:bodyPr vert="horz" wrap="square" lIns="146304" tIns="109728" rIns="146304" bIns="109728" rtlCol="0">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137" kern="1200" spc="0" baseline="0">
                <a:gradFill>
                  <a:gsLst>
                    <a:gs pos="76250">
                      <a:srgbClr val="FFFFFF"/>
                    </a:gs>
                    <a:gs pos="51000">
                      <a:srgbClr val="FFFFFF"/>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344">
              <a:defRPr/>
            </a:pPr>
            <a:r>
              <a:rPr lang="en-US" sz="2133" b="1" i="1">
                <a:solidFill>
                  <a:schemeClr val="bg1"/>
                </a:solidFill>
                <a:latin typeface="Segoe UI Light"/>
              </a:rPr>
              <a:t>Friday February 10, Singapore time 11AM</a:t>
            </a:r>
          </a:p>
          <a:p>
            <a:pPr defTabSz="914344">
              <a:defRPr/>
            </a:pPr>
            <a:endParaRPr lang="en-US" sz="1400">
              <a:solidFill>
                <a:schemeClr val="bg1"/>
              </a:solidFill>
              <a:latin typeface="Segoe UI"/>
            </a:endParaRPr>
          </a:p>
        </p:txBody>
      </p:sp>
      <p:sp>
        <p:nvSpPr>
          <p:cNvPr id="21" name="Text Placeholder 2"/>
          <p:cNvSpPr txBox="1">
            <a:spLocks/>
          </p:cNvSpPr>
          <p:nvPr/>
        </p:nvSpPr>
        <p:spPr bwMode="auto">
          <a:xfrm>
            <a:off x="421050" y="3647661"/>
            <a:ext cx="5661698" cy="794219"/>
          </a:xfrm>
          <a:prstGeom prst="rect">
            <a:avLst/>
          </a:prstGeom>
        </p:spPr>
        <p:txBody>
          <a:bodyPr vert="horz" wrap="square" lIns="146304" tIns="109728" rIns="146304" bIns="109728" rtlCol="0">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137" kern="1200" spc="0" baseline="0">
                <a:gradFill>
                  <a:gsLst>
                    <a:gs pos="76250">
                      <a:srgbClr val="FFFFFF"/>
                    </a:gs>
                    <a:gs pos="51000">
                      <a:srgbClr val="FFFFFF"/>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344">
              <a:defRPr/>
            </a:pPr>
            <a:r>
              <a:rPr lang="en-US" sz="2000" b="1">
                <a:solidFill>
                  <a:schemeClr val="bg1"/>
                </a:solidFill>
              </a:rPr>
              <a:t>Host: Vajira Weerasekera</a:t>
            </a:r>
          </a:p>
          <a:p>
            <a:pPr defTabSz="914344">
              <a:defRPr/>
            </a:pPr>
            <a:r>
              <a:rPr lang="en-US" sz="2000" b="1">
                <a:solidFill>
                  <a:schemeClr val="bg1"/>
                </a:solidFill>
              </a:rPr>
              <a:t>Guest Speakers: David Peterson, Akihito Hayashi</a:t>
            </a:r>
            <a:endParaRPr lang="en-US" sz="1200">
              <a:solidFill>
                <a:schemeClr val="bg1"/>
              </a:solidFill>
              <a:latin typeface="Segoe UI"/>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6032585"/>
            <a:ext cx="2107039" cy="775060"/>
          </a:xfrm>
          <a:prstGeom prst="rect">
            <a:avLst/>
          </a:prstGeom>
        </p:spPr>
      </p:pic>
    </p:spTree>
    <p:extLst>
      <p:ext uri="{BB962C8B-B14F-4D97-AF65-F5344CB8AC3E}">
        <p14:creationId xmlns:p14="http://schemas.microsoft.com/office/powerpoint/2010/main" val="65762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53" y="2084183"/>
            <a:ext cx="11321856" cy="1015455"/>
          </a:xfrm>
        </p:spPr>
        <p:txBody>
          <a:bodyPr/>
          <a:lstStyle/>
          <a:p>
            <a:r>
              <a:rPr lang="en-US"/>
              <a:t>Microsoft Connected Vehicle Platform</a:t>
            </a:r>
          </a:p>
        </p:txBody>
      </p:sp>
    </p:spTree>
    <p:extLst>
      <p:ext uri="{BB962C8B-B14F-4D97-AF65-F5344CB8AC3E}">
        <p14:creationId xmlns:p14="http://schemas.microsoft.com/office/powerpoint/2010/main" val="1096150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5" name="Group 164"/>
          <p:cNvGrpSpPr/>
          <p:nvPr/>
        </p:nvGrpSpPr>
        <p:grpSpPr>
          <a:xfrm>
            <a:off x="1961960" y="1621158"/>
            <a:ext cx="7511096" cy="2535372"/>
            <a:chOff x="287215" y="2446097"/>
            <a:chExt cx="20358094" cy="6871881"/>
          </a:xfrm>
        </p:grpSpPr>
        <p:sp>
          <p:nvSpPr>
            <p:cNvPr id="166" name="Freeform: Shape 165"/>
            <p:cNvSpPr/>
            <p:nvPr/>
          </p:nvSpPr>
          <p:spPr bwMode="auto">
            <a:xfrm>
              <a:off x="287215" y="2450233"/>
              <a:ext cx="20358094" cy="6030913"/>
            </a:xfrm>
            <a:custGeom>
              <a:avLst/>
              <a:gdLst>
                <a:gd name="connsiteX0" fmla="*/ 5996401 w 20349121"/>
                <a:gd name="connsiteY0" fmla="*/ 2228350 h 6061796"/>
                <a:gd name="connsiteX1" fmla="*/ 6899077 w 20349121"/>
                <a:gd name="connsiteY1" fmla="*/ 1700811 h 6061796"/>
                <a:gd name="connsiteX2" fmla="*/ 8212062 w 20349121"/>
                <a:gd name="connsiteY2" fmla="*/ 915365 h 6061796"/>
                <a:gd name="connsiteX3" fmla="*/ 9032677 w 20349121"/>
                <a:gd name="connsiteY3" fmla="*/ 528504 h 6061796"/>
                <a:gd name="connsiteX4" fmla="*/ 9079570 w 20349121"/>
                <a:gd name="connsiteY4" fmla="*/ 469888 h 6061796"/>
                <a:gd name="connsiteX5" fmla="*/ 9220247 w 20349121"/>
                <a:gd name="connsiteY5" fmla="*/ 411273 h 6061796"/>
                <a:gd name="connsiteX6" fmla="*/ 10005693 w 20349121"/>
                <a:gd name="connsiteY6" fmla="*/ 188534 h 6061796"/>
                <a:gd name="connsiteX7" fmla="*/ 11365570 w 20349121"/>
                <a:gd name="connsiteY7" fmla="*/ 47857 h 6061796"/>
                <a:gd name="connsiteX8" fmla="*/ 12948185 w 20349121"/>
                <a:gd name="connsiteY8" fmla="*/ 965 h 6061796"/>
                <a:gd name="connsiteX9" fmla="*/ 14565970 w 20349121"/>
                <a:gd name="connsiteY9" fmla="*/ 83027 h 6061796"/>
                <a:gd name="connsiteX10" fmla="*/ 16054801 w 20349121"/>
                <a:gd name="connsiteY10" fmla="*/ 165088 h 6061796"/>
                <a:gd name="connsiteX11" fmla="*/ 17496739 w 20349121"/>
                <a:gd name="connsiteY11" fmla="*/ 364381 h 6061796"/>
                <a:gd name="connsiteX12" fmla="*/ 18012554 w 20349121"/>
                <a:gd name="connsiteY12" fmla="*/ 481611 h 6061796"/>
                <a:gd name="connsiteX13" fmla="*/ 18352524 w 20349121"/>
                <a:gd name="connsiteY13" fmla="*/ 528504 h 6061796"/>
                <a:gd name="connsiteX14" fmla="*/ 18434585 w 20349121"/>
                <a:gd name="connsiteY14" fmla="*/ 575396 h 6061796"/>
                <a:gd name="connsiteX15" fmla="*/ 18469754 w 20349121"/>
                <a:gd name="connsiteY15" fmla="*/ 634011 h 6061796"/>
                <a:gd name="connsiteX16" fmla="*/ 18903508 w 20349121"/>
                <a:gd name="connsiteY16" fmla="*/ 1091211 h 6061796"/>
                <a:gd name="connsiteX17" fmla="*/ 19560001 w 20349121"/>
                <a:gd name="connsiteY17" fmla="*/ 1853211 h 6061796"/>
                <a:gd name="connsiteX18" fmla="*/ 19665508 w 20349121"/>
                <a:gd name="connsiteY18" fmla="*/ 1993888 h 6061796"/>
                <a:gd name="connsiteX19" fmla="*/ 19864801 w 20349121"/>
                <a:gd name="connsiteY19" fmla="*/ 2099396 h 6061796"/>
                <a:gd name="connsiteX20" fmla="*/ 19946862 w 20349121"/>
                <a:gd name="connsiteY20" fmla="*/ 2228350 h 6061796"/>
                <a:gd name="connsiteX21" fmla="*/ 19911693 w 20349121"/>
                <a:gd name="connsiteY21" fmla="*/ 2415919 h 6061796"/>
                <a:gd name="connsiteX22" fmla="*/ 19888247 w 20349121"/>
                <a:gd name="connsiteY22" fmla="*/ 2802781 h 6061796"/>
                <a:gd name="connsiteX23" fmla="*/ 19888247 w 20349121"/>
                <a:gd name="connsiteY23" fmla="*/ 3060688 h 6061796"/>
                <a:gd name="connsiteX24" fmla="*/ 19993754 w 20349121"/>
                <a:gd name="connsiteY24" fmla="*/ 3271704 h 6061796"/>
                <a:gd name="connsiteX25" fmla="*/ 19982031 w 20349121"/>
                <a:gd name="connsiteY25" fmla="*/ 3447550 h 6061796"/>
                <a:gd name="connsiteX26" fmla="*/ 19935139 w 20349121"/>
                <a:gd name="connsiteY26" fmla="*/ 3635119 h 6061796"/>
                <a:gd name="connsiteX27" fmla="*/ 20134431 w 20349121"/>
                <a:gd name="connsiteY27" fmla="*/ 3705457 h 6061796"/>
                <a:gd name="connsiteX28" fmla="*/ 20275108 w 20349121"/>
                <a:gd name="connsiteY28" fmla="*/ 3752350 h 6061796"/>
                <a:gd name="connsiteX29" fmla="*/ 20345447 w 20349121"/>
                <a:gd name="connsiteY29" fmla="*/ 3846134 h 6061796"/>
                <a:gd name="connsiteX30" fmla="*/ 20333724 w 20349121"/>
                <a:gd name="connsiteY30" fmla="*/ 4010257 h 6061796"/>
                <a:gd name="connsiteX31" fmla="*/ 20286831 w 20349121"/>
                <a:gd name="connsiteY31" fmla="*/ 4186104 h 6061796"/>
                <a:gd name="connsiteX32" fmla="*/ 20275108 w 20349121"/>
                <a:gd name="connsiteY32" fmla="*/ 4397119 h 6061796"/>
                <a:gd name="connsiteX33" fmla="*/ 20181324 w 20349121"/>
                <a:gd name="connsiteY33" fmla="*/ 4397119 h 6061796"/>
                <a:gd name="connsiteX34" fmla="*/ 20087539 w 20349121"/>
                <a:gd name="connsiteY34" fmla="*/ 4748811 h 6061796"/>
                <a:gd name="connsiteX35" fmla="*/ 20064093 w 20349121"/>
                <a:gd name="connsiteY35" fmla="*/ 5182565 h 6061796"/>
                <a:gd name="connsiteX36" fmla="*/ 20157877 w 20349121"/>
                <a:gd name="connsiteY36" fmla="*/ 5475642 h 6061796"/>
                <a:gd name="connsiteX37" fmla="*/ 20052370 w 20349121"/>
                <a:gd name="connsiteY37" fmla="*/ 5510811 h 6061796"/>
                <a:gd name="connsiteX38" fmla="*/ 19548277 w 20349121"/>
                <a:gd name="connsiteY38" fmla="*/ 5534257 h 6061796"/>
                <a:gd name="connsiteX39" fmla="*/ 19454493 w 20349121"/>
                <a:gd name="connsiteY39" fmla="*/ 5756996 h 6061796"/>
                <a:gd name="connsiteX40" fmla="*/ 19290370 w 20349121"/>
                <a:gd name="connsiteY40" fmla="*/ 5780442 h 6061796"/>
                <a:gd name="connsiteX41" fmla="*/ 18223570 w 20349121"/>
                <a:gd name="connsiteY41" fmla="*/ 5768719 h 6061796"/>
                <a:gd name="connsiteX42" fmla="*/ 18223570 w 20349121"/>
                <a:gd name="connsiteY42" fmla="*/ 5581150 h 6061796"/>
                <a:gd name="connsiteX43" fmla="*/ 17989108 w 20349121"/>
                <a:gd name="connsiteY43" fmla="*/ 4725365 h 6061796"/>
                <a:gd name="connsiteX44" fmla="*/ 17602247 w 20349121"/>
                <a:gd name="connsiteY44" fmla="*/ 4162657 h 6061796"/>
                <a:gd name="connsiteX45" fmla="*/ 17145047 w 20349121"/>
                <a:gd name="connsiteY45" fmla="*/ 3857857 h 6061796"/>
                <a:gd name="connsiteX46" fmla="*/ 16429939 w 20349121"/>
                <a:gd name="connsiteY46" fmla="*/ 3682011 h 6061796"/>
                <a:gd name="connsiteX47" fmla="*/ 15902401 w 20349121"/>
                <a:gd name="connsiteY47" fmla="*/ 3728904 h 6061796"/>
                <a:gd name="connsiteX48" fmla="*/ 15386585 w 20349121"/>
                <a:gd name="connsiteY48" fmla="*/ 3951642 h 6061796"/>
                <a:gd name="connsiteX49" fmla="*/ 14964554 w 20349121"/>
                <a:gd name="connsiteY49" fmla="*/ 4397119 h 6061796"/>
                <a:gd name="connsiteX50" fmla="*/ 14636308 w 20349121"/>
                <a:gd name="connsiteY50" fmla="*/ 4912934 h 6061796"/>
                <a:gd name="connsiteX51" fmla="*/ 14542524 w 20349121"/>
                <a:gd name="connsiteY51" fmla="*/ 5393581 h 6061796"/>
                <a:gd name="connsiteX52" fmla="*/ 14542524 w 20349121"/>
                <a:gd name="connsiteY52" fmla="*/ 5768719 h 6061796"/>
                <a:gd name="connsiteX53" fmla="*/ 14554247 w 20349121"/>
                <a:gd name="connsiteY53" fmla="*/ 5991457 h 6061796"/>
                <a:gd name="connsiteX54" fmla="*/ 14472185 w 20349121"/>
                <a:gd name="connsiteY54" fmla="*/ 6014904 h 6061796"/>
                <a:gd name="connsiteX55" fmla="*/ 14073601 w 20349121"/>
                <a:gd name="connsiteY55" fmla="*/ 6014904 h 6061796"/>
                <a:gd name="connsiteX56" fmla="*/ 11693816 w 20349121"/>
                <a:gd name="connsiteY56" fmla="*/ 6038350 h 6061796"/>
                <a:gd name="connsiteX57" fmla="*/ 5457139 w 20349121"/>
                <a:gd name="connsiteY57" fmla="*/ 6061796 h 6061796"/>
                <a:gd name="connsiteX58" fmla="*/ 5328185 w 20349121"/>
                <a:gd name="connsiteY58" fmla="*/ 6003181 h 6061796"/>
                <a:gd name="connsiteX59" fmla="*/ 5351631 w 20349121"/>
                <a:gd name="connsiteY59" fmla="*/ 5604596 h 6061796"/>
                <a:gd name="connsiteX60" fmla="*/ 5222677 w 20349121"/>
                <a:gd name="connsiteY60" fmla="*/ 4678473 h 6061796"/>
                <a:gd name="connsiteX61" fmla="*/ 4554462 w 20349121"/>
                <a:gd name="connsiteY61" fmla="*/ 3881304 h 6061796"/>
                <a:gd name="connsiteX62" fmla="*/ 3804185 w 20349121"/>
                <a:gd name="connsiteY62" fmla="*/ 3635119 h 6061796"/>
                <a:gd name="connsiteX63" fmla="*/ 2995293 w 20349121"/>
                <a:gd name="connsiteY63" fmla="*/ 3693734 h 6061796"/>
                <a:gd name="connsiteX64" fmla="*/ 2432585 w 20349121"/>
                <a:gd name="connsiteY64" fmla="*/ 3975088 h 6061796"/>
                <a:gd name="connsiteX65" fmla="*/ 1987108 w 20349121"/>
                <a:gd name="connsiteY65" fmla="*/ 4584688 h 6061796"/>
                <a:gd name="connsiteX66" fmla="*/ 1799539 w 20349121"/>
                <a:gd name="connsiteY66" fmla="*/ 5159119 h 6061796"/>
                <a:gd name="connsiteX67" fmla="*/ 1787816 w 20349121"/>
                <a:gd name="connsiteY67" fmla="*/ 5745273 h 6061796"/>
                <a:gd name="connsiteX68" fmla="*/ 1776093 w 20349121"/>
                <a:gd name="connsiteY68" fmla="*/ 5944565 h 6061796"/>
                <a:gd name="connsiteX69" fmla="*/ 1647139 w 20349121"/>
                <a:gd name="connsiteY69" fmla="*/ 5956288 h 6061796"/>
                <a:gd name="connsiteX70" fmla="*/ 709293 w 20349121"/>
                <a:gd name="connsiteY70" fmla="*/ 5932842 h 6061796"/>
                <a:gd name="connsiteX71" fmla="*/ 556893 w 20349121"/>
                <a:gd name="connsiteY71" fmla="*/ 5909396 h 6061796"/>
                <a:gd name="connsiteX72" fmla="*/ 474831 w 20349121"/>
                <a:gd name="connsiteY72" fmla="*/ 5803888 h 6061796"/>
                <a:gd name="connsiteX73" fmla="*/ 404493 w 20349121"/>
                <a:gd name="connsiteY73" fmla="*/ 5745273 h 6061796"/>
                <a:gd name="connsiteX74" fmla="*/ 263816 w 20349121"/>
                <a:gd name="connsiteY74" fmla="*/ 5581150 h 6061796"/>
                <a:gd name="connsiteX75" fmla="*/ 404493 w 20349121"/>
                <a:gd name="connsiteY75" fmla="*/ 5534257 h 6061796"/>
                <a:gd name="connsiteX76" fmla="*/ 334154 w 20349121"/>
                <a:gd name="connsiteY76" fmla="*/ 5428750 h 6061796"/>
                <a:gd name="connsiteX77" fmla="*/ 240370 w 20349121"/>
                <a:gd name="connsiteY77" fmla="*/ 5030165 h 6061796"/>
                <a:gd name="connsiteX78" fmla="*/ 205201 w 20349121"/>
                <a:gd name="connsiteY78" fmla="*/ 4983273 h 6061796"/>
                <a:gd name="connsiteX79" fmla="*/ 76247 w 20349121"/>
                <a:gd name="connsiteY79" fmla="*/ 4971550 h 6061796"/>
                <a:gd name="connsiteX80" fmla="*/ 52801 w 20349121"/>
                <a:gd name="connsiteY80" fmla="*/ 4842596 h 6061796"/>
                <a:gd name="connsiteX81" fmla="*/ 5908 w 20349121"/>
                <a:gd name="connsiteY81" fmla="*/ 4385396 h 6061796"/>
                <a:gd name="connsiteX82" fmla="*/ 17631 w 20349121"/>
                <a:gd name="connsiteY82" fmla="*/ 4315057 h 6061796"/>
                <a:gd name="connsiteX83" fmla="*/ 158308 w 20349121"/>
                <a:gd name="connsiteY83" fmla="*/ 4279888 h 6061796"/>
                <a:gd name="connsiteX84" fmla="*/ 240370 w 20349121"/>
                <a:gd name="connsiteY84" fmla="*/ 4150934 h 6061796"/>
                <a:gd name="connsiteX85" fmla="*/ 205201 w 20349121"/>
                <a:gd name="connsiteY85" fmla="*/ 3963365 h 6061796"/>
                <a:gd name="connsiteX86" fmla="*/ 193477 w 20349121"/>
                <a:gd name="connsiteY86" fmla="*/ 3623396 h 6061796"/>
                <a:gd name="connsiteX87" fmla="*/ 357601 w 20349121"/>
                <a:gd name="connsiteY87" fmla="*/ 3283427 h 6061796"/>
                <a:gd name="connsiteX88" fmla="*/ 1154770 w 20349121"/>
                <a:gd name="connsiteY88" fmla="*/ 2861396 h 6061796"/>
                <a:gd name="connsiteX89" fmla="*/ 2104339 w 20349121"/>
                <a:gd name="connsiteY89" fmla="*/ 2626934 h 6061796"/>
                <a:gd name="connsiteX90" fmla="*/ 3780739 w 20349121"/>
                <a:gd name="connsiteY90" fmla="*/ 2333857 h 6061796"/>
                <a:gd name="connsiteX91" fmla="*/ 5199231 w 20349121"/>
                <a:gd name="connsiteY91" fmla="*/ 2169734 h 6061796"/>
                <a:gd name="connsiteX92" fmla="*/ 5574370 w 20349121"/>
                <a:gd name="connsiteY92" fmla="*/ 2146288 h 6061796"/>
                <a:gd name="connsiteX93" fmla="*/ 5726770 w 20349121"/>
                <a:gd name="connsiteY93" fmla="*/ 2158011 h 6061796"/>
                <a:gd name="connsiteX94" fmla="*/ 5937785 w 20349121"/>
                <a:gd name="connsiteY94" fmla="*/ 2251796 h 6061796"/>
                <a:gd name="connsiteX95" fmla="*/ 5996401 w 20349121"/>
                <a:gd name="connsiteY95" fmla="*/ 2228350 h 6061796"/>
                <a:gd name="connsiteX0" fmla="*/ 5996401 w 20349121"/>
                <a:gd name="connsiteY0" fmla="*/ 2228350 h 6045759"/>
                <a:gd name="connsiteX1" fmla="*/ 6899077 w 20349121"/>
                <a:gd name="connsiteY1" fmla="*/ 1700811 h 6045759"/>
                <a:gd name="connsiteX2" fmla="*/ 8212062 w 20349121"/>
                <a:gd name="connsiteY2" fmla="*/ 915365 h 6045759"/>
                <a:gd name="connsiteX3" fmla="*/ 9032677 w 20349121"/>
                <a:gd name="connsiteY3" fmla="*/ 528504 h 6045759"/>
                <a:gd name="connsiteX4" fmla="*/ 9079570 w 20349121"/>
                <a:gd name="connsiteY4" fmla="*/ 469888 h 6045759"/>
                <a:gd name="connsiteX5" fmla="*/ 9220247 w 20349121"/>
                <a:gd name="connsiteY5" fmla="*/ 411273 h 6045759"/>
                <a:gd name="connsiteX6" fmla="*/ 10005693 w 20349121"/>
                <a:gd name="connsiteY6" fmla="*/ 188534 h 6045759"/>
                <a:gd name="connsiteX7" fmla="*/ 11365570 w 20349121"/>
                <a:gd name="connsiteY7" fmla="*/ 47857 h 6045759"/>
                <a:gd name="connsiteX8" fmla="*/ 12948185 w 20349121"/>
                <a:gd name="connsiteY8" fmla="*/ 965 h 6045759"/>
                <a:gd name="connsiteX9" fmla="*/ 14565970 w 20349121"/>
                <a:gd name="connsiteY9" fmla="*/ 83027 h 6045759"/>
                <a:gd name="connsiteX10" fmla="*/ 16054801 w 20349121"/>
                <a:gd name="connsiteY10" fmla="*/ 165088 h 6045759"/>
                <a:gd name="connsiteX11" fmla="*/ 17496739 w 20349121"/>
                <a:gd name="connsiteY11" fmla="*/ 364381 h 6045759"/>
                <a:gd name="connsiteX12" fmla="*/ 18012554 w 20349121"/>
                <a:gd name="connsiteY12" fmla="*/ 481611 h 6045759"/>
                <a:gd name="connsiteX13" fmla="*/ 18352524 w 20349121"/>
                <a:gd name="connsiteY13" fmla="*/ 528504 h 6045759"/>
                <a:gd name="connsiteX14" fmla="*/ 18434585 w 20349121"/>
                <a:gd name="connsiteY14" fmla="*/ 575396 h 6045759"/>
                <a:gd name="connsiteX15" fmla="*/ 18469754 w 20349121"/>
                <a:gd name="connsiteY15" fmla="*/ 634011 h 6045759"/>
                <a:gd name="connsiteX16" fmla="*/ 18903508 w 20349121"/>
                <a:gd name="connsiteY16" fmla="*/ 1091211 h 6045759"/>
                <a:gd name="connsiteX17" fmla="*/ 19560001 w 20349121"/>
                <a:gd name="connsiteY17" fmla="*/ 1853211 h 6045759"/>
                <a:gd name="connsiteX18" fmla="*/ 19665508 w 20349121"/>
                <a:gd name="connsiteY18" fmla="*/ 1993888 h 6045759"/>
                <a:gd name="connsiteX19" fmla="*/ 19864801 w 20349121"/>
                <a:gd name="connsiteY19" fmla="*/ 2099396 h 6045759"/>
                <a:gd name="connsiteX20" fmla="*/ 19946862 w 20349121"/>
                <a:gd name="connsiteY20" fmla="*/ 2228350 h 6045759"/>
                <a:gd name="connsiteX21" fmla="*/ 19911693 w 20349121"/>
                <a:gd name="connsiteY21" fmla="*/ 2415919 h 6045759"/>
                <a:gd name="connsiteX22" fmla="*/ 19888247 w 20349121"/>
                <a:gd name="connsiteY22" fmla="*/ 2802781 h 6045759"/>
                <a:gd name="connsiteX23" fmla="*/ 19888247 w 20349121"/>
                <a:gd name="connsiteY23" fmla="*/ 3060688 h 6045759"/>
                <a:gd name="connsiteX24" fmla="*/ 19993754 w 20349121"/>
                <a:gd name="connsiteY24" fmla="*/ 3271704 h 6045759"/>
                <a:gd name="connsiteX25" fmla="*/ 19982031 w 20349121"/>
                <a:gd name="connsiteY25" fmla="*/ 3447550 h 6045759"/>
                <a:gd name="connsiteX26" fmla="*/ 19935139 w 20349121"/>
                <a:gd name="connsiteY26" fmla="*/ 3635119 h 6045759"/>
                <a:gd name="connsiteX27" fmla="*/ 20134431 w 20349121"/>
                <a:gd name="connsiteY27" fmla="*/ 3705457 h 6045759"/>
                <a:gd name="connsiteX28" fmla="*/ 20275108 w 20349121"/>
                <a:gd name="connsiteY28" fmla="*/ 3752350 h 6045759"/>
                <a:gd name="connsiteX29" fmla="*/ 20345447 w 20349121"/>
                <a:gd name="connsiteY29" fmla="*/ 3846134 h 6045759"/>
                <a:gd name="connsiteX30" fmla="*/ 20333724 w 20349121"/>
                <a:gd name="connsiteY30" fmla="*/ 4010257 h 6045759"/>
                <a:gd name="connsiteX31" fmla="*/ 20286831 w 20349121"/>
                <a:gd name="connsiteY31" fmla="*/ 4186104 h 6045759"/>
                <a:gd name="connsiteX32" fmla="*/ 20275108 w 20349121"/>
                <a:gd name="connsiteY32" fmla="*/ 4397119 h 6045759"/>
                <a:gd name="connsiteX33" fmla="*/ 20181324 w 20349121"/>
                <a:gd name="connsiteY33" fmla="*/ 4397119 h 6045759"/>
                <a:gd name="connsiteX34" fmla="*/ 20087539 w 20349121"/>
                <a:gd name="connsiteY34" fmla="*/ 4748811 h 6045759"/>
                <a:gd name="connsiteX35" fmla="*/ 20064093 w 20349121"/>
                <a:gd name="connsiteY35" fmla="*/ 5182565 h 6045759"/>
                <a:gd name="connsiteX36" fmla="*/ 20157877 w 20349121"/>
                <a:gd name="connsiteY36" fmla="*/ 5475642 h 6045759"/>
                <a:gd name="connsiteX37" fmla="*/ 20052370 w 20349121"/>
                <a:gd name="connsiteY37" fmla="*/ 5510811 h 6045759"/>
                <a:gd name="connsiteX38" fmla="*/ 19548277 w 20349121"/>
                <a:gd name="connsiteY38" fmla="*/ 5534257 h 6045759"/>
                <a:gd name="connsiteX39" fmla="*/ 19454493 w 20349121"/>
                <a:gd name="connsiteY39" fmla="*/ 5756996 h 6045759"/>
                <a:gd name="connsiteX40" fmla="*/ 19290370 w 20349121"/>
                <a:gd name="connsiteY40" fmla="*/ 5780442 h 6045759"/>
                <a:gd name="connsiteX41" fmla="*/ 18223570 w 20349121"/>
                <a:gd name="connsiteY41" fmla="*/ 5768719 h 6045759"/>
                <a:gd name="connsiteX42" fmla="*/ 18223570 w 20349121"/>
                <a:gd name="connsiteY42" fmla="*/ 5581150 h 6045759"/>
                <a:gd name="connsiteX43" fmla="*/ 17989108 w 20349121"/>
                <a:gd name="connsiteY43" fmla="*/ 4725365 h 6045759"/>
                <a:gd name="connsiteX44" fmla="*/ 17602247 w 20349121"/>
                <a:gd name="connsiteY44" fmla="*/ 4162657 h 6045759"/>
                <a:gd name="connsiteX45" fmla="*/ 17145047 w 20349121"/>
                <a:gd name="connsiteY45" fmla="*/ 3857857 h 6045759"/>
                <a:gd name="connsiteX46" fmla="*/ 16429939 w 20349121"/>
                <a:gd name="connsiteY46" fmla="*/ 3682011 h 6045759"/>
                <a:gd name="connsiteX47" fmla="*/ 15902401 w 20349121"/>
                <a:gd name="connsiteY47" fmla="*/ 3728904 h 6045759"/>
                <a:gd name="connsiteX48" fmla="*/ 15386585 w 20349121"/>
                <a:gd name="connsiteY48" fmla="*/ 3951642 h 6045759"/>
                <a:gd name="connsiteX49" fmla="*/ 14964554 w 20349121"/>
                <a:gd name="connsiteY49" fmla="*/ 4397119 h 6045759"/>
                <a:gd name="connsiteX50" fmla="*/ 14636308 w 20349121"/>
                <a:gd name="connsiteY50" fmla="*/ 4912934 h 6045759"/>
                <a:gd name="connsiteX51" fmla="*/ 14542524 w 20349121"/>
                <a:gd name="connsiteY51" fmla="*/ 5393581 h 6045759"/>
                <a:gd name="connsiteX52" fmla="*/ 14542524 w 20349121"/>
                <a:gd name="connsiteY52" fmla="*/ 5768719 h 6045759"/>
                <a:gd name="connsiteX53" fmla="*/ 14554247 w 20349121"/>
                <a:gd name="connsiteY53" fmla="*/ 5991457 h 6045759"/>
                <a:gd name="connsiteX54" fmla="*/ 14472185 w 20349121"/>
                <a:gd name="connsiteY54" fmla="*/ 6014904 h 6045759"/>
                <a:gd name="connsiteX55" fmla="*/ 14073601 w 20349121"/>
                <a:gd name="connsiteY55" fmla="*/ 6014904 h 6045759"/>
                <a:gd name="connsiteX56" fmla="*/ 11693816 w 20349121"/>
                <a:gd name="connsiteY56" fmla="*/ 6038350 h 6045759"/>
                <a:gd name="connsiteX57" fmla="*/ 7121816 w 20349121"/>
                <a:gd name="connsiteY57" fmla="*/ 6038350 h 6045759"/>
                <a:gd name="connsiteX58" fmla="*/ 5328185 w 20349121"/>
                <a:gd name="connsiteY58" fmla="*/ 6003181 h 6045759"/>
                <a:gd name="connsiteX59" fmla="*/ 5351631 w 20349121"/>
                <a:gd name="connsiteY59" fmla="*/ 5604596 h 6045759"/>
                <a:gd name="connsiteX60" fmla="*/ 5222677 w 20349121"/>
                <a:gd name="connsiteY60" fmla="*/ 4678473 h 6045759"/>
                <a:gd name="connsiteX61" fmla="*/ 4554462 w 20349121"/>
                <a:gd name="connsiteY61" fmla="*/ 3881304 h 6045759"/>
                <a:gd name="connsiteX62" fmla="*/ 3804185 w 20349121"/>
                <a:gd name="connsiteY62" fmla="*/ 3635119 h 6045759"/>
                <a:gd name="connsiteX63" fmla="*/ 2995293 w 20349121"/>
                <a:gd name="connsiteY63" fmla="*/ 3693734 h 6045759"/>
                <a:gd name="connsiteX64" fmla="*/ 2432585 w 20349121"/>
                <a:gd name="connsiteY64" fmla="*/ 3975088 h 6045759"/>
                <a:gd name="connsiteX65" fmla="*/ 1987108 w 20349121"/>
                <a:gd name="connsiteY65" fmla="*/ 4584688 h 6045759"/>
                <a:gd name="connsiteX66" fmla="*/ 1799539 w 20349121"/>
                <a:gd name="connsiteY66" fmla="*/ 5159119 h 6045759"/>
                <a:gd name="connsiteX67" fmla="*/ 1787816 w 20349121"/>
                <a:gd name="connsiteY67" fmla="*/ 5745273 h 6045759"/>
                <a:gd name="connsiteX68" fmla="*/ 1776093 w 20349121"/>
                <a:gd name="connsiteY68" fmla="*/ 5944565 h 6045759"/>
                <a:gd name="connsiteX69" fmla="*/ 1647139 w 20349121"/>
                <a:gd name="connsiteY69" fmla="*/ 5956288 h 6045759"/>
                <a:gd name="connsiteX70" fmla="*/ 709293 w 20349121"/>
                <a:gd name="connsiteY70" fmla="*/ 5932842 h 6045759"/>
                <a:gd name="connsiteX71" fmla="*/ 556893 w 20349121"/>
                <a:gd name="connsiteY71" fmla="*/ 5909396 h 6045759"/>
                <a:gd name="connsiteX72" fmla="*/ 474831 w 20349121"/>
                <a:gd name="connsiteY72" fmla="*/ 5803888 h 6045759"/>
                <a:gd name="connsiteX73" fmla="*/ 404493 w 20349121"/>
                <a:gd name="connsiteY73" fmla="*/ 5745273 h 6045759"/>
                <a:gd name="connsiteX74" fmla="*/ 263816 w 20349121"/>
                <a:gd name="connsiteY74" fmla="*/ 5581150 h 6045759"/>
                <a:gd name="connsiteX75" fmla="*/ 404493 w 20349121"/>
                <a:gd name="connsiteY75" fmla="*/ 5534257 h 6045759"/>
                <a:gd name="connsiteX76" fmla="*/ 334154 w 20349121"/>
                <a:gd name="connsiteY76" fmla="*/ 5428750 h 6045759"/>
                <a:gd name="connsiteX77" fmla="*/ 240370 w 20349121"/>
                <a:gd name="connsiteY77" fmla="*/ 5030165 h 6045759"/>
                <a:gd name="connsiteX78" fmla="*/ 205201 w 20349121"/>
                <a:gd name="connsiteY78" fmla="*/ 4983273 h 6045759"/>
                <a:gd name="connsiteX79" fmla="*/ 76247 w 20349121"/>
                <a:gd name="connsiteY79" fmla="*/ 4971550 h 6045759"/>
                <a:gd name="connsiteX80" fmla="*/ 52801 w 20349121"/>
                <a:gd name="connsiteY80" fmla="*/ 4842596 h 6045759"/>
                <a:gd name="connsiteX81" fmla="*/ 5908 w 20349121"/>
                <a:gd name="connsiteY81" fmla="*/ 4385396 h 6045759"/>
                <a:gd name="connsiteX82" fmla="*/ 17631 w 20349121"/>
                <a:gd name="connsiteY82" fmla="*/ 4315057 h 6045759"/>
                <a:gd name="connsiteX83" fmla="*/ 158308 w 20349121"/>
                <a:gd name="connsiteY83" fmla="*/ 4279888 h 6045759"/>
                <a:gd name="connsiteX84" fmla="*/ 240370 w 20349121"/>
                <a:gd name="connsiteY84" fmla="*/ 4150934 h 6045759"/>
                <a:gd name="connsiteX85" fmla="*/ 205201 w 20349121"/>
                <a:gd name="connsiteY85" fmla="*/ 3963365 h 6045759"/>
                <a:gd name="connsiteX86" fmla="*/ 193477 w 20349121"/>
                <a:gd name="connsiteY86" fmla="*/ 3623396 h 6045759"/>
                <a:gd name="connsiteX87" fmla="*/ 357601 w 20349121"/>
                <a:gd name="connsiteY87" fmla="*/ 3283427 h 6045759"/>
                <a:gd name="connsiteX88" fmla="*/ 1154770 w 20349121"/>
                <a:gd name="connsiteY88" fmla="*/ 2861396 h 6045759"/>
                <a:gd name="connsiteX89" fmla="*/ 2104339 w 20349121"/>
                <a:gd name="connsiteY89" fmla="*/ 2626934 h 6045759"/>
                <a:gd name="connsiteX90" fmla="*/ 3780739 w 20349121"/>
                <a:gd name="connsiteY90" fmla="*/ 2333857 h 6045759"/>
                <a:gd name="connsiteX91" fmla="*/ 5199231 w 20349121"/>
                <a:gd name="connsiteY91" fmla="*/ 2169734 h 6045759"/>
                <a:gd name="connsiteX92" fmla="*/ 5574370 w 20349121"/>
                <a:gd name="connsiteY92" fmla="*/ 2146288 h 6045759"/>
                <a:gd name="connsiteX93" fmla="*/ 5726770 w 20349121"/>
                <a:gd name="connsiteY93" fmla="*/ 2158011 h 6045759"/>
                <a:gd name="connsiteX94" fmla="*/ 5937785 w 20349121"/>
                <a:gd name="connsiteY94" fmla="*/ 2251796 h 6045759"/>
                <a:gd name="connsiteX95" fmla="*/ 5996401 w 20349121"/>
                <a:gd name="connsiteY95" fmla="*/ 2228350 h 6045759"/>
                <a:gd name="connsiteX0" fmla="*/ 5996401 w 20349121"/>
                <a:gd name="connsiteY0" fmla="*/ 2228350 h 6080632"/>
                <a:gd name="connsiteX1" fmla="*/ 6899077 w 20349121"/>
                <a:gd name="connsiteY1" fmla="*/ 1700811 h 6080632"/>
                <a:gd name="connsiteX2" fmla="*/ 8212062 w 20349121"/>
                <a:gd name="connsiteY2" fmla="*/ 915365 h 6080632"/>
                <a:gd name="connsiteX3" fmla="*/ 9032677 w 20349121"/>
                <a:gd name="connsiteY3" fmla="*/ 528504 h 6080632"/>
                <a:gd name="connsiteX4" fmla="*/ 9079570 w 20349121"/>
                <a:gd name="connsiteY4" fmla="*/ 469888 h 6080632"/>
                <a:gd name="connsiteX5" fmla="*/ 9220247 w 20349121"/>
                <a:gd name="connsiteY5" fmla="*/ 411273 h 6080632"/>
                <a:gd name="connsiteX6" fmla="*/ 10005693 w 20349121"/>
                <a:gd name="connsiteY6" fmla="*/ 188534 h 6080632"/>
                <a:gd name="connsiteX7" fmla="*/ 11365570 w 20349121"/>
                <a:gd name="connsiteY7" fmla="*/ 47857 h 6080632"/>
                <a:gd name="connsiteX8" fmla="*/ 12948185 w 20349121"/>
                <a:gd name="connsiteY8" fmla="*/ 965 h 6080632"/>
                <a:gd name="connsiteX9" fmla="*/ 14565970 w 20349121"/>
                <a:gd name="connsiteY9" fmla="*/ 83027 h 6080632"/>
                <a:gd name="connsiteX10" fmla="*/ 16054801 w 20349121"/>
                <a:gd name="connsiteY10" fmla="*/ 165088 h 6080632"/>
                <a:gd name="connsiteX11" fmla="*/ 17496739 w 20349121"/>
                <a:gd name="connsiteY11" fmla="*/ 364381 h 6080632"/>
                <a:gd name="connsiteX12" fmla="*/ 18012554 w 20349121"/>
                <a:gd name="connsiteY12" fmla="*/ 481611 h 6080632"/>
                <a:gd name="connsiteX13" fmla="*/ 18352524 w 20349121"/>
                <a:gd name="connsiteY13" fmla="*/ 528504 h 6080632"/>
                <a:gd name="connsiteX14" fmla="*/ 18434585 w 20349121"/>
                <a:gd name="connsiteY14" fmla="*/ 575396 h 6080632"/>
                <a:gd name="connsiteX15" fmla="*/ 18469754 w 20349121"/>
                <a:gd name="connsiteY15" fmla="*/ 634011 h 6080632"/>
                <a:gd name="connsiteX16" fmla="*/ 18903508 w 20349121"/>
                <a:gd name="connsiteY16" fmla="*/ 1091211 h 6080632"/>
                <a:gd name="connsiteX17" fmla="*/ 19560001 w 20349121"/>
                <a:gd name="connsiteY17" fmla="*/ 1853211 h 6080632"/>
                <a:gd name="connsiteX18" fmla="*/ 19665508 w 20349121"/>
                <a:gd name="connsiteY18" fmla="*/ 1993888 h 6080632"/>
                <a:gd name="connsiteX19" fmla="*/ 19864801 w 20349121"/>
                <a:gd name="connsiteY19" fmla="*/ 2099396 h 6080632"/>
                <a:gd name="connsiteX20" fmla="*/ 19946862 w 20349121"/>
                <a:gd name="connsiteY20" fmla="*/ 2228350 h 6080632"/>
                <a:gd name="connsiteX21" fmla="*/ 19911693 w 20349121"/>
                <a:gd name="connsiteY21" fmla="*/ 2415919 h 6080632"/>
                <a:gd name="connsiteX22" fmla="*/ 19888247 w 20349121"/>
                <a:gd name="connsiteY22" fmla="*/ 2802781 h 6080632"/>
                <a:gd name="connsiteX23" fmla="*/ 19888247 w 20349121"/>
                <a:gd name="connsiteY23" fmla="*/ 3060688 h 6080632"/>
                <a:gd name="connsiteX24" fmla="*/ 19993754 w 20349121"/>
                <a:gd name="connsiteY24" fmla="*/ 3271704 h 6080632"/>
                <a:gd name="connsiteX25" fmla="*/ 19982031 w 20349121"/>
                <a:gd name="connsiteY25" fmla="*/ 3447550 h 6080632"/>
                <a:gd name="connsiteX26" fmla="*/ 19935139 w 20349121"/>
                <a:gd name="connsiteY26" fmla="*/ 3635119 h 6080632"/>
                <a:gd name="connsiteX27" fmla="*/ 20134431 w 20349121"/>
                <a:gd name="connsiteY27" fmla="*/ 3705457 h 6080632"/>
                <a:gd name="connsiteX28" fmla="*/ 20275108 w 20349121"/>
                <a:gd name="connsiteY28" fmla="*/ 3752350 h 6080632"/>
                <a:gd name="connsiteX29" fmla="*/ 20345447 w 20349121"/>
                <a:gd name="connsiteY29" fmla="*/ 3846134 h 6080632"/>
                <a:gd name="connsiteX30" fmla="*/ 20333724 w 20349121"/>
                <a:gd name="connsiteY30" fmla="*/ 4010257 h 6080632"/>
                <a:gd name="connsiteX31" fmla="*/ 20286831 w 20349121"/>
                <a:gd name="connsiteY31" fmla="*/ 4186104 h 6080632"/>
                <a:gd name="connsiteX32" fmla="*/ 20275108 w 20349121"/>
                <a:gd name="connsiteY32" fmla="*/ 4397119 h 6080632"/>
                <a:gd name="connsiteX33" fmla="*/ 20181324 w 20349121"/>
                <a:gd name="connsiteY33" fmla="*/ 4397119 h 6080632"/>
                <a:gd name="connsiteX34" fmla="*/ 20087539 w 20349121"/>
                <a:gd name="connsiteY34" fmla="*/ 4748811 h 6080632"/>
                <a:gd name="connsiteX35" fmla="*/ 20064093 w 20349121"/>
                <a:gd name="connsiteY35" fmla="*/ 5182565 h 6080632"/>
                <a:gd name="connsiteX36" fmla="*/ 20157877 w 20349121"/>
                <a:gd name="connsiteY36" fmla="*/ 5475642 h 6080632"/>
                <a:gd name="connsiteX37" fmla="*/ 20052370 w 20349121"/>
                <a:gd name="connsiteY37" fmla="*/ 5510811 h 6080632"/>
                <a:gd name="connsiteX38" fmla="*/ 19548277 w 20349121"/>
                <a:gd name="connsiteY38" fmla="*/ 5534257 h 6080632"/>
                <a:gd name="connsiteX39" fmla="*/ 19454493 w 20349121"/>
                <a:gd name="connsiteY39" fmla="*/ 5756996 h 6080632"/>
                <a:gd name="connsiteX40" fmla="*/ 19290370 w 20349121"/>
                <a:gd name="connsiteY40" fmla="*/ 5780442 h 6080632"/>
                <a:gd name="connsiteX41" fmla="*/ 18223570 w 20349121"/>
                <a:gd name="connsiteY41" fmla="*/ 5768719 h 6080632"/>
                <a:gd name="connsiteX42" fmla="*/ 18223570 w 20349121"/>
                <a:gd name="connsiteY42" fmla="*/ 5581150 h 6080632"/>
                <a:gd name="connsiteX43" fmla="*/ 17989108 w 20349121"/>
                <a:gd name="connsiteY43" fmla="*/ 4725365 h 6080632"/>
                <a:gd name="connsiteX44" fmla="*/ 17602247 w 20349121"/>
                <a:gd name="connsiteY44" fmla="*/ 4162657 h 6080632"/>
                <a:gd name="connsiteX45" fmla="*/ 17145047 w 20349121"/>
                <a:gd name="connsiteY45" fmla="*/ 3857857 h 6080632"/>
                <a:gd name="connsiteX46" fmla="*/ 16429939 w 20349121"/>
                <a:gd name="connsiteY46" fmla="*/ 3682011 h 6080632"/>
                <a:gd name="connsiteX47" fmla="*/ 15902401 w 20349121"/>
                <a:gd name="connsiteY47" fmla="*/ 3728904 h 6080632"/>
                <a:gd name="connsiteX48" fmla="*/ 15386585 w 20349121"/>
                <a:gd name="connsiteY48" fmla="*/ 3951642 h 6080632"/>
                <a:gd name="connsiteX49" fmla="*/ 14964554 w 20349121"/>
                <a:gd name="connsiteY49" fmla="*/ 4397119 h 6080632"/>
                <a:gd name="connsiteX50" fmla="*/ 14636308 w 20349121"/>
                <a:gd name="connsiteY50" fmla="*/ 4912934 h 6080632"/>
                <a:gd name="connsiteX51" fmla="*/ 14542524 w 20349121"/>
                <a:gd name="connsiteY51" fmla="*/ 5393581 h 6080632"/>
                <a:gd name="connsiteX52" fmla="*/ 14542524 w 20349121"/>
                <a:gd name="connsiteY52" fmla="*/ 5768719 h 6080632"/>
                <a:gd name="connsiteX53" fmla="*/ 14554247 w 20349121"/>
                <a:gd name="connsiteY53" fmla="*/ 5991457 h 6080632"/>
                <a:gd name="connsiteX54" fmla="*/ 14472185 w 20349121"/>
                <a:gd name="connsiteY54" fmla="*/ 6014904 h 6080632"/>
                <a:gd name="connsiteX55" fmla="*/ 14073601 w 20349121"/>
                <a:gd name="connsiteY55" fmla="*/ 6014904 h 6080632"/>
                <a:gd name="connsiteX56" fmla="*/ 11693816 w 20349121"/>
                <a:gd name="connsiteY56" fmla="*/ 6038350 h 6080632"/>
                <a:gd name="connsiteX57" fmla="*/ 7121816 w 20349121"/>
                <a:gd name="connsiteY57" fmla="*/ 6038350 h 6080632"/>
                <a:gd name="connsiteX58" fmla="*/ 5328185 w 20349121"/>
                <a:gd name="connsiteY58" fmla="*/ 6003181 h 6080632"/>
                <a:gd name="connsiteX59" fmla="*/ 5351631 w 20349121"/>
                <a:gd name="connsiteY59" fmla="*/ 5604596 h 6080632"/>
                <a:gd name="connsiteX60" fmla="*/ 5222677 w 20349121"/>
                <a:gd name="connsiteY60" fmla="*/ 4678473 h 6080632"/>
                <a:gd name="connsiteX61" fmla="*/ 4554462 w 20349121"/>
                <a:gd name="connsiteY61" fmla="*/ 3881304 h 6080632"/>
                <a:gd name="connsiteX62" fmla="*/ 3804185 w 20349121"/>
                <a:gd name="connsiteY62" fmla="*/ 3635119 h 6080632"/>
                <a:gd name="connsiteX63" fmla="*/ 2995293 w 20349121"/>
                <a:gd name="connsiteY63" fmla="*/ 3693734 h 6080632"/>
                <a:gd name="connsiteX64" fmla="*/ 2432585 w 20349121"/>
                <a:gd name="connsiteY64" fmla="*/ 3975088 h 6080632"/>
                <a:gd name="connsiteX65" fmla="*/ 1987108 w 20349121"/>
                <a:gd name="connsiteY65" fmla="*/ 4584688 h 6080632"/>
                <a:gd name="connsiteX66" fmla="*/ 1799539 w 20349121"/>
                <a:gd name="connsiteY66" fmla="*/ 5159119 h 6080632"/>
                <a:gd name="connsiteX67" fmla="*/ 1787816 w 20349121"/>
                <a:gd name="connsiteY67" fmla="*/ 5745273 h 6080632"/>
                <a:gd name="connsiteX68" fmla="*/ 1776093 w 20349121"/>
                <a:gd name="connsiteY68" fmla="*/ 5944565 h 6080632"/>
                <a:gd name="connsiteX69" fmla="*/ 1647139 w 20349121"/>
                <a:gd name="connsiteY69" fmla="*/ 5956288 h 6080632"/>
                <a:gd name="connsiteX70" fmla="*/ 709293 w 20349121"/>
                <a:gd name="connsiteY70" fmla="*/ 5932842 h 6080632"/>
                <a:gd name="connsiteX71" fmla="*/ 556893 w 20349121"/>
                <a:gd name="connsiteY71" fmla="*/ 5909396 h 6080632"/>
                <a:gd name="connsiteX72" fmla="*/ 474831 w 20349121"/>
                <a:gd name="connsiteY72" fmla="*/ 5803888 h 6080632"/>
                <a:gd name="connsiteX73" fmla="*/ 404493 w 20349121"/>
                <a:gd name="connsiteY73" fmla="*/ 5745273 h 6080632"/>
                <a:gd name="connsiteX74" fmla="*/ 263816 w 20349121"/>
                <a:gd name="connsiteY74" fmla="*/ 5581150 h 6080632"/>
                <a:gd name="connsiteX75" fmla="*/ 404493 w 20349121"/>
                <a:gd name="connsiteY75" fmla="*/ 5534257 h 6080632"/>
                <a:gd name="connsiteX76" fmla="*/ 334154 w 20349121"/>
                <a:gd name="connsiteY76" fmla="*/ 5428750 h 6080632"/>
                <a:gd name="connsiteX77" fmla="*/ 240370 w 20349121"/>
                <a:gd name="connsiteY77" fmla="*/ 5030165 h 6080632"/>
                <a:gd name="connsiteX78" fmla="*/ 205201 w 20349121"/>
                <a:gd name="connsiteY78" fmla="*/ 4983273 h 6080632"/>
                <a:gd name="connsiteX79" fmla="*/ 76247 w 20349121"/>
                <a:gd name="connsiteY79" fmla="*/ 4971550 h 6080632"/>
                <a:gd name="connsiteX80" fmla="*/ 52801 w 20349121"/>
                <a:gd name="connsiteY80" fmla="*/ 4842596 h 6080632"/>
                <a:gd name="connsiteX81" fmla="*/ 5908 w 20349121"/>
                <a:gd name="connsiteY81" fmla="*/ 4385396 h 6080632"/>
                <a:gd name="connsiteX82" fmla="*/ 17631 w 20349121"/>
                <a:gd name="connsiteY82" fmla="*/ 4315057 h 6080632"/>
                <a:gd name="connsiteX83" fmla="*/ 158308 w 20349121"/>
                <a:gd name="connsiteY83" fmla="*/ 4279888 h 6080632"/>
                <a:gd name="connsiteX84" fmla="*/ 240370 w 20349121"/>
                <a:gd name="connsiteY84" fmla="*/ 4150934 h 6080632"/>
                <a:gd name="connsiteX85" fmla="*/ 205201 w 20349121"/>
                <a:gd name="connsiteY85" fmla="*/ 3963365 h 6080632"/>
                <a:gd name="connsiteX86" fmla="*/ 193477 w 20349121"/>
                <a:gd name="connsiteY86" fmla="*/ 3623396 h 6080632"/>
                <a:gd name="connsiteX87" fmla="*/ 357601 w 20349121"/>
                <a:gd name="connsiteY87" fmla="*/ 3283427 h 6080632"/>
                <a:gd name="connsiteX88" fmla="*/ 1154770 w 20349121"/>
                <a:gd name="connsiteY88" fmla="*/ 2861396 h 6080632"/>
                <a:gd name="connsiteX89" fmla="*/ 2104339 w 20349121"/>
                <a:gd name="connsiteY89" fmla="*/ 2626934 h 6080632"/>
                <a:gd name="connsiteX90" fmla="*/ 3780739 w 20349121"/>
                <a:gd name="connsiteY90" fmla="*/ 2333857 h 6080632"/>
                <a:gd name="connsiteX91" fmla="*/ 5199231 w 20349121"/>
                <a:gd name="connsiteY91" fmla="*/ 2169734 h 6080632"/>
                <a:gd name="connsiteX92" fmla="*/ 5574370 w 20349121"/>
                <a:gd name="connsiteY92" fmla="*/ 2146288 h 6080632"/>
                <a:gd name="connsiteX93" fmla="*/ 5726770 w 20349121"/>
                <a:gd name="connsiteY93" fmla="*/ 2158011 h 6080632"/>
                <a:gd name="connsiteX94" fmla="*/ 5937785 w 20349121"/>
                <a:gd name="connsiteY94" fmla="*/ 2251796 h 6080632"/>
                <a:gd name="connsiteX95" fmla="*/ 5996401 w 20349121"/>
                <a:gd name="connsiteY95" fmla="*/ 2228350 h 6080632"/>
                <a:gd name="connsiteX0" fmla="*/ 5996401 w 20349121"/>
                <a:gd name="connsiteY0" fmla="*/ 2228350 h 6055371"/>
                <a:gd name="connsiteX1" fmla="*/ 6899077 w 20349121"/>
                <a:gd name="connsiteY1" fmla="*/ 1700811 h 6055371"/>
                <a:gd name="connsiteX2" fmla="*/ 8212062 w 20349121"/>
                <a:gd name="connsiteY2" fmla="*/ 915365 h 6055371"/>
                <a:gd name="connsiteX3" fmla="*/ 9032677 w 20349121"/>
                <a:gd name="connsiteY3" fmla="*/ 528504 h 6055371"/>
                <a:gd name="connsiteX4" fmla="*/ 9079570 w 20349121"/>
                <a:gd name="connsiteY4" fmla="*/ 469888 h 6055371"/>
                <a:gd name="connsiteX5" fmla="*/ 9220247 w 20349121"/>
                <a:gd name="connsiteY5" fmla="*/ 411273 h 6055371"/>
                <a:gd name="connsiteX6" fmla="*/ 10005693 w 20349121"/>
                <a:gd name="connsiteY6" fmla="*/ 188534 h 6055371"/>
                <a:gd name="connsiteX7" fmla="*/ 11365570 w 20349121"/>
                <a:gd name="connsiteY7" fmla="*/ 47857 h 6055371"/>
                <a:gd name="connsiteX8" fmla="*/ 12948185 w 20349121"/>
                <a:gd name="connsiteY8" fmla="*/ 965 h 6055371"/>
                <a:gd name="connsiteX9" fmla="*/ 14565970 w 20349121"/>
                <a:gd name="connsiteY9" fmla="*/ 83027 h 6055371"/>
                <a:gd name="connsiteX10" fmla="*/ 16054801 w 20349121"/>
                <a:gd name="connsiteY10" fmla="*/ 165088 h 6055371"/>
                <a:gd name="connsiteX11" fmla="*/ 17496739 w 20349121"/>
                <a:gd name="connsiteY11" fmla="*/ 364381 h 6055371"/>
                <a:gd name="connsiteX12" fmla="*/ 18012554 w 20349121"/>
                <a:gd name="connsiteY12" fmla="*/ 481611 h 6055371"/>
                <a:gd name="connsiteX13" fmla="*/ 18352524 w 20349121"/>
                <a:gd name="connsiteY13" fmla="*/ 528504 h 6055371"/>
                <a:gd name="connsiteX14" fmla="*/ 18434585 w 20349121"/>
                <a:gd name="connsiteY14" fmla="*/ 575396 h 6055371"/>
                <a:gd name="connsiteX15" fmla="*/ 18469754 w 20349121"/>
                <a:gd name="connsiteY15" fmla="*/ 634011 h 6055371"/>
                <a:gd name="connsiteX16" fmla="*/ 18903508 w 20349121"/>
                <a:gd name="connsiteY16" fmla="*/ 1091211 h 6055371"/>
                <a:gd name="connsiteX17" fmla="*/ 19560001 w 20349121"/>
                <a:gd name="connsiteY17" fmla="*/ 1853211 h 6055371"/>
                <a:gd name="connsiteX18" fmla="*/ 19665508 w 20349121"/>
                <a:gd name="connsiteY18" fmla="*/ 1993888 h 6055371"/>
                <a:gd name="connsiteX19" fmla="*/ 19864801 w 20349121"/>
                <a:gd name="connsiteY19" fmla="*/ 2099396 h 6055371"/>
                <a:gd name="connsiteX20" fmla="*/ 19946862 w 20349121"/>
                <a:gd name="connsiteY20" fmla="*/ 2228350 h 6055371"/>
                <a:gd name="connsiteX21" fmla="*/ 19911693 w 20349121"/>
                <a:gd name="connsiteY21" fmla="*/ 2415919 h 6055371"/>
                <a:gd name="connsiteX22" fmla="*/ 19888247 w 20349121"/>
                <a:gd name="connsiteY22" fmla="*/ 2802781 h 6055371"/>
                <a:gd name="connsiteX23" fmla="*/ 19888247 w 20349121"/>
                <a:gd name="connsiteY23" fmla="*/ 3060688 h 6055371"/>
                <a:gd name="connsiteX24" fmla="*/ 19993754 w 20349121"/>
                <a:gd name="connsiteY24" fmla="*/ 3271704 h 6055371"/>
                <a:gd name="connsiteX25" fmla="*/ 19982031 w 20349121"/>
                <a:gd name="connsiteY25" fmla="*/ 3447550 h 6055371"/>
                <a:gd name="connsiteX26" fmla="*/ 19935139 w 20349121"/>
                <a:gd name="connsiteY26" fmla="*/ 3635119 h 6055371"/>
                <a:gd name="connsiteX27" fmla="*/ 20134431 w 20349121"/>
                <a:gd name="connsiteY27" fmla="*/ 3705457 h 6055371"/>
                <a:gd name="connsiteX28" fmla="*/ 20275108 w 20349121"/>
                <a:gd name="connsiteY28" fmla="*/ 3752350 h 6055371"/>
                <a:gd name="connsiteX29" fmla="*/ 20345447 w 20349121"/>
                <a:gd name="connsiteY29" fmla="*/ 3846134 h 6055371"/>
                <a:gd name="connsiteX30" fmla="*/ 20333724 w 20349121"/>
                <a:gd name="connsiteY30" fmla="*/ 4010257 h 6055371"/>
                <a:gd name="connsiteX31" fmla="*/ 20286831 w 20349121"/>
                <a:gd name="connsiteY31" fmla="*/ 4186104 h 6055371"/>
                <a:gd name="connsiteX32" fmla="*/ 20275108 w 20349121"/>
                <a:gd name="connsiteY32" fmla="*/ 4397119 h 6055371"/>
                <a:gd name="connsiteX33" fmla="*/ 20181324 w 20349121"/>
                <a:gd name="connsiteY33" fmla="*/ 4397119 h 6055371"/>
                <a:gd name="connsiteX34" fmla="*/ 20087539 w 20349121"/>
                <a:gd name="connsiteY34" fmla="*/ 4748811 h 6055371"/>
                <a:gd name="connsiteX35" fmla="*/ 20064093 w 20349121"/>
                <a:gd name="connsiteY35" fmla="*/ 5182565 h 6055371"/>
                <a:gd name="connsiteX36" fmla="*/ 20157877 w 20349121"/>
                <a:gd name="connsiteY36" fmla="*/ 5475642 h 6055371"/>
                <a:gd name="connsiteX37" fmla="*/ 20052370 w 20349121"/>
                <a:gd name="connsiteY37" fmla="*/ 5510811 h 6055371"/>
                <a:gd name="connsiteX38" fmla="*/ 19548277 w 20349121"/>
                <a:gd name="connsiteY38" fmla="*/ 5534257 h 6055371"/>
                <a:gd name="connsiteX39" fmla="*/ 19454493 w 20349121"/>
                <a:gd name="connsiteY39" fmla="*/ 5756996 h 6055371"/>
                <a:gd name="connsiteX40" fmla="*/ 19290370 w 20349121"/>
                <a:gd name="connsiteY40" fmla="*/ 5780442 h 6055371"/>
                <a:gd name="connsiteX41" fmla="*/ 18223570 w 20349121"/>
                <a:gd name="connsiteY41" fmla="*/ 5768719 h 6055371"/>
                <a:gd name="connsiteX42" fmla="*/ 18223570 w 20349121"/>
                <a:gd name="connsiteY42" fmla="*/ 5581150 h 6055371"/>
                <a:gd name="connsiteX43" fmla="*/ 17989108 w 20349121"/>
                <a:gd name="connsiteY43" fmla="*/ 4725365 h 6055371"/>
                <a:gd name="connsiteX44" fmla="*/ 17602247 w 20349121"/>
                <a:gd name="connsiteY44" fmla="*/ 4162657 h 6055371"/>
                <a:gd name="connsiteX45" fmla="*/ 17145047 w 20349121"/>
                <a:gd name="connsiteY45" fmla="*/ 3857857 h 6055371"/>
                <a:gd name="connsiteX46" fmla="*/ 16429939 w 20349121"/>
                <a:gd name="connsiteY46" fmla="*/ 3682011 h 6055371"/>
                <a:gd name="connsiteX47" fmla="*/ 15902401 w 20349121"/>
                <a:gd name="connsiteY47" fmla="*/ 3728904 h 6055371"/>
                <a:gd name="connsiteX48" fmla="*/ 15386585 w 20349121"/>
                <a:gd name="connsiteY48" fmla="*/ 3951642 h 6055371"/>
                <a:gd name="connsiteX49" fmla="*/ 14964554 w 20349121"/>
                <a:gd name="connsiteY49" fmla="*/ 4397119 h 6055371"/>
                <a:gd name="connsiteX50" fmla="*/ 14636308 w 20349121"/>
                <a:gd name="connsiteY50" fmla="*/ 4912934 h 6055371"/>
                <a:gd name="connsiteX51" fmla="*/ 14542524 w 20349121"/>
                <a:gd name="connsiteY51" fmla="*/ 5393581 h 6055371"/>
                <a:gd name="connsiteX52" fmla="*/ 14542524 w 20349121"/>
                <a:gd name="connsiteY52" fmla="*/ 5768719 h 6055371"/>
                <a:gd name="connsiteX53" fmla="*/ 14554247 w 20349121"/>
                <a:gd name="connsiteY53" fmla="*/ 5991457 h 6055371"/>
                <a:gd name="connsiteX54" fmla="*/ 14472185 w 20349121"/>
                <a:gd name="connsiteY54" fmla="*/ 6014904 h 6055371"/>
                <a:gd name="connsiteX55" fmla="*/ 14073601 w 20349121"/>
                <a:gd name="connsiteY55" fmla="*/ 6014904 h 6055371"/>
                <a:gd name="connsiteX56" fmla="*/ 11693816 w 20349121"/>
                <a:gd name="connsiteY56" fmla="*/ 6038350 h 6055371"/>
                <a:gd name="connsiteX57" fmla="*/ 7121816 w 20349121"/>
                <a:gd name="connsiteY57" fmla="*/ 6038350 h 6055371"/>
                <a:gd name="connsiteX58" fmla="*/ 5328185 w 20349121"/>
                <a:gd name="connsiteY58" fmla="*/ 6003181 h 6055371"/>
                <a:gd name="connsiteX59" fmla="*/ 5351631 w 20349121"/>
                <a:gd name="connsiteY59" fmla="*/ 5604596 h 6055371"/>
                <a:gd name="connsiteX60" fmla="*/ 5222677 w 20349121"/>
                <a:gd name="connsiteY60" fmla="*/ 4678473 h 6055371"/>
                <a:gd name="connsiteX61" fmla="*/ 4554462 w 20349121"/>
                <a:gd name="connsiteY61" fmla="*/ 3881304 h 6055371"/>
                <a:gd name="connsiteX62" fmla="*/ 3804185 w 20349121"/>
                <a:gd name="connsiteY62" fmla="*/ 3635119 h 6055371"/>
                <a:gd name="connsiteX63" fmla="*/ 2995293 w 20349121"/>
                <a:gd name="connsiteY63" fmla="*/ 3693734 h 6055371"/>
                <a:gd name="connsiteX64" fmla="*/ 2432585 w 20349121"/>
                <a:gd name="connsiteY64" fmla="*/ 3975088 h 6055371"/>
                <a:gd name="connsiteX65" fmla="*/ 1987108 w 20349121"/>
                <a:gd name="connsiteY65" fmla="*/ 4584688 h 6055371"/>
                <a:gd name="connsiteX66" fmla="*/ 1799539 w 20349121"/>
                <a:gd name="connsiteY66" fmla="*/ 5159119 h 6055371"/>
                <a:gd name="connsiteX67" fmla="*/ 1787816 w 20349121"/>
                <a:gd name="connsiteY67" fmla="*/ 5745273 h 6055371"/>
                <a:gd name="connsiteX68" fmla="*/ 1776093 w 20349121"/>
                <a:gd name="connsiteY68" fmla="*/ 5944565 h 6055371"/>
                <a:gd name="connsiteX69" fmla="*/ 1647139 w 20349121"/>
                <a:gd name="connsiteY69" fmla="*/ 5956288 h 6055371"/>
                <a:gd name="connsiteX70" fmla="*/ 709293 w 20349121"/>
                <a:gd name="connsiteY70" fmla="*/ 5932842 h 6055371"/>
                <a:gd name="connsiteX71" fmla="*/ 556893 w 20349121"/>
                <a:gd name="connsiteY71" fmla="*/ 5909396 h 6055371"/>
                <a:gd name="connsiteX72" fmla="*/ 474831 w 20349121"/>
                <a:gd name="connsiteY72" fmla="*/ 5803888 h 6055371"/>
                <a:gd name="connsiteX73" fmla="*/ 404493 w 20349121"/>
                <a:gd name="connsiteY73" fmla="*/ 5745273 h 6055371"/>
                <a:gd name="connsiteX74" fmla="*/ 263816 w 20349121"/>
                <a:gd name="connsiteY74" fmla="*/ 5581150 h 6055371"/>
                <a:gd name="connsiteX75" fmla="*/ 404493 w 20349121"/>
                <a:gd name="connsiteY75" fmla="*/ 5534257 h 6055371"/>
                <a:gd name="connsiteX76" fmla="*/ 334154 w 20349121"/>
                <a:gd name="connsiteY76" fmla="*/ 5428750 h 6055371"/>
                <a:gd name="connsiteX77" fmla="*/ 240370 w 20349121"/>
                <a:gd name="connsiteY77" fmla="*/ 5030165 h 6055371"/>
                <a:gd name="connsiteX78" fmla="*/ 205201 w 20349121"/>
                <a:gd name="connsiteY78" fmla="*/ 4983273 h 6055371"/>
                <a:gd name="connsiteX79" fmla="*/ 76247 w 20349121"/>
                <a:gd name="connsiteY79" fmla="*/ 4971550 h 6055371"/>
                <a:gd name="connsiteX80" fmla="*/ 52801 w 20349121"/>
                <a:gd name="connsiteY80" fmla="*/ 4842596 h 6055371"/>
                <a:gd name="connsiteX81" fmla="*/ 5908 w 20349121"/>
                <a:gd name="connsiteY81" fmla="*/ 4385396 h 6055371"/>
                <a:gd name="connsiteX82" fmla="*/ 17631 w 20349121"/>
                <a:gd name="connsiteY82" fmla="*/ 4315057 h 6055371"/>
                <a:gd name="connsiteX83" fmla="*/ 158308 w 20349121"/>
                <a:gd name="connsiteY83" fmla="*/ 4279888 h 6055371"/>
                <a:gd name="connsiteX84" fmla="*/ 240370 w 20349121"/>
                <a:gd name="connsiteY84" fmla="*/ 4150934 h 6055371"/>
                <a:gd name="connsiteX85" fmla="*/ 205201 w 20349121"/>
                <a:gd name="connsiteY85" fmla="*/ 3963365 h 6055371"/>
                <a:gd name="connsiteX86" fmla="*/ 193477 w 20349121"/>
                <a:gd name="connsiteY86" fmla="*/ 3623396 h 6055371"/>
                <a:gd name="connsiteX87" fmla="*/ 357601 w 20349121"/>
                <a:gd name="connsiteY87" fmla="*/ 3283427 h 6055371"/>
                <a:gd name="connsiteX88" fmla="*/ 1154770 w 20349121"/>
                <a:gd name="connsiteY88" fmla="*/ 2861396 h 6055371"/>
                <a:gd name="connsiteX89" fmla="*/ 2104339 w 20349121"/>
                <a:gd name="connsiteY89" fmla="*/ 2626934 h 6055371"/>
                <a:gd name="connsiteX90" fmla="*/ 3780739 w 20349121"/>
                <a:gd name="connsiteY90" fmla="*/ 2333857 h 6055371"/>
                <a:gd name="connsiteX91" fmla="*/ 5199231 w 20349121"/>
                <a:gd name="connsiteY91" fmla="*/ 2169734 h 6055371"/>
                <a:gd name="connsiteX92" fmla="*/ 5574370 w 20349121"/>
                <a:gd name="connsiteY92" fmla="*/ 2146288 h 6055371"/>
                <a:gd name="connsiteX93" fmla="*/ 5726770 w 20349121"/>
                <a:gd name="connsiteY93" fmla="*/ 2158011 h 6055371"/>
                <a:gd name="connsiteX94" fmla="*/ 5937785 w 20349121"/>
                <a:gd name="connsiteY94" fmla="*/ 2251796 h 6055371"/>
                <a:gd name="connsiteX95" fmla="*/ 5996401 w 20349121"/>
                <a:gd name="connsiteY95" fmla="*/ 2228350 h 605537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222677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8166"/>
                <a:gd name="connsiteY0" fmla="*/ 2228350 h 6050491"/>
                <a:gd name="connsiteX1" fmla="*/ 6899077 w 20348166"/>
                <a:gd name="connsiteY1" fmla="*/ 1700811 h 6050491"/>
                <a:gd name="connsiteX2" fmla="*/ 8212062 w 20348166"/>
                <a:gd name="connsiteY2" fmla="*/ 915365 h 6050491"/>
                <a:gd name="connsiteX3" fmla="*/ 9032677 w 20348166"/>
                <a:gd name="connsiteY3" fmla="*/ 528504 h 6050491"/>
                <a:gd name="connsiteX4" fmla="*/ 9079570 w 20348166"/>
                <a:gd name="connsiteY4" fmla="*/ 469888 h 6050491"/>
                <a:gd name="connsiteX5" fmla="*/ 9220247 w 20348166"/>
                <a:gd name="connsiteY5" fmla="*/ 411273 h 6050491"/>
                <a:gd name="connsiteX6" fmla="*/ 10005693 w 20348166"/>
                <a:gd name="connsiteY6" fmla="*/ 188534 h 6050491"/>
                <a:gd name="connsiteX7" fmla="*/ 11365570 w 20348166"/>
                <a:gd name="connsiteY7" fmla="*/ 47857 h 6050491"/>
                <a:gd name="connsiteX8" fmla="*/ 12948185 w 20348166"/>
                <a:gd name="connsiteY8" fmla="*/ 965 h 6050491"/>
                <a:gd name="connsiteX9" fmla="*/ 14565970 w 20348166"/>
                <a:gd name="connsiteY9" fmla="*/ 83027 h 6050491"/>
                <a:gd name="connsiteX10" fmla="*/ 16054801 w 20348166"/>
                <a:gd name="connsiteY10" fmla="*/ 165088 h 6050491"/>
                <a:gd name="connsiteX11" fmla="*/ 17496739 w 20348166"/>
                <a:gd name="connsiteY11" fmla="*/ 364381 h 6050491"/>
                <a:gd name="connsiteX12" fmla="*/ 18012554 w 20348166"/>
                <a:gd name="connsiteY12" fmla="*/ 481611 h 6050491"/>
                <a:gd name="connsiteX13" fmla="*/ 18352524 w 20348166"/>
                <a:gd name="connsiteY13" fmla="*/ 528504 h 6050491"/>
                <a:gd name="connsiteX14" fmla="*/ 18434585 w 20348166"/>
                <a:gd name="connsiteY14" fmla="*/ 575396 h 6050491"/>
                <a:gd name="connsiteX15" fmla="*/ 18469754 w 20348166"/>
                <a:gd name="connsiteY15" fmla="*/ 634011 h 6050491"/>
                <a:gd name="connsiteX16" fmla="*/ 18903508 w 20348166"/>
                <a:gd name="connsiteY16" fmla="*/ 1091211 h 6050491"/>
                <a:gd name="connsiteX17" fmla="*/ 19560001 w 20348166"/>
                <a:gd name="connsiteY17" fmla="*/ 1853211 h 6050491"/>
                <a:gd name="connsiteX18" fmla="*/ 19665508 w 20348166"/>
                <a:gd name="connsiteY18" fmla="*/ 1993888 h 6050491"/>
                <a:gd name="connsiteX19" fmla="*/ 19864801 w 20348166"/>
                <a:gd name="connsiteY19" fmla="*/ 2099396 h 6050491"/>
                <a:gd name="connsiteX20" fmla="*/ 19946862 w 20348166"/>
                <a:gd name="connsiteY20" fmla="*/ 2228350 h 6050491"/>
                <a:gd name="connsiteX21" fmla="*/ 19911693 w 20348166"/>
                <a:gd name="connsiteY21" fmla="*/ 2415919 h 6050491"/>
                <a:gd name="connsiteX22" fmla="*/ 19923417 w 20348166"/>
                <a:gd name="connsiteY22" fmla="*/ 2779335 h 6050491"/>
                <a:gd name="connsiteX23" fmla="*/ 19888247 w 20348166"/>
                <a:gd name="connsiteY23" fmla="*/ 3060688 h 6050491"/>
                <a:gd name="connsiteX24" fmla="*/ 19993754 w 20348166"/>
                <a:gd name="connsiteY24" fmla="*/ 3271704 h 6050491"/>
                <a:gd name="connsiteX25" fmla="*/ 19982031 w 20348166"/>
                <a:gd name="connsiteY25" fmla="*/ 3447550 h 6050491"/>
                <a:gd name="connsiteX26" fmla="*/ 19935139 w 20348166"/>
                <a:gd name="connsiteY26" fmla="*/ 3635119 h 6050491"/>
                <a:gd name="connsiteX27" fmla="*/ 20134431 w 20348166"/>
                <a:gd name="connsiteY27" fmla="*/ 3705457 h 6050491"/>
                <a:gd name="connsiteX28" fmla="*/ 20275108 w 20348166"/>
                <a:gd name="connsiteY28" fmla="*/ 3752350 h 6050491"/>
                <a:gd name="connsiteX29" fmla="*/ 20345447 w 20348166"/>
                <a:gd name="connsiteY29" fmla="*/ 3846134 h 6050491"/>
                <a:gd name="connsiteX30" fmla="*/ 20333724 w 20348166"/>
                <a:gd name="connsiteY30" fmla="*/ 4010257 h 6050491"/>
                <a:gd name="connsiteX31" fmla="*/ 20333725 w 20348166"/>
                <a:gd name="connsiteY31" fmla="*/ 4209550 h 6050491"/>
                <a:gd name="connsiteX32" fmla="*/ 20275108 w 20348166"/>
                <a:gd name="connsiteY32" fmla="*/ 4397119 h 6050491"/>
                <a:gd name="connsiteX33" fmla="*/ 20169601 w 20348166"/>
                <a:gd name="connsiteY33" fmla="*/ 4432288 h 6050491"/>
                <a:gd name="connsiteX34" fmla="*/ 20087539 w 20348166"/>
                <a:gd name="connsiteY34" fmla="*/ 4748811 h 6050491"/>
                <a:gd name="connsiteX35" fmla="*/ 20064093 w 20348166"/>
                <a:gd name="connsiteY35" fmla="*/ 5182565 h 6050491"/>
                <a:gd name="connsiteX36" fmla="*/ 20157877 w 20348166"/>
                <a:gd name="connsiteY36" fmla="*/ 5475642 h 6050491"/>
                <a:gd name="connsiteX37" fmla="*/ 20052370 w 20348166"/>
                <a:gd name="connsiteY37" fmla="*/ 5510811 h 6050491"/>
                <a:gd name="connsiteX38" fmla="*/ 19548277 w 20348166"/>
                <a:gd name="connsiteY38" fmla="*/ 5534257 h 6050491"/>
                <a:gd name="connsiteX39" fmla="*/ 19454493 w 20348166"/>
                <a:gd name="connsiteY39" fmla="*/ 5756996 h 6050491"/>
                <a:gd name="connsiteX40" fmla="*/ 19290370 w 20348166"/>
                <a:gd name="connsiteY40" fmla="*/ 5780442 h 6050491"/>
                <a:gd name="connsiteX41" fmla="*/ 18223570 w 20348166"/>
                <a:gd name="connsiteY41" fmla="*/ 5768719 h 6050491"/>
                <a:gd name="connsiteX42" fmla="*/ 18223570 w 20348166"/>
                <a:gd name="connsiteY42" fmla="*/ 5581150 h 6050491"/>
                <a:gd name="connsiteX43" fmla="*/ 17989108 w 20348166"/>
                <a:gd name="connsiteY43" fmla="*/ 4725365 h 6050491"/>
                <a:gd name="connsiteX44" fmla="*/ 17602247 w 20348166"/>
                <a:gd name="connsiteY44" fmla="*/ 4162657 h 6050491"/>
                <a:gd name="connsiteX45" fmla="*/ 17145047 w 20348166"/>
                <a:gd name="connsiteY45" fmla="*/ 3857857 h 6050491"/>
                <a:gd name="connsiteX46" fmla="*/ 16429939 w 20348166"/>
                <a:gd name="connsiteY46" fmla="*/ 3682011 h 6050491"/>
                <a:gd name="connsiteX47" fmla="*/ 15902401 w 20348166"/>
                <a:gd name="connsiteY47" fmla="*/ 3728904 h 6050491"/>
                <a:gd name="connsiteX48" fmla="*/ 15386585 w 20348166"/>
                <a:gd name="connsiteY48" fmla="*/ 3951642 h 6050491"/>
                <a:gd name="connsiteX49" fmla="*/ 14964554 w 20348166"/>
                <a:gd name="connsiteY49" fmla="*/ 4397119 h 6050491"/>
                <a:gd name="connsiteX50" fmla="*/ 14636308 w 20348166"/>
                <a:gd name="connsiteY50" fmla="*/ 4912934 h 6050491"/>
                <a:gd name="connsiteX51" fmla="*/ 14542524 w 20348166"/>
                <a:gd name="connsiteY51" fmla="*/ 5393581 h 6050491"/>
                <a:gd name="connsiteX52" fmla="*/ 14542524 w 20348166"/>
                <a:gd name="connsiteY52" fmla="*/ 5768719 h 6050491"/>
                <a:gd name="connsiteX53" fmla="*/ 14554247 w 20348166"/>
                <a:gd name="connsiteY53" fmla="*/ 5991457 h 6050491"/>
                <a:gd name="connsiteX54" fmla="*/ 14472185 w 20348166"/>
                <a:gd name="connsiteY54" fmla="*/ 6014904 h 6050491"/>
                <a:gd name="connsiteX55" fmla="*/ 14073601 w 20348166"/>
                <a:gd name="connsiteY55" fmla="*/ 6014904 h 6050491"/>
                <a:gd name="connsiteX56" fmla="*/ 11693816 w 20348166"/>
                <a:gd name="connsiteY56" fmla="*/ 6038350 h 6050491"/>
                <a:gd name="connsiteX57" fmla="*/ 7121816 w 20348166"/>
                <a:gd name="connsiteY57" fmla="*/ 6038350 h 6050491"/>
                <a:gd name="connsiteX58" fmla="*/ 5328185 w 20348166"/>
                <a:gd name="connsiteY58" fmla="*/ 6003181 h 6050491"/>
                <a:gd name="connsiteX59" fmla="*/ 5351631 w 20348166"/>
                <a:gd name="connsiteY59" fmla="*/ 5604596 h 6050491"/>
                <a:gd name="connsiteX60" fmla="*/ 5187508 w 20348166"/>
                <a:gd name="connsiteY60" fmla="*/ 4678473 h 6050491"/>
                <a:gd name="connsiteX61" fmla="*/ 4613077 w 20348166"/>
                <a:gd name="connsiteY61" fmla="*/ 3939920 h 6050491"/>
                <a:gd name="connsiteX62" fmla="*/ 3804185 w 20348166"/>
                <a:gd name="connsiteY62" fmla="*/ 3635119 h 6050491"/>
                <a:gd name="connsiteX63" fmla="*/ 3077355 w 20348166"/>
                <a:gd name="connsiteY63" fmla="*/ 3693734 h 6050491"/>
                <a:gd name="connsiteX64" fmla="*/ 2479477 w 20348166"/>
                <a:gd name="connsiteY64" fmla="*/ 3998534 h 6050491"/>
                <a:gd name="connsiteX65" fmla="*/ 1987108 w 20348166"/>
                <a:gd name="connsiteY65" fmla="*/ 4584688 h 6050491"/>
                <a:gd name="connsiteX66" fmla="*/ 1799539 w 20348166"/>
                <a:gd name="connsiteY66" fmla="*/ 5159119 h 6050491"/>
                <a:gd name="connsiteX67" fmla="*/ 1787816 w 20348166"/>
                <a:gd name="connsiteY67" fmla="*/ 5745273 h 6050491"/>
                <a:gd name="connsiteX68" fmla="*/ 1776093 w 20348166"/>
                <a:gd name="connsiteY68" fmla="*/ 5944565 h 6050491"/>
                <a:gd name="connsiteX69" fmla="*/ 1647139 w 20348166"/>
                <a:gd name="connsiteY69" fmla="*/ 5956288 h 6050491"/>
                <a:gd name="connsiteX70" fmla="*/ 709293 w 20348166"/>
                <a:gd name="connsiteY70" fmla="*/ 5932842 h 6050491"/>
                <a:gd name="connsiteX71" fmla="*/ 556893 w 20348166"/>
                <a:gd name="connsiteY71" fmla="*/ 5909396 h 6050491"/>
                <a:gd name="connsiteX72" fmla="*/ 474831 w 20348166"/>
                <a:gd name="connsiteY72" fmla="*/ 5803888 h 6050491"/>
                <a:gd name="connsiteX73" fmla="*/ 404493 w 20348166"/>
                <a:gd name="connsiteY73" fmla="*/ 5745273 h 6050491"/>
                <a:gd name="connsiteX74" fmla="*/ 263816 w 20348166"/>
                <a:gd name="connsiteY74" fmla="*/ 5581150 h 6050491"/>
                <a:gd name="connsiteX75" fmla="*/ 404493 w 20348166"/>
                <a:gd name="connsiteY75" fmla="*/ 5534257 h 6050491"/>
                <a:gd name="connsiteX76" fmla="*/ 334154 w 20348166"/>
                <a:gd name="connsiteY76" fmla="*/ 5428750 h 6050491"/>
                <a:gd name="connsiteX77" fmla="*/ 240370 w 20348166"/>
                <a:gd name="connsiteY77" fmla="*/ 5030165 h 6050491"/>
                <a:gd name="connsiteX78" fmla="*/ 205201 w 20348166"/>
                <a:gd name="connsiteY78" fmla="*/ 4983273 h 6050491"/>
                <a:gd name="connsiteX79" fmla="*/ 76247 w 20348166"/>
                <a:gd name="connsiteY79" fmla="*/ 4971550 h 6050491"/>
                <a:gd name="connsiteX80" fmla="*/ 52801 w 20348166"/>
                <a:gd name="connsiteY80" fmla="*/ 4842596 h 6050491"/>
                <a:gd name="connsiteX81" fmla="*/ 5908 w 20348166"/>
                <a:gd name="connsiteY81" fmla="*/ 4385396 h 6050491"/>
                <a:gd name="connsiteX82" fmla="*/ 17631 w 20348166"/>
                <a:gd name="connsiteY82" fmla="*/ 4315057 h 6050491"/>
                <a:gd name="connsiteX83" fmla="*/ 158308 w 20348166"/>
                <a:gd name="connsiteY83" fmla="*/ 4279888 h 6050491"/>
                <a:gd name="connsiteX84" fmla="*/ 240370 w 20348166"/>
                <a:gd name="connsiteY84" fmla="*/ 4150934 h 6050491"/>
                <a:gd name="connsiteX85" fmla="*/ 205201 w 20348166"/>
                <a:gd name="connsiteY85" fmla="*/ 3963365 h 6050491"/>
                <a:gd name="connsiteX86" fmla="*/ 193477 w 20348166"/>
                <a:gd name="connsiteY86" fmla="*/ 3623396 h 6050491"/>
                <a:gd name="connsiteX87" fmla="*/ 357601 w 20348166"/>
                <a:gd name="connsiteY87" fmla="*/ 3283427 h 6050491"/>
                <a:gd name="connsiteX88" fmla="*/ 1154770 w 20348166"/>
                <a:gd name="connsiteY88" fmla="*/ 2861396 h 6050491"/>
                <a:gd name="connsiteX89" fmla="*/ 2104339 w 20348166"/>
                <a:gd name="connsiteY89" fmla="*/ 2626934 h 6050491"/>
                <a:gd name="connsiteX90" fmla="*/ 3780739 w 20348166"/>
                <a:gd name="connsiteY90" fmla="*/ 2333857 h 6050491"/>
                <a:gd name="connsiteX91" fmla="*/ 5199231 w 20348166"/>
                <a:gd name="connsiteY91" fmla="*/ 2169734 h 6050491"/>
                <a:gd name="connsiteX92" fmla="*/ 5574370 w 20348166"/>
                <a:gd name="connsiteY92" fmla="*/ 2146288 h 6050491"/>
                <a:gd name="connsiteX93" fmla="*/ 5726770 w 20348166"/>
                <a:gd name="connsiteY93" fmla="*/ 2158011 h 6050491"/>
                <a:gd name="connsiteX94" fmla="*/ 5937785 w 20348166"/>
                <a:gd name="connsiteY94" fmla="*/ 2251796 h 6050491"/>
                <a:gd name="connsiteX95" fmla="*/ 5996401 w 20348166"/>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12554 w 20358094"/>
                <a:gd name="connsiteY12" fmla="*/ 481611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36001 w 20358094"/>
                <a:gd name="connsiteY12" fmla="*/ 469888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49690"/>
                <a:gd name="connsiteX1" fmla="*/ 6899077 w 20358094"/>
                <a:gd name="connsiteY1" fmla="*/ 1700811 h 6049690"/>
                <a:gd name="connsiteX2" fmla="*/ 8212062 w 20358094"/>
                <a:gd name="connsiteY2" fmla="*/ 915365 h 6049690"/>
                <a:gd name="connsiteX3" fmla="*/ 9032677 w 20358094"/>
                <a:gd name="connsiteY3" fmla="*/ 528504 h 6049690"/>
                <a:gd name="connsiteX4" fmla="*/ 9079570 w 20358094"/>
                <a:gd name="connsiteY4" fmla="*/ 469888 h 6049690"/>
                <a:gd name="connsiteX5" fmla="*/ 9220247 w 20358094"/>
                <a:gd name="connsiteY5" fmla="*/ 411273 h 6049690"/>
                <a:gd name="connsiteX6" fmla="*/ 10005693 w 20358094"/>
                <a:gd name="connsiteY6" fmla="*/ 188534 h 6049690"/>
                <a:gd name="connsiteX7" fmla="*/ 11365570 w 20358094"/>
                <a:gd name="connsiteY7" fmla="*/ 47857 h 6049690"/>
                <a:gd name="connsiteX8" fmla="*/ 12948185 w 20358094"/>
                <a:gd name="connsiteY8" fmla="*/ 965 h 6049690"/>
                <a:gd name="connsiteX9" fmla="*/ 14565970 w 20358094"/>
                <a:gd name="connsiteY9" fmla="*/ 83027 h 6049690"/>
                <a:gd name="connsiteX10" fmla="*/ 16054801 w 20358094"/>
                <a:gd name="connsiteY10" fmla="*/ 165088 h 6049690"/>
                <a:gd name="connsiteX11" fmla="*/ 17496739 w 20358094"/>
                <a:gd name="connsiteY11" fmla="*/ 364381 h 6049690"/>
                <a:gd name="connsiteX12" fmla="*/ 18036001 w 20358094"/>
                <a:gd name="connsiteY12" fmla="*/ 469888 h 6049690"/>
                <a:gd name="connsiteX13" fmla="*/ 18352524 w 20358094"/>
                <a:gd name="connsiteY13" fmla="*/ 528504 h 6049690"/>
                <a:gd name="connsiteX14" fmla="*/ 18434585 w 20358094"/>
                <a:gd name="connsiteY14" fmla="*/ 575396 h 6049690"/>
                <a:gd name="connsiteX15" fmla="*/ 18469754 w 20358094"/>
                <a:gd name="connsiteY15" fmla="*/ 634011 h 6049690"/>
                <a:gd name="connsiteX16" fmla="*/ 18903508 w 20358094"/>
                <a:gd name="connsiteY16" fmla="*/ 1091211 h 6049690"/>
                <a:gd name="connsiteX17" fmla="*/ 19560001 w 20358094"/>
                <a:gd name="connsiteY17" fmla="*/ 1853211 h 6049690"/>
                <a:gd name="connsiteX18" fmla="*/ 19665508 w 20358094"/>
                <a:gd name="connsiteY18" fmla="*/ 1993888 h 6049690"/>
                <a:gd name="connsiteX19" fmla="*/ 19864801 w 20358094"/>
                <a:gd name="connsiteY19" fmla="*/ 2099396 h 6049690"/>
                <a:gd name="connsiteX20" fmla="*/ 19946862 w 20358094"/>
                <a:gd name="connsiteY20" fmla="*/ 2228350 h 6049690"/>
                <a:gd name="connsiteX21" fmla="*/ 19911693 w 20358094"/>
                <a:gd name="connsiteY21" fmla="*/ 2415919 h 6049690"/>
                <a:gd name="connsiteX22" fmla="*/ 19923417 w 20358094"/>
                <a:gd name="connsiteY22" fmla="*/ 2779335 h 6049690"/>
                <a:gd name="connsiteX23" fmla="*/ 19888247 w 20358094"/>
                <a:gd name="connsiteY23" fmla="*/ 3060688 h 6049690"/>
                <a:gd name="connsiteX24" fmla="*/ 19993754 w 20358094"/>
                <a:gd name="connsiteY24" fmla="*/ 3271704 h 6049690"/>
                <a:gd name="connsiteX25" fmla="*/ 19982031 w 20358094"/>
                <a:gd name="connsiteY25" fmla="*/ 3447550 h 6049690"/>
                <a:gd name="connsiteX26" fmla="*/ 19935139 w 20358094"/>
                <a:gd name="connsiteY26" fmla="*/ 3635119 h 6049690"/>
                <a:gd name="connsiteX27" fmla="*/ 20134431 w 20358094"/>
                <a:gd name="connsiteY27" fmla="*/ 3705457 h 6049690"/>
                <a:gd name="connsiteX28" fmla="*/ 20275108 w 20358094"/>
                <a:gd name="connsiteY28" fmla="*/ 3752350 h 6049690"/>
                <a:gd name="connsiteX29" fmla="*/ 20345447 w 20358094"/>
                <a:gd name="connsiteY29" fmla="*/ 3846134 h 6049690"/>
                <a:gd name="connsiteX30" fmla="*/ 20357170 w 20358094"/>
                <a:gd name="connsiteY30" fmla="*/ 4010257 h 6049690"/>
                <a:gd name="connsiteX31" fmla="*/ 20333725 w 20358094"/>
                <a:gd name="connsiteY31" fmla="*/ 4209550 h 6049690"/>
                <a:gd name="connsiteX32" fmla="*/ 20275108 w 20358094"/>
                <a:gd name="connsiteY32" fmla="*/ 4397119 h 6049690"/>
                <a:gd name="connsiteX33" fmla="*/ 20169601 w 20358094"/>
                <a:gd name="connsiteY33" fmla="*/ 4432288 h 6049690"/>
                <a:gd name="connsiteX34" fmla="*/ 20087539 w 20358094"/>
                <a:gd name="connsiteY34" fmla="*/ 4748811 h 6049690"/>
                <a:gd name="connsiteX35" fmla="*/ 20064093 w 20358094"/>
                <a:gd name="connsiteY35" fmla="*/ 5182565 h 6049690"/>
                <a:gd name="connsiteX36" fmla="*/ 20157877 w 20358094"/>
                <a:gd name="connsiteY36" fmla="*/ 5475642 h 6049690"/>
                <a:gd name="connsiteX37" fmla="*/ 20052370 w 20358094"/>
                <a:gd name="connsiteY37" fmla="*/ 5510811 h 6049690"/>
                <a:gd name="connsiteX38" fmla="*/ 19548277 w 20358094"/>
                <a:gd name="connsiteY38" fmla="*/ 5534257 h 6049690"/>
                <a:gd name="connsiteX39" fmla="*/ 19454493 w 20358094"/>
                <a:gd name="connsiteY39" fmla="*/ 5756996 h 6049690"/>
                <a:gd name="connsiteX40" fmla="*/ 19290370 w 20358094"/>
                <a:gd name="connsiteY40" fmla="*/ 5780442 h 6049690"/>
                <a:gd name="connsiteX41" fmla="*/ 18223570 w 20358094"/>
                <a:gd name="connsiteY41" fmla="*/ 5768719 h 6049690"/>
                <a:gd name="connsiteX42" fmla="*/ 18223570 w 20358094"/>
                <a:gd name="connsiteY42" fmla="*/ 5581150 h 6049690"/>
                <a:gd name="connsiteX43" fmla="*/ 17989108 w 20358094"/>
                <a:gd name="connsiteY43" fmla="*/ 4725365 h 6049690"/>
                <a:gd name="connsiteX44" fmla="*/ 17602247 w 20358094"/>
                <a:gd name="connsiteY44" fmla="*/ 4162657 h 6049690"/>
                <a:gd name="connsiteX45" fmla="*/ 17145047 w 20358094"/>
                <a:gd name="connsiteY45" fmla="*/ 3857857 h 6049690"/>
                <a:gd name="connsiteX46" fmla="*/ 16429939 w 20358094"/>
                <a:gd name="connsiteY46" fmla="*/ 3682011 h 6049690"/>
                <a:gd name="connsiteX47" fmla="*/ 15902401 w 20358094"/>
                <a:gd name="connsiteY47" fmla="*/ 3728904 h 6049690"/>
                <a:gd name="connsiteX48" fmla="*/ 15386585 w 20358094"/>
                <a:gd name="connsiteY48" fmla="*/ 3951642 h 6049690"/>
                <a:gd name="connsiteX49" fmla="*/ 14964554 w 20358094"/>
                <a:gd name="connsiteY49" fmla="*/ 4397119 h 6049690"/>
                <a:gd name="connsiteX50" fmla="*/ 14636308 w 20358094"/>
                <a:gd name="connsiteY50" fmla="*/ 4912934 h 6049690"/>
                <a:gd name="connsiteX51" fmla="*/ 14542524 w 20358094"/>
                <a:gd name="connsiteY51" fmla="*/ 5393581 h 6049690"/>
                <a:gd name="connsiteX52" fmla="*/ 14542524 w 20358094"/>
                <a:gd name="connsiteY52" fmla="*/ 5768719 h 6049690"/>
                <a:gd name="connsiteX53" fmla="*/ 14554247 w 20358094"/>
                <a:gd name="connsiteY53" fmla="*/ 5991457 h 6049690"/>
                <a:gd name="connsiteX54" fmla="*/ 14472185 w 20358094"/>
                <a:gd name="connsiteY54" fmla="*/ 6014904 h 6049690"/>
                <a:gd name="connsiteX55" fmla="*/ 14073601 w 20358094"/>
                <a:gd name="connsiteY55" fmla="*/ 6014904 h 6049690"/>
                <a:gd name="connsiteX56" fmla="*/ 11693816 w 20358094"/>
                <a:gd name="connsiteY56" fmla="*/ 6038350 h 6049690"/>
                <a:gd name="connsiteX57" fmla="*/ 7121816 w 20358094"/>
                <a:gd name="connsiteY57" fmla="*/ 6038350 h 6049690"/>
                <a:gd name="connsiteX58" fmla="*/ 5328185 w 20358094"/>
                <a:gd name="connsiteY58" fmla="*/ 6003181 h 6049690"/>
                <a:gd name="connsiteX59" fmla="*/ 5375077 w 20358094"/>
                <a:gd name="connsiteY59" fmla="*/ 5545980 h 6049690"/>
                <a:gd name="connsiteX60" fmla="*/ 5187508 w 20358094"/>
                <a:gd name="connsiteY60" fmla="*/ 4678473 h 6049690"/>
                <a:gd name="connsiteX61" fmla="*/ 4613077 w 20358094"/>
                <a:gd name="connsiteY61" fmla="*/ 3939920 h 6049690"/>
                <a:gd name="connsiteX62" fmla="*/ 3804185 w 20358094"/>
                <a:gd name="connsiteY62" fmla="*/ 3635119 h 6049690"/>
                <a:gd name="connsiteX63" fmla="*/ 3077355 w 20358094"/>
                <a:gd name="connsiteY63" fmla="*/ 3693734 h 6049690"/>
                <a:gd name="connsiteX64" fmla="*/ 2479477 w 20358094"/>
                <a:gd name="connsiteY64" fmla="*/ 3998534 h 6049690"/>
                <a:gd name="connsiteX65" fmla="*/ 1987108 w 20358094"/>
                <a:gd name="connsiteY65" fmla="*/ 4584688 h 6049690"/>
                <a:gd name="connsiteX66" fmla="*/ 1799539 w 20358094"/>
                <a:gd name="connsiteY66" fmla="*/ 5159119 h 6049690"/>
                <a:gd name="connsiteX67" fmla="*/ 1787816 w 20358094"/>
                <a:gd name="connsiteY67" fmla="*/ 5745273 h 6049690"/>
                <a:gd name="connsiteX68" fmla="*/ 1776093 w 20358094"/>
                <a:gd name="connsiteY68" fmla="*/ 5944565 h 6049690"/>
                <a:gd name="connsiteX69" fmla="*/ 1647139 w 20358094"/>
                <a:gd name="connsiteY69" fmla="*/ 5956288 h 6049690"/>
                <a:gd name="connsiteX70" fmla="*/ 709293 w 20358094"/>
                <a:gd name="connsiteY70" fmla="*/ 5932842 h 6049690"/>
                <a:gd name="connsiteX71" fmla="*/ 556893 w 20358094"/>
                <a:gd name="connsiteY71" fmla="*/ 5909396 h 6049690"/>
                <a:gd name="connsiteX72" fmla="*/ 474831 w 20358094"/>
                <a:gd name="connsiteY72" fmla="*/ 5803888 h 6049690"/>
                <a:gd name="connsiteX73" fmla="*/ 404493 w 20358094"/>
                <a:gd name="connsiteY73" fmla="*/ 5745273 h 6049690"/>
                <a:gd name="connsiteX74" fmla="*/ 263816 w 20358094"/>
                <a:gd name="connsiteY74" fmla="*/ 5581150 h 6049690"/>
                <a:gd name="connsiteX75" fmla="*/ 404493 w 20358094"/>
                <a:gd name="connsiteY75" fmla="*/ 5534257 h 6049690"/>
                <a:gd name="connsiteX76" fmla="*/ 334154 w 20358094"/>
                <a:gd name="connsiteY76" fmla="*/ 5428750 h 6049690"/>
                <a:gd name="connsiteX77" fmla="*/ 240370 w 20358094"/>
                <a:gd name="connsiteY77" fmla="*/ 5030165 h 6049690"/>
                <a:gd name="connsiteX78" fmla="*/ 205201 w 20358094"/>
                <a:gd name="connsiteY78" fmla="*/ 4983273 h 6049690"/>
                <a:gd name="connsiteX79" fmla="*/ 76247 w 20358094"/>
                <a:gd name="connsiteY79" fmla="*/ 4971550 h 6049690"/>
                <a:gd name="connsiteX80" fmla="*/ 52801 w 20358094"/>
                <a:gd name="connsiteY80" fmla="*/ 4842596 h 6049690"/>
                <a:gd name="connsiteX81" fmla="*/ 5908 w 20358094"/>
                <a:gd name="connsiteY81" fmla="*/ 4385396 h 6049690"/>
                <a:gd name="connsiteX82" fmla="*/ 17631 w 20358094"/>
                <a:gd name="connsiteY82" fmla="*/ 4315057 h 6049690"/>
                <a:gd name="connsiteX83" fmla="*/ 158308 w 20358094"/>
                <a:gd name="connsiteY83" fmla="*/ 4279888 h 6049690"/>
                <a:gd name="connsiteX84" fmla="*/ 240370 w 20358094"/>
                <a:gd name="connsiteY84" fmla="*/ 4150934 h 6049690"/>
                <a:gd name="connsiteX85" fmla="*/ 205201 w 20358094"/>
                <a:gd name="connsiteY85" fmla="*/ 3963365 h 6049690"/>
                <a:gd name="connsiteX86" fmla="*/ 193477 w 20358094"/>
                <a:gd name="connsiteY86" fmla="*/ 3623396 h 6049690"/>
                <a:gd name="connsiteX87" fmla="*/ 357601 w 20358094"/>
                <a:gd name="connsiteY87" fmla="*/ 3283427 h 6049690"/>
                <a:gd name="connsiteX88" fmla="*/ 1154770 w 20358094"/>
                <a:gd name="connsiteY88" fmla="*/ 2861396 h 6049690"/>
                <a:gd name="connsiteX89" fmla="*/ 2104339 w 20358094"/>
                <a:gd name="connsiteY89" fmla="*/ 2626934 h 6049690"/>
                <a:gd name="connsiteX90" fmla="*/ 3780739 w 20358094"/>
                <a:gd name="connsiteY90" fmla="*/ 2333857 h 6049690"/>
                <a:gd name="connsiteX91" fmla="*/ 5199231 w 20358094"/>
                <a:gd name="connsiteY91" fmla="*/ 2169734 h 6049690"/>
                <a:gd name="connsiteX92" fmla="*/ 5574370 w 20358094"/>
                <a:gd name="connsiteY92" fmla="*/ 2146288 h 6049690"/>
                <a:gd name="connsiteX93" fmla="*/ 5726770 w 20358094"/>
                <a:gd name="connsiteY93" fmla="*/ 2158011 h 6049690"/>
                <a:gd name="connsiteX94" fmla="*/ 5937785 w 20358094"/>
                <a:gd name="connsiteY94" fmla="*/ 2251796 h 6049690"/>
                <a:gd name="connsiteX95" fmla="*/ 5996401 w 20358094"/>
                <a:gd name="connsiteY95" fmla="*/ 2228350 h 6049690"/>
                <a:gd name="connsiteX0" fmla="*/ 5996401 w 20358094"/>
                <a:gd name="connsiteY0" fmla="*/ 2228350 h 6054551"/>
                <a:gd name="connsiteX1" fmla="*/ 6899077 w 20358094"/>
                <a:gd name="connsiteY1" fmla="*/ 1700811 h 6054551"/>
                <a:gd name="connsiteX2" fmla="*/ 8212062 w 20358094"/>
                <a:gd name="connsiteY2" fmla="*/ 915365 h 6054551"/>
                <a:gd name="connsiteX3" fmla="*/ 9032677 w 20358094"/>
                <a:gd name="connsiteY3" fmla="*/ 528504 h 6054551"/>
                <a:gd name="connsiteX4" fmla="*/ 9079570 w 20358094"/>
                <a:gd name="connsiteY4" fmla="*/ 469888 h 6054551"/>
                <a:gd name="connsiteX5" fmla="*/ 9220247 w 20358094"/>
                <a:gd name="connsiteY5" fmla="*/ 411273 h 6054551"/>
                <a:gd name="connsiteX6" fmla="*/ 10005693 w 20358094"/>
                <a:gd name="connsiteY6" fmla="*/ 188534 h 6054551"/>
                <a:gd name="connsiteX7" fmla="*/ 11365570 w 20358094"/>
                <a:gd name="connsiteY7" fmla="*/ 47857 h 6054551"/>
                <a:gd name="connsiteX8" fmla="*/ 12948185 w 20358094"/>
                <a:gd name="connsiteY8" fmla="*/ 965 h 6054551"/>
                <a:gd name="connsiteX9" fmla="*/ 14565970 w 20358094"/>
                <a:gd name="connsiteY9" fmla="*/ 83027 h 6054551"/>
                <a:gd name="connsiteX10" fmla="*/ 16054801 w 20358094"/>
                <a:gd name="connsiteY10" fmla="*/ 165088 h 6054551"/>
                <a:gd name="connsiteX11" fmla="*/ 17496739 w 20358094"/>
                <a:gd name="connsiteY11" fmla="*/ 364381 h 6054551"/>
                <a:gd name="connsiteX12" fmla="*/ 18036001 w 20358094"/>
                <a:gd name="connsiteY12" fmla="*/ 469888 h 6054551"/>
                <a:gd name="connsiteX13" fmla="*/ 18352524 w 20358094"/>
                <a:gd name="connsiteY13" fmla="*/ 528504 h 6054551"/>
                <a:gd name="connsiteX14" fmla="*/ 18434585 w 20358094"/>
                <a:gd name="connsiteY14" fmla="*/ 575396 h 6054551"/>
                <a:gd name="connsiteX15" fmla="*/ 18469754 w 20358094"/>
                <a:gd name="connsiteY15" fmla="*/ 634011 h 6054551"/>
                <a:gd name="connsiteX16" fmla="*/ 18903508 w 20358094"/>
                <a:gd name="connsiteY16" fmla="*/ 1091211 h 6054551"/>
                <a:gd name="connsiteX17" fmla="*/ 19560001 w 20358094"/>
                <a:gd name="connsiteY17" fmla="*/ 1853211 h 6054551"/>
                <a:gd name="connsiteX18" fmla="*/ 19665508 w 20358094"/>
                <a:gd name="connsiteY18" fmla="*/ 1993888 h 6054551"/>
                <a:gd name="connsiteX19" fmla="*/ 19864801 w 20358094"/>
                <a:gd name="connsiteY19" fmla="*/ 2099396 h 6054551"/>
                <a:gd name="connsiteX20" fmla="*/ 19946862 w 20358094"/>
                <a:gd name="connsiteY20" fmla="*/ 2228350 h 6054551"/>
                <a:gd name="connsiteX21" fmla="*/ 19911693 w 20358094"/>
                <a:gd name="connsiteY21" fmla="*/ 2415919 h 6054551"/>
                <a:gd name="connsiteX22" fmla="*/ 19923417 w 20358094"/>
                <a:gd name="connsiteY22" fmla="*/ 2779335 h 6054551"/>
                <a:gd name="connsiteX23" fmla="*/ 19888247 w 20358094"/>
                <a:gd name="connsiteY23" fmla="*/ 3060688 h 6054551"/>
                <a:gd name="connsiteX24" fmla="*/ 19993754 w 20358094"/>
                <a:gd name="connsiteY24" fmla="*/ 3271704 h 6054551"/>
                <a:gd name="connsiteX25" fmla="*/ 19982031 w 20358094"/>
                <a:gd name="connsiteY25" fmla="*/ 3447550 h 6054551"/>
                <a:gd name="connsiteX26" fmla="*/ 19935139 w 20358094"/>
                <a:gd name="connsiteY26" fmla="*/ 3635119 h 6054551"/>
                <a:gd name="connsiteX27" fmla="*/ 20134431 w 20358094"/>
                <a:gd name="connsiteY27" fmla="*/ 3705457 h 6054551"/>
                <a:gd name="connsiteX28" fmla="*/ 20275108 w 20358094"/>
                <a:gd name="connsiteY28" fmla="*/ 3752350 h 6054551"/>
                <a:gd name="connsiteX29" fmla="*/ 20345447 w 20358094"/>
                <a:gd name="connsiteY29" fmla="*/ 3846134 h 6054551"/>
                <a:gd name="connsiteX30" fmla="*/ 20357170 w 20358094"/>
                <a:gd name="connsiteY30" fmla="*/ 4010257 h 6054551"/>
                <a:gd name="connsiteX31" fmla="*/ 20333725 w 20358094"/>
                <a:gd name="connsiteY31" fmla="*/ 4209550 h 6054551"/>
                <a:gd name="connsiteX32" fmla="*/ 20275108 w 20358094"/>
                <a:gd name="connsiteY32" fmla="*/ 4397119 h 6054551"/>
                <a:gd name="connsiteX33" fmla="*/ 20169601 w 20358094"/>
                <a:gd name="connsiteY33" fmla="*/ 4432288 h 6054551"/>
                <a:gd name="connsiteX34" fmla="*/ 20087539 w 20358094"/>
                <a:gd name="connsiteY34" fmla="*/ 4748811 h 6054551"/>
                <a:gd name="connsiteX35" fmla="*/ 20064093 w 20358094"/>
                <a:gd name="connsiteY35" fmla="*/ 5182565 h 6054551"/>
                <a:gd name="connsiteX36" fmla="*/ 20157877 w 20358094"/>
                <a:gd name="connsiteY36" fmla="*/ 5475642 h 6054551"/>
                <a:gd name="connsiteX37" fmla="*/ 20052370 w 20358094"/>
                <a:gd name="connsiteY37" fmla="*/ 5510811 h 6054551"/>
                <a:gd name="connsiteX38" fmla="*/ 19548277 w 20358094"/>
                <a:gd name="connsiteY38" fmla="*/ 5534257 h 6054551"/>
                <a:gd name="connsiteX39" fmla="*/ 19454493 w 20358094"/>
                <a:gd name="connsiteY39" fmla="*/ 5756996 h 6054551"/>
                <a:gd name="connsiteX40" fmla="*/ 19290370 w 20358094"/>
                <a:gd name="connsiteY40" fmla="*/ 5780442 h 6054551"/>
                <a:gd name="connsiteX41" fmla="*/ 18223570 w 20358094"/>
                <a:gd name="connsiteY41" fmla="*/ 5768719 h 6054551"/>
                <a:gd name="connsiteX42" fmla="*/ 18223570 w 20358094"/>
                <a:gd name="connsiteY42" fmla="*/ 5581150 h 6054551"/>
                <a:gd name="connsiteX43" fmla="*/ 17989108 w 20358094"/>
                <a:gd name="connsiteY43" fmla="*/ 4725365 h 6054551"/>
                <a:gd name="connsiteX44" fmla="*/ 17602247 w 20358094"/>
                <a:gd name="connsiteY44" fmla="*/ 4162657 h 6054551"/>
                <a:gd name="connsiteX45" fmla="*/ 17145047 w 20358094"/>
                <a:gd name="connsiteY45" fmla="*/ 3857857 h 6054551"/>
                <a:gd name="connsiteX46" fmla="*/ 16429939 w 20358094"/>
                <a:gd name="connsiteY46" fmla="*/ 3682011 h 6054551"/>
                <a:gd name="connsiteX47" fmla="*/ 15902401 w 20358094"/>
                <a:gd name="connsiteY47" fmla="*/ 3728904 h 6054551"/>
                <a:gd name="connsiteX48" fmla="*/ 15386585 w 20358094"/>
                <a:gd name="connsiteY48" fmla="*/ 3951642 h 6054551"/>
                <a:gd name="connsiteX49" fmla="*/ 14964554 w 20358094"/>
                <a:gd name="connsiteY49" fmla="*/ 4397119 h 6054551"/>
                <a:gd name="connsiteX50" fmla="*/ 14636308 w 20358094"/>
                <a:gd name="connsiteY50" fmla="*/ 4912934 h 6054551"/>
                <a:gd name="connsiteX51" fmla="*/ 14542524 w 20358094"/>
                <a:gd name="connsiteY51" fmla="*/ 5393581 h 6054551"/>
                <a:gd name="connsiteX52" fmla="*/ 14542524 w 20358094"/>
                <a:gd name="connsiteY52" fmla="*/ 5768719 h 6054551"/>
                <a:gd name="connsiteX53" fmla="*/ 14554247 w 20358094"/>
                <a:gd name="connsiteY53" fmla="*/ 5991457 h 6054551"/>
                <a:gd name="connsiteX54" fmla="*/ 14472185 w 20358094"/>
                <a:gd name="connsiteY54" fmla="*/ 6014904 h 6054551"/>
                <a:gd name="connsiteX55" fmla="*/ 14073601 w 20358094"/>
                <a:gd name="connsiteY55" fmla="*/ 6014904 h 6054551"/>
                <a:gd name="connsiteX56" fmla="*/ 11693816 w 20358094"/>
                <a:gd name="connsiteY56" fmla="*/ 6038350 h 6054551"/>
                <a:gd name="connsiteX57" fmla="*/ 7121816 w 20358094"/>
                <a:gd name="connsiteY57" fmla="*/ 6038350 h 6054551"/>
                <a:gd name="connsiteX58" fmla="*/ 5328185 w 20358094"/>
                <a:gd name="connsiteY58" fmla="*/ 6003181 h 6054551"/>
                <a:gd name="connsiteX59" fmla="*/ 5375077 w 20358094"/>
                <a:gd name="connsiteY59" fmla="*/ 5545980 h 6054551"/>
                <a:gd name="connsiteX60" fmla="*/ 5187508 w 20358094"/>
                <a:gd name="connsiteY60" fmla="*/ 4678473 h 6054551"/>
                <a:gd name="connsiteX61" fmla="*/ 4613077 w 20358094"/>
                <a:gd name="connsiteY61" fmla="*/ 3939920 h 6054551"/>
                <a:gd name="connsiteX62" fmla="*/ 3804185 w 20358094"/>
                <a:gd name="connsiteY62" fmla="*/ 3635119 h 6054551"/>
                <a:gd name="connsiteX63" fmla="*/ 3077355 w 20358094"/>
                <a:gd name="connsiteY63" fmla="*/ 3693734 h 6054551"/>
                <a:gd name="connsiteX64" fmla="*/ 2479477 w 20358094"/>
                <a:gd name="connsiteY64" fmla="*/ 3998534 h 6054551"/>
                <a:gd name="connsiteX65" fmla="*/ 1987108 w 20358094"/>
                <a:gd name="connsiteY65" fmla="*/ 4584688 h 6054551"/>
                <a:gd name="connsiteX66" fmla="*/ 1799539 w 20358094"/>
                <a:gd name="connsiteY66" fmla="*/ 5159119 h 6054551"/>
                <a:gd name="connsiteX67" fmla="*/ 1787816 w 20358094"/>
                <a:gd name="connsiteY67" fmla="*/ 5745273 h 6054551"/>
                <a:gd name="connsiteX68" fmla="*/ 1776093 w 20358094"/>
                <a:gd name="connsiteY68" fmla="*/ 5944565 h 6054551"/>
                <a:gd name="connsiteX69" fmla="*/ 1647139 w 20358094"/>
                <a:gd name="connsiteY69" fmla="*/ 5956288 h 6054551"/>
                <a:gd name="connsiteX70" fmla="*/ 709293 w 20358094"/>
                <a:gd name="connsiteY70" fmla="*/ 5932842 h 6054551"/>
                <a:gd name="connsiteX71" fmla="*/ 556893 w 20358094"/>
                <a:gd name="connsiteY71" fmla="*/ 5909396 h 6054551"/>
                <a:gd name="connsiteX72" fmla="*/ 474831 w 20358094"/>
                <a:gd name="connsiteY72" fmla="*/ 5803888 h 6054551"/>
                <a:gd name="connsiteX73" fmla="*/ 404493 w 20358094"/>
                <a:gd name="connsiteY73" fmla="*/ 5745273 h 6054551"/>
                <a:gd name="connsiteX74" fmla="*/ 263816 w 20358094"/>
                <a:gd name="connsiteY74" fmla="*/ 5581150 h 6054551"/>
                <a:gd name="connsiteX75" fmla="*/ 404493 w 20358094"/>
                <a:gd name="connsiteY75" fmla="*/ 5534257 h 6054551"/>
                <a:gd name="connsiteX76" fmla="*/ 334154 w 20358094"/>
                <a:gd name="connsiteY76" fmla="*/ 5428750 h 6054551"/>
                <a:gd name="connsiteX77" fmla="*/ 240370 w 20358094"/>
                <a:gd name="connsiteY77" fmla="*/ 5030165 h 6054551"/>
                <a:gd name="connsiteX78" fmla="*/ 205201 w 20358094"/>
                <a:gd name="connsiteY78" fmla="*/ 4983273 h 6054551"/>
                <a:gd name="connsiteX79" fmla="*/ 76247 w 20358094"/>
                <a:gd name="connsiteY79" fmla="*/ 4971550 h 6054551"/>
                <a:gd name="connsiteX80" fmla="*/ 52801 w 20358094"/>
                <a:gd name="connsiteY80" fmla="*/ 4842596 h 6054551"/>
                <a:gd name="connsiteX81" fmla="*/ 5908 w 20358094"/>
                <a:gd name="connsiteY81" fmla="*/ 4385396 h 6054551"/>
                <a:gd name="connsiteX82" fmla="*/ 17631 w 20358094"/>
                <a:gd name="connsiteY82" fmla="*/ 4315057 h 6054551"/>
                <a:gd name="connsiteX83" fmla="*/ 158308 w 20358094"/>
                <a:gd name="connsiteY83" fmla="*/ 4279888 h 6054551"/>
                <a:gd name="connsiteX84" fmla="*/ 240370 w 20358094"/>
                <a:gd name="connsiteY84" fmla="*/ 4150934 h 6054551"/>
                <a:gd name="connsiteX85" fmla="*/ 205201 w 20358094"/>
                <a:gd name="connsiteY85" fmla="*/ 3963365 h 6054551"/>
                <a:gd name="connsiteX86" fmla="*/ 193477 w 20358094"/>
                <a:gd name="connsiteY86" fmla="*/ 3623396 h 6054551"/>
                <a:gd name="connsiteX87" fmla="*/ 357601 w 20358094"/>
                <a:gd name="connsiteY87" fmla="*/ 3283427 h 6054551"/>
                <a:gd name="connsiteX88" fmla="*/ 1154770 w 20358094"/>
                <a:gd name="connsiteY88" fmla="*/ 2861396 h 6054551"/>
                <a:gd name="connsiteX89" fmla="*/ 2104339 w 20358094"/>
                <a:gd name="connsiteY89" fmla="*/ 2626934 h 6054551"/>
                <a:gd name="connsiteX90" fmla="*/ 3780739 w 20358094"/>
                <a:gd name="connsiteY90" fmla="*/ 2333857 h 6054551"/>
                <a:gd name="connsiteX91" fmla="*/ 5199231 w 20358094"/>
                <a:gd name="connsiteY91" fmla="*/ 2169734 h 6054551"/>
                <a:gd name="connsiteX92" fmla="*/ 5574370 w 20358094"/>
                <a:gd name="connsiteY92" fmla="*/ 2146288 h 6054551"/>
                <a:gd name="connsiteX93" fmla="*/ 5726770 w 20358094"/>
                <a:gd name="connsiteY93" fmla="*/ 2158011 h 6054551"/>
                <a:gd name="connsiteX94" fmla="*/ 5937785 w 20358094"/>
                <a:gd name="connsiteY94" fmla="*/ 2251796 h 6054551"/>
                <a:gd name="connsiteX95" fmla="*/ 5996401 w 20358094"/>
                <a:gd name="connsiteY95" fmla="*/ 2228350 h 6054551"/>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51631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36308 w 20358094"/>
                <a:gd name="connsiteY50" fmla="*/ 4912934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48994 w 20358094"/>
                <a:gd name="connsiteY26" fmla="*/ 3648974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37785 w 20358094"/>
                <a:gd name="connsiteY0" fmla="*/ 2251796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144 h 6042876"/>
                <a:gd name="connsiteX1" fmla="*/ 6899077 w 20358094"/>
                <a:gd name="connsiteY1" fmla="*/ 1680159 h 6042876"/>
                <a:gd name="connsiteX2" fmla="*/ 8218989 w 20358094"/>
                <a:gd name="connsiteY2" fmla="*/ 929350 h 6042876"/>
                <a:gd name="connsiteX3" fmla="*/ 9032677 w 20358094"/>
                <a:gd name="connsiteY3" fmla="*/ 528634 h 6042876"/>
                <a:gd name="connsiteX4" fmla="*/ 9079570 w 20358094"/>
                <a:gd name="connsiteY4" fmla="*/ 470018 h 6042876"/>
                <a:gd name="connsiteX5" fmla="*/ 9220247 w 20358094"/>
                <a:gd name="connsiteY5" fmla="*/ 411403 h 6042876"/>
                <a:gd name="connsiteX6" fmla="*/ 10022627 w 20358094"/>
                <a:gd name="connsiteY6" fmla="*/ 209830 h 6042876"/>
                <a:gd name="connsiteX7" fmla="*/ 11365570 w 20358094"/>
                <a:gd name="connsiteY7" fmla="*/ 47987 h 6042876"/>
                <a:gd name="connsiteX8" fmla="*/ 12948185 w 20358094"/>
                <a:gd name="connsiteY8" fmla="*/ 1095 h 6042876"/>
                <a:gd name="connsiteX9" fmla="*/ 14565970 w 20358094"/>
                <a:gd name="connsiteY9" fmla="*/ 83157 h 6042876"/>
                <a:gd name="connsiteX10" fmla="*/ 16054801 w 20358094"/>
                <a:gd name="connsiteY10" fmla="*/ 165218 h 6042876"/>
                <a:gd name="connsiteX11" fmla="*/ 17496739 w 20358094"/>
                <a:gd name="connsiteY11" fmla="*/ 364511 h 6042876"/>
                <a:gd name="connsiteX12" fmla="*/ 18036001 w 20358094"/>
                <a:gd name="connsiteY12" fmla="*/ 470018 h 6042876"/>
                <a:gd name="connsiteX13" fmla="*/ 18352524 w 20358094"/>
                <a:gd name="connsiteY13" fmla="*/ 528634 h 6042876"/>
                <a:gd name="connsiteX14" fmla="*/ 18434585 w 20358094"/>
                <a:gd name="connsiteY14" fmla="*/ 575526 h 6042876"/>
                <a:gd name="connsiteX15" fmla="*/ 18469754 w 20358094"/>
                <a:gd name="connsiteY15" fmla="*/ 634141 h 6042876"/>
                <a:gd name="connsiteX16" fmla="*/ 18903508 w 20358094"/>
                <a:gd name="connsiteY16" fmla="*/ 1091341 h 6042876"/>
                <a:gd name="connsiteX17" fmla="*/ 19560001 w 20358094"/>
                <a:gd name="connsiteY17" fmla="*/ 1853341 h 6042876"/>
                <a:gd name="connsiteX18" fmla="*/ 19665508 w 20358094"/>
                <a:gd name="connsiteY18" fmla="*/ 1994018 h 6042876"/>
                <a:gd name="connsiteX19" fmla="*/ 19864801 w 20358094"/>
                <a:gd name="connsiteY19" fmla="*/ 2099526 h 6042876"/>
                <a:gd name="connsiteX20" fmla="*/ 19946862 w 20358094"/>
                <a:gd name="connsiteY20" fmla="*/ 2228480 h 6042876"/>
                <a:gd name="connsiteX21" fmla="*/ 19911693 w 20358094"/>
                <a:gd name="connsiteY21" fmla="*/ 2416049 h 6042876"/>
                <a:gd name="connsiteX22" fmla="*/ 19958052 w 20358094"/>
                <a:gd name="connsiteY22" fmla="*/ 2744828 h 6042876"/>
                <a:gd name="connsiteX23" fmla="*/ 19922884 w 20358094"/>
                <a:gd name="connsiteY23" fmla="*/ 3046963 h 6042876"/>
                <a:gd name="connsiteX24" fmla="*/ 19993754 w 20358094"/>
                <a:gd name="connsiteY24" fmla="*/ 3271834 h 6042876"/>
                <a:gd name="connsiteX25" fmla="*/ 19982031 w 20358094"/>
                <a:gd name="connsiteY25" fmla="*/ 3447680 h 6042876"/>
                <a:gd name="connsiteX26" fmla="*/ 19962849 w 20358094"/>
                <a:gd name="connsiteY26" fmla="*/ 3642177 h 6042876"/>
                <a:gd name="connsiteX27" fmla="*/ 20134431 w 20358094"/>
                <a:gd name="connsiteY27" fmla="*/ 3705587 h 6042876"/>
                <a:gd name="connsiteX28" fmla="*/ 20275108 w 20358094"/>
                <a:gd name="connsiteY28" fmla="*/ 3752480 h 6042876"/>
                <a:gd name="connsiteX29" fmla="*/ 20345447 w 20358094"/>
                <a:gd name="connsiteY29" fmla="*/ 3846264 h 6042876"/>
                <a:gd name="connsiteX30" fmla="*/ 20357170 w 20358094"/>
                <a:gd name="connsiteY30" fmla="*/ 4010387 h 6042876"/>
                <a:gd name="connsiteX31" fmla="*/ 20333725 w 20358094"/>
                <a:gd name="connsiteY31" fmla="*/ 4209680 h 6042876"/>
                <a:gd name="connsiteX32" fmla="*/ 20275108 w 20358094"/>
                <a:gd name="connsiteY32" fmla="*/ 4397249 h 6042876"/>
                <a:gd name="connsiteX33" fmla="*/ 20169601 w 20358094"/>
                <a:gd name="connsiteY33" fmla="*/ 4432418 h 6042876"/>
                <a:gd name="connsiteX34" fmla="*/ 20087539 w 20358094"/>
                <a:gd name="connsiteY34" fmla="*/ 4748941 h 6042876"/>
                <a:gd name="connsiteX35" fmla="*/ 20064093 w 20358094"/>
                <a:gd name="connsiteY35" fmla="*/ 5182695 h 6042876"/>
                <a:gd name="connsiteX36" fmla="*/ 20157877 w 20358094"/>
                <a:gd name="connsiteY36" fmla="*/ 5475772 h 6042876"/>
                <a:gd name="connsiteX37" fmla="*/ 20052370 w 20358094"/>
                <a:gd name="connsiteY37" fmla="*/ 5510941 h 6042876"/>
                <a:gd name="connsiteX38" fmla="*/ 19548277 w 20358094"/>
                <a:gd name="connsiteY38" fmla="*/ 5534387 h 6042876"/>
                <a:gd name="connsiteX39" fmla="*/ 19454493 w 20358094"/>
                <a:gd name="connsiteY39" fmla="*/ 5757126 h 6042876"/>
                <a:gd name="connsiteX40" fmla="*/ 19290370 w 20358094"/>
                <a:gd name="connsiteY40" fmla="*/ 5780572 h 6042876"/>
                <a:gd name="connsiteX41" fmla="*/ 18223570 w 20358094"/>
                <a:gd name="connsiteY41" fmla="*/ 5768849 h 6042876"/>
                <a:gd name="connsiteX42" fmla="*/ 18223570 w 20358094"/>
                <a:gd name="connsiteY42" fmla="*/ 5581280 h 6042876"/>
                <a:gd name="connsiteX43" fmla="*/ 18009890 w 20358094"/>
                <a:gd name="connsiteY43" fmla="*/ 4725495 h 6042876"/>
                <a:gd name="connsiteX44" fmla="*/ 17602247 w 20358094"/>
                <a:gd name="connsiteY44" fmla="*/ 4162787 h 6042876"/>
                <a:gd name="connsiteX45" fmla="*/ 17145047 w 20358094"/>
                <a:gd name="connsiteY45" fmla="*/ 3857987 h 6042876"/>
                <a:gd name="connsiteX46" fmla="*/ 16429939 w 20358094"/>
                <a:gd name="connsiteY46" fmla="*/ 3682141 h 6042876"/>
                <a:gd name="connsiteX47" fmla="*/ 15902401 w 20358094"/>
                <a:gd name="connsiteY47" fmla="*/ 3729034 h 6042876"/>
                <a:gd name="connsiteX48" fmla="*/ 15386585 w 20358094"/>
                <a:gd name="connsiteY48" fmla="*/ 3979481 h 6042876"/>
                <a:gd name="connsiteX49" fmla="*/ 14964554 w 20358094"/>
                <a:gd name="connsiteY49" fmla="*/ 4397249 h 6042876"/>
                <a:gd name="connsiteX50" fmla="*/ 14664550 w 20358094"/>
                <a:gd name="connsiteY50" fmla="*/ 4936510 h 6042876"/>
                <a:gd name="connsiteX51" fmla="*/ 14542524 w 20358094"/>
                <a:gd name="connsiteY51" fmla="*/ 5393711 h 6042876"/>
                <a:gd name="connsiteX52" fmla="*/ 14542524 w 20358094"/>
                <a:gd name="connsiteY52" fmla="*/ 5768849 h 6042876"/>
                <a:gd name="connsiteX53" fmla="*/ 14554247 w 20358094"/>
                <a:gd name="connsiteY53" fmla="*/ 5991587 h 6042876"/>
                <a:gd name="connsiteX54" fmla="*/ 14472185 w 20358094"/>
                <a:gd name="connsiteY54" fmla="*/ 6015034 h 6042876"/>
                <a:gd name="connsiteX55" fmla="*/ 14073601 w 20358094"/>
                <a:gd name="connsiteY55" fmla="*/ 6015034 h 6042876"/>
                <a:gd name="connsiteX56" fmla="*/ 11693816 w 20358094"/>
                <a:gd name="connsiteY56" fmla="*/ 6038480 h 6042876"/>
                <a:gd name="connsiteX57" fmla="*/ 7121816 w 20358094"/>
                <a:gd name="connsiteY57" fmla="*/ 6038480 h 6042876"/>
                <a:gd name="connsiteX58" fmla="*/ 5328185 w 20358094"/>
                <a:gd name="connsiteY58" fmla="*/ 6003311 h 6042876"/>
                <a:gd name="connsiteX59" fmla="*/ 5351631 w 20358094"/>
                <a:gd name="connsiteY59" fmla="*/ 5510941 h 6042876"/>
                <a:gd name="connsiteX60" fmla="*/ 5187508 w 20358094"/>
                <a:gd name="connsiteY60" fmla="*/ 4678603 h 6042876"/>
                <a:gd name="connsiteX61" fmla="*/ 4613077 w 20358094"/>
                <a:gd name="connsiteY61" fmla="*/ 3940050 h 6042876"/>
                <a:gd name="connsiteX62" fmla="*/ 3804185 w 20358094"/>
                <a:gd name="connsiteY62" fmla="*/ 3635249 h 6042876"/>
                <a:gd name="connsiteX63" fmla="*/ 3077355 w 20358094"/>
                <a:gd name="connsiteY63" fmla="*/ 3693864 h 6042876"/>
                <a:gd name="connsiteX64" fmla="*/ 2479477 w 20358094"/>
                <a:gd name="connsiteY64" fmla="*/ 3998664 h 6042876"/>
                <a:gd name="connsiteX65" fmla="*/ 1987108 w 20358094"/>
                <a:gd name="connsiteY65" fmla="*/ 4584818 h 6042876"/>
                <a:gd name="connsiteX66" fmla="*/ 1799539 w 20358094"/>
                <a:gd name="connsiteY66" fmla="*/ 5159249 h 6042876"/>
                <a:gd name="connsiteX67" fmla="*/ 1787816 w 20358094"/>
                <a:gd name="connsiteY67" fmla="*/ 5745403 h 6042876"/>
                <a:gd name="connsiteX68" fmla="*/ 1776093 w 20358094"/>
                <a:gd name="connsiteY68" fmla="*/ 5944695 h 6042876"/>
                <a:gd name="connsiteX69" fmla="*/ 1647139 w 20358094"/>
                <a:gd name="connsiteY69" fmla="*/ 5956418 h 6042876"/>
                <a:gd name="connsiteX70" fmla="*/ 709293 w 20358094"/>
                <a:gd name="connsiteY70" fmla="*/ 5932972 h 6042876"/>
                <a:gd name="connsiteX71" fmla="*/ 556893 w 20358094"/>
                <a:gd name="connsiteY71" fmla="*/ 5909526 h 6042876"/>
                <a:gd name="connsiteX72" fmla="*/ 474831 w 20358094"/>
                <a:gd name="connsiteY72" fmla="*/ 5804018 h 6042876"/>
                <a:gd name="connsiteX73" fmla="*/ 404493 w 20358094"/>
                <a:gd name="connsiteY73" fmla="*/ 5745403 h 6042876"/>
                <a:gd name="connsiteX74" fmla="*/ 263816 w 20358094"/>
                <a:gd name="connsiteY74" fmla="*/ 5581280 h 6042876"/>
                <a:gd name="connsiteX75" fmla="*/ 404493 w 20358094"/>
                <a:gd name="connsiteY75" fmla="*/ 5534387 h 6042876"/>
                <a:gd name="connsiteX76" fmla="*/ 334154 w 20358094"/>
                <a:gd name="connsiteY76" fmla="*/ 5428880 h 6042876"/>
                <a:gd name="connsiteX77" fmla="*/ 240370 w 20358094"/>
                <a:gd name="connsiteY77" fmla="*/ 5030295 h 6042876"/>
                <a:gd name="connsiteX78" fmla="*/ 205201 w 20358094"/>
                <a:gd name="connsiteY78" fmla="*/ 4983403 h 6042876"/>
                <a:gd name="connsiteX79" fmla="*/ 76247 w 20358094"/>
                <a:gd name="connsiteY79" fmla="*/ 4971680 h 6042876"/>
                <a:gd name="connsiteX80" fmla="*/ 52801 w 20358094"/>
                <a:gd name="connsiteY80" fmla="*/ 4842726 h 6042876"/>
                <a:gd name="connsiteX81" fmla="*/ 5908 w 20358094"/>
                <a:gd name="connsiteY81" fmla="*/ 4385526 h 6042876"/>
                <a:gd name="connsiteX82" fmla="*/ 17631 w 20358094"/>
                <a:gd name="connsiteY82" fmla="*/ 4315187 h 6042876"/>
                <a:gd name="connsiteX83" fmla="*/ 158308 w 20358094"/>
                <a:gd name="connsiteY83" fmla="*/ 4280018 h 6042876"/>
                <a:gd name="connsiteX84" fmla="*/ 240370 w 20358094"/>
                <a:gd name="connsiteY84" fmla="*/ 4151064 h 6042876"/>
                <a:gd name="connsiteX85" fmla="*/ 205201 w 20358094"/>
                <a:gd name="connsiteY85" fmla="*/ 3963495 h 6042876"/>
                <a:gd name="connsiteX86" fmla="*/ 193477 w 20358094"/>
                <a:gd name="connsiteY86" fmla="*/ 3623526 h 6042876"/>
                <a:gd name="connsiteX87" fmla="*/ 357601 w 20358094"/>
                <a:gd name="connsiteY87" fmla="*/ 3283557 h 6042876"/>
                <a:gd name="connsiteX88" fmla="*/ 1154770 w 20358094"/>
                <a:gd name="connsiteY88" fmla="*/ 2861526 h 6042876"/>
                <a:gd name="connsiteX89" fmla="*/ 2104339 w 20358094"/>
                <a:gd name="connsiteY89" fmla="*/ 2627064 h 6042876"/>
                <a:gd name="connsiteX90" fmla="*/ 3780739 w 20358094"/>
                <a:gd name="connsiteY90" fmla="*/ 2333987 h 6042876"/>
                <a:gd name="connsiteX91" fmla="*/ 5199231 w 20358094"/>
                <a:gd name="connsiteY91" fmla="*/ 2169864 h 6042876"/>
                <a:gd name="connsiteX92" fmla="*/ 5574370 w 20358094"/>
                <a:gd name="connsiteY92" fmla="*/ 2146418 h 6042876"/>
                <a:gd name="connsiteX93" fmla="*/ 5726770 w 20358094"/>
                <a:gd name="connsiteY93" fmla="*/ 2158141 h 6042876"/>
                <a:gd name="connsiteX94" fmla="*/ 5972421 w 20358094"/>
                <a:gd name="connsiteY94" fmla="*/ 2231144 h 6042876"/>
                <a:gd name="connsiteX0" fmla="*/ 5972421 w 20358094"/>
                <a:gd name="connsiteY0" fmla="*/ 2219181 h 6030913"/>
                <a:gd name="connsiteX1" fmla="*/ 6899077 w 20358094"/>
                <a:gd name="connsiteY1" fmla="*/ 1668196 h 6030913"/>
                <a:gd name="connsiteX2" fmla="*/ 8218989 w 20358094"/>
                <a:gd name="connsiteY2" fmla="*/ 917387 h 6030913"/>
                <a:gd name="connsiteX3" fmla="*/ 9032677 w 20358094"/>
                <a:gd name="connsiteY3" fmla="*/ 516671 h 6030913"/>
                <a:gd name="connsiteX4" fmla="*/ 9079570 w 20358094"/>
                <a:gd name="connsiteY4" fmla="*/ 458055 h 6030913"/>
                <a:gd name="connsiteX5" fmla="*/ 9220247 w 20358094"/>
                <a:gd name="connsiteY5" fmla="*/ 399440 h 6030913"/>
                <a:gd name="connsiteX6" fmla="*/ 10022627 w 20358094"/>
                <a:gd name="connsiteY6" fmla="*/ 197867 h 6030913"/>
                <a:gd name="connsiteX7" fmla="*/ 11365570 w 20358094"/>
                <a:gd name="connsiteY7" fmla="*/ 36024 h 6030913"/>
                <a:gd name="connsiteX8" fmla="*/ 12943952 w 20358094"/>
                <a:gd name="connsiteY8" fmla="*/ 1832 h 6030913"/>
                <a:gd name="connsiteX9" fmla="*/ 14565970 w 20358094"/>
                <a:gd name="connsiteY9" fmla="*/ 71194 h 6030913"/>
                <a:gd name="connsiteX10" fmla="*/ 16054801 w 20358094"/>
                <a:gd name="connsiteY10" fmla="*/ 153255 h 6030913"/>
                <a:gd name="connsiteX11" fmla="*/ 17496739 w 20358094"/>
                <a:gd name="connsiteY11" fmla="*/ 352548 h 6030913"/>
                <a:gd name="connsiteX12" fmla="*/ 18036001 w 20358094"/>
                <a:gd name="connsiteY12" fmla="*/ 458055 h 6030913"/>
                <a:gd name="connsiteX13" fmla="*/ 18352524 w 20358094"/>
                <a:gd name="connsiteY13" fmla="*/ 516671 h 6030913"/>
                <a:gd name="connsiteX14" fmla="*/ 18434585 w 20358094"/>
                <a:gd name="connsiteY14" fmla="*/ 563563 h 6030913"/>
                <a:gd name="connsiteX15" fmla="*/ 18469754 w 20358094"/>
                <a:gd name="connsiteY15" fmla="*/ 622178 h 6030913"/>
                <a:gd name="connsiteX16" fmla="*/ 18903508 w 20358094"/>
                <a:gd name="connsiteY16" fmla="*/ 1079378 h 6030913"/>
                <a:gd name="connsiteX17" fmla="*/ 19560001 w 20358094"/>
                <a:gd name="connsiteY17" fmla="*/ 1841378 h 6030913"/>
                <a:gd name="connsiteX18" fmla="*/ 19665508 w 20358094"/>
                <a:gd name="connsiteY18" fmla="*/ 1982055 h 6030913"/>
                <a:gd name="connsiteX19" fmla="*/ 19864801 w 20358094"/>
                <a:gd name="connsiteY19" fmla="*/ 2087563 h 6030913"/>
                <a:gd name="connsiteX20" fmla="*/ 19946862 w 20358094"/>
                <a:gd name="connsiteY20" fmla="*/ 2216517 h 6030913"/>
                <a:gd name="connsiteX21" fmla="*/ 19911693 w 20358094"/>
                <a:gd name="connsiteY21" fmla="*/ 2404086 h 6030913"/>
                <a:gd name="connsiteX22" fmla="*/ 19958052 w 20358094"/>
                <a:gd name="connsiteY22" fmla="*/ 2732865 h 6030913"/>
                <a:gd name="connsiteX23" fmla="*/ 19922884 w 20358094"/>
                <a:gd name="connsiteY23" fmla="*/ 3035000 h 6030913"/>
                <a:gd name="connsiteX24" fmla="*/ 19993754 w 20358094"/>
                <a:gd name="connsiteY24" fmla="*/ 3259871 h 6030913"/>
                <a:gd name="connsiteX25" fmla="*/ 19982031 w 20358094"/>
                <a:gd name="connsiteY25" fmla="*/ 3435717 h 6030913"/>
                <a:gd name="connsiteX26" fmla="*/ 19962849 w 20358094"/>
                <a:gd name="connsiteY26" fmla="*/ 3630214 h 6030913"/>
                <a:gd name="connsiteX27" fmla="*/ 20134431 w 20358094"/>
                <a:gd name="connsiteY27" fmla="*/ 3693624 h 6030913"/>
                <a:gd name="connsiteX28" fmla="*/ 20275108 w 20358094"/>
                <a:gd name="connsiteY28" fmla="*/ 3740517 h 6030913"/>
                <a:gd name="connsiteX29" fmla="*/ 20345447 w 20358094"/>
                <a:gd name="connsiteY29" fmla="*/ 3834301 h 6030913"/>
                <a:gd name="connsiteX30" fmla="*/ 20357170 w 20358094"/>
                <a:gd name="connsiteY30" fmla="*/ 3998424 h 6030913"/>
                <a:gd name="connsiteX31" fmla="*/ 20333725 w 20358094"/>
                <a:gd name="connsiteY31" fmla="*/ 4197717 h 6030913"/>
                <a:gd name="connsiteX32" fmla="*/ 20275108 w 20358094"/>
                <a:gd name="connsiteY32" fmla="*/ 4385286 h 6030913"/>
                <a:gd name="connsiteX33" fmla="*/ 20169601 w 20358094"/>
                <a:gd name="connsiteY33" fmla="*/ 4420455 h 6030913"/>
                <a:gd name="connsiteX34" fmla="*/ 20087539 w 20358094"/>
                <a:gd name="connsiteY34" fmla="*/ 4736978 h 6030913"/>
                <a:gd name="connsiteX35" fmla="*/ 20064093 w 20358094"/>
                <a:gd name="connsiteY35" fmla="*/ 5170732 h 6030913"/>
                <a:gd name="connsiteX36" fmla="*/ 20157877 w 20358094"/>
                <a:gd name="connsiteY36" fmla="*/ 5463809 h 6030913"/>
                <a:gd name="connsiteX37" fmla="*/ 20052370 w 20358094"/>
                <a:gd name="connsiteY37" fmla="*/ 5498978 h 6030913"/>
                <a:gd name="connsiteX38" fmla="*/ 19548277 w 20358094"/>
                <a:gd name="connsiteY38" fmla="*/ 5522424 h 6030913"/>
                <a:gd name="connsiteX39" fmla="*/ 19454493 w 20358094"/>
                <a:gd name="connsiteY39" fmla="*/ 5745163 h 6030913"/>
                <a:gd name="connsiteX40" fmla="*/ 19290370 w 20358094"/>
                <a:gd name="connsiteY40" fmla="*/ 5768609 h 6030913"/>
                <a:gd name="connsiteX41" fmla="*/ 18223570 w 20358094"/>
                <a:gd name="connsiteY41" fmla="*/ 5756886 h 6030913"/>
                <a:gd name="connsiteX42" fmla="*/ 18223570 w 20358094"/>
                <a:gd name="connsiteY42" fmla="*/ 5569317 h 6030913"/>
                <a:gd name="connsiteX43" fmla="*/ 18009890 w 20358094"/>
                <a:gd name="connsiteY43" fmla="*/ 4713532 h 6030913"/>
                <a:gd name="connsiteX44" fmla="*/ 17602247 w 20358094"/>
                <a:gd name="connsiteY44" fmla="*/ 4150824 h 6030913"/>
                <a:gd name="connsiteX45" fmla="*/ 17145047 w 20358094"/>
                <a:gd name="connsiteY45" fmla="*/ 3846024 h 6030913"/>
                <a:gd name="connsiteX46" fmla="*/ 16429939 w 20358094"/>
                <a:gd name="connsiteY46" fmla="*/ 3670178 h 6030913"/>
                <a:gd name="connsiteX47" fmla="*/ 15902401 w 20358094"/>
                <a:gd name="connsiteY47" fmla="*/ 3717071 h 6030913"/>
                <a:gd name="connsiteX48" fmla="*/ 15386585 w 20358094"/>
                <a:gd name="connsiteY48" fmla="*/ 3967518 h 6030913"/>
                <a:gd name="connsiteX49" fmla="*/ 14964554 w 20358094"/>
                <a:gd name="connsiteY49" fmla="*/ 4385286 h 6030913"/>
                <a:gd name="connsiteX50" fmla="*/ 14664550 w 20358094"/>
                <a:gd name="connsiteY50" fmla="*/ 4924547 h 6030913"/>
                <a:gd name="connsiteX51" fmla="*/ 14542524 w 20358094"/>
                <a:gd name="connsiteY51" fmla="*/ 5381748 h 6030913"/>
                <a:gd name="connsiteX52" fmla="*/ 14542524 w 20358094"/>
                <a:gd name="connsiteY52" fmla="*/ 5756886 h 6030913"/>
                <a:gd name="connsiteX53" fmla="*/ 14554247 w 20358094"/>
                <a:gd name="connsiteY53" fmla="*/ 5979624 h 6030913"/>
                <a:gd name="connsiteX54" fmla="*/ 14472185 w 20358094"/>
                <a:gd name="connsiteY54" fmla="*/ 6003071 h 6030913"/>
                <a:gd name="connsiteX55" fmla="*/ 14073601 w 20358094"/>
                <a:gd name="connsiteY55" fmla="*/ 6003071 h 6030913"/>
                <a:gd name="connsiteX56" fmla="*/ 11693816 w 20358094"/>
                <a:gd name="connsiteY56" fmla="*/ 6026517 h 6030913"/>
                <a:gd name="connsiteX57" fmla="*/ 7121816 w 20358094"/>
                <a:gd name="connsiteY57" fmla="*/ 6026517 h 6030913"/>
                <a:gd name="connsiteX58" fmla="*/ 5328185 w 20358094"/>
                <a:gd name="connsiteY58" fmla="*/ 5991348 h 6030913"/>
                <a:gd name="connsiteX59" fmla="*/ 5351631 w 20358094"/>
                <a:gd name="connsiteY59" fmla="*/ 5498978 h 6030913"/>
                <a:gd name="connsiteX60" fmla="*/ 5187508 w 20358094"/>
                <a:gd name="connsiteY60" fmla="*/ 4666640 h 6030913"/>
                <a:gd name="connsiteX61" fmla="*/ 4613077 w 20358094"/>
                <a:gd name="connsiteY61" fmla="*/ 3928087 h 6030913"/>
                <a:gd name="connsiteX62" fmla="*/ 3804185 w 20358094"/>
                <a:gd name="connsiteY62" fmla="*/ 3623286 h 6030913"/>
                <a:gd name="connsiteX63" fmla="*/ 3077355 w 20358094"/>
                <a:gd name="connsiteY63" fmla="*/ 3681901 h 6030913"/>
                <a:gd name="connsiteX64" fmla="*/ 2479477 w 20358094"/>
                <a:gd name="connsiteY64" fmla="*/ 3986701 h 6030913"/>
                <a:gd name="connsiteX65" fmla="*/ 1987108 w 20358094"/>
                <a:gd name="connsiteY65" fmla="*/ 4572855 h 6030913"/>
                <a:gd name="connsiteX66" fmla="*/ 1799539 w 20358094"/>
                <a:gd name="connsiteY66" fmla="*/ 5147286 h 6030913"/>
                <a:gd name="connsiteX67" fmla="*/ 1787816 w 20358094"/>
                <a:gd name="connsiteY67" fmla="*/ 5733440 h 6030913"/>
                <a:gd name="connsiteX68" fmla="*/ 1776093 w 20358094"/>
                <a:gd name="connsiteY68" fmla="*/ 5932732 h 6030913"/>
                <a:gd name="connsiteX69" fmla="*/ 1647139 w 20358094"/>
                <a:gd name="connsiteY69" fmla="*/ 5944455 h 6030913"/>
                <a:gd name="connsiteX70" fmla="*/ 709293 w 20358094"/>
                <a:gd name="connsiteY70" fmla="*/ 5921009 h 6030913"/>
                <a:gd name="connsiteX71" fmla="*/ 556893 w 20358094"/>
                <a:gd name="connsiteY71" fmla="*/ 5897563 h 6030913"/>
                <a:gd name="connsiteX72" fmla="*/ 474831 w 20358094"/>
                <a:gd name="connsiteY72" fmla="*/ 5792055 h 6030913"/>
                <a:gd name="connsiteX73" fmla="*/ 404493 w 20358094"/>
                <a:gd name="connsiteY73" fmla="*/ 5733440 h 6030913"/>
                <a:gd name="connsiteX74" fmla="*/ 263816 w 20358094"/>
                <a:gd name="connsiteY74" fmla="*/ 5569317 h 6030913"/>
                <a:gd name="connsiteX75" fmla="*/ 404493 w 20358094"/>
                <a:gd name="connsiteY75" fmla="*/ 5522424 h 6030913"/>
                <a:gd name="connsiteX76" fmla="*/ 334154 w 20358094"/>
                <a:gd name="connsiteY76" fmla="*/ 5416917 h 6030913"/>
                <a:gd name="connsiteX77" fmla="*/ 240370 w 20358094"/>
                <a:gd name="connsiteY77" fmla="*/ 5018332 h 6030913"/>
                <a:gd name="connsiteX78" fmla="*/ 205201 w 20358094"/>
                <a:gd name="connsiteY78" fmla="*/ 4971440 h 6030913"/>
                <a:gd name="connsiteX79" fmla="*/ 76247 w 20358094"/>
                <a:gd name="connsiteY79" fmla="*/ 4959717 h 6030913"/>
                <a:gd name="connsiteX80" fmla="*/ 52801 w 20358094"/>
                <a:gd name="connsiteY80" fmla="*/ 4830763 h 6030913"/>
                <a:gd name="connsiteX81" fmla="*/ 5908 w 20358094"/>
                <a:gd name="connsiteY81" fmla="*/ 4373563 h 6030913"/>
                <a:gd name="connsiteX82" fmla="*/ 17631 w 20358094"/>
                <a:gd name="connsiteY82" fmla="*/ 4303224 h 6030913"/>
                <a:gd name="connsiteX83" fmla="*/ 158308 w 20358094"/>
                <a:gd name="connsiteY83" fmla="*/ 4268055 h 6030913"/>
                <a:gd name="connsiteX84" fmla="*/ 240370 w 20358094"/>
                <a:gd name="connsiteY84" fmla="*/ 4139101 h 6030913"/>
                <a:gd name="connsiteX85" fmla="*/ 205201 w 20358094"/>
                <a:gd name="connsiteY85" fmla="*/ 3951532 h 6030913"/>
                <a:gd name="connsiteX86" fmla="*/ 193477 w 20358094"/>
                <a:gd name="connsiteY86" fmla="*/ 3611563 h 6030913"/>
                <a:gd name="connsiteX87" fmla="*/ 357601 w 20358094"/>
                <a:gd name="connsiteY87" fmla="*/ 3271594 h 6030913"/>
                <a:gd name="connsiteX88" fmla="*/ 1154770 w 20358094"/>
                <a:gd name="connsiteY88" fmla="*/ 2849563 h 6030913"/>
                <a:gd name="connsiteX89" fmla="*/ 2104339 w 20358094"/>
                <a:gd name="connsiteY89" fmla="*/ 2615101 h 6030913"/>
                <a:gd name="connsiteX90" fmla="*/ 3780739 w 20358094"/>
                <a:gd name="connsiteY90" fmla="*/ 2322024 h 6030913"/>
                <a:gd name="connsiteX91" fmla="*/ 5199231 w 20358094"/>
                <a:gd name="connsiteY91" fmla="*/ 2157901 h 6030913"/>
                <a:gd name="connsiteX92" fmla="*/ 5574370 w 20358094"/>
                <a:gd name="connsiteY92" fmla="*/ 2134455 h 6030913"/>
                <a:gd name="connsiteX93" fmla="*/ 5726770 w 20358094"/>
                <a:gd name="connsiteY93" fmla="*/ 2146178 h 6030913"/>
                <a:gd name="connsiteX94" fmla="*/ 5972421 w 20358094"/>
                <a:gd name="connsiteY94" fmla="*/ 2219181 h 603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0358094" h="6030913">
                  <a:moveTo>
                    <a:pt x="5972421" y="2219181"/>
                  </a:moveTo>
                  <a:cubicBezTo>
                    <a:pt x="6043114" y="2181081"/>
                    <a:pt x="6524649" y="1885162"/>
                    <a:pt x="6899077" y="1668196"/>
                  </a:cubicBezTo>
                  <a:cubicBezTo>
                    <a:pt x="7273505" y="1451230"/>
                    <a:pt x="7863389" y="1109308"/>
                    <a:pt x="8218989" y="917387"/>
                  </a:cubicBezTo>
                  <a:cubicBezTo>
                    <a:pt x="8574589" y="725466"/>
                    <a:pt x="8889247" y="593226"/>
                    <a:pt x="9032677" y="516671"/>
                  </a:cubicBezTo>
                  <a:cubicBezTo>
                    <a:pt x="9176107" y="440116"/>
                    <a:pt x="9048308" y="477593"/>
                    <a:pt x="9079570" y="458055"/>
                  </a:cubicBezTo>
                  <a:cubicBezTo>
                    <a:pt x="9110832" y="438516"/>
                    <a:pt x="9063071" y="442805"/>
                    <a:pt x="9220247" y="399440"/>
                  </a:cubicBezTo>
                  <a:cubicBezTo>
                    <a:pt x="9377423" y="356075"/>
                    <a:pt x="9665073" y="258436"/>
                    <a:pt x="10022627" y="197867"/>
                  </a:cubicBezTo>
                  <a:cubicBezTo>
                    <a:pt x="10380181" y="137298"/>
                    <a:pt x="10878683" y="68696"/>
                    <a:pt x="11365570" y="36024"/>
                  </a:cubicBezTo>
                  <a:cubicBezTo>
                    <a:pt x="11852457" y="3352"/>
                    <a:pt x="12410552" y="-4030"/>
                    <a:pt x="12943952" y="1832"/>
                  </a:cubicBezTo>
                  <a:cubicBezTo>
                    <a:pt x="13477352" y="7694"/>
                    <a:pt x="14047495" y="45957"/>
                    <a:pt x="14565970" y="71194"/>
                  </a:cubicBezTo>
                  <a:cubicBezTo>
                    <a:pt x="15084445" y="96431"/>
                    <a:pt x="15566340" y="106363"/>
                    <a:pt x="16054801" y="153255"/>
                  </a:cubicBezTo>
                  <a:cubicBezTo>
                    <a:pt x="16543262" y="200147"/>
                    <a:pt x="17166539" y="301748"/>
                    <a:pt x="17496739" y="352548"/>
                  </a:cubicBezTo>
                  <a:cubicBezTo>
                    <a:pt x="17826939" y="403348"/>
                    <a:pt x="17893370" y="430701"/>
                    <a:pt x="18036001" y="458055"/>
                  </a:cubicBezTo>
                  <a:cubicBezTo>
                    <a:pt x="18178632" y="485409"/>
                    <a:pt x="18286093" y="499086"/>
                    <a:pt x="18352524" y="516671"/>
                  </a:cubicBezTo>
                  <a:cubicBezTo>
                    <a:pt x="18418955" y="534256"/>
                    <a:pt x="18415047" y="545978"/>
                    <a:pt x="18434585" y="563563"/>
                  </a:cubicBezTo>
                  <a:cubicBezTo>
                    <a:pt x="18454123" y="581147"/>
                    <a:pt x="18391600" y="536209"/>
                    <a:pt x="18469754" y="622178"/>
                  </a:cubicBezTo>
                  <a:cubicBezTo>
                    <a:pt x="18547908" y="708147"/>
                    <a:pt x="18721800" y="876178"/>
                    <a:pt x="18903508" y="1079378"/>
                  </a:cubicBezTo>
                  <a:cubicBezTo>
                    <a:pt x="19085216" y="1282578"/>
                    <a:pt x="19433001" y="1690932"/>
                    <a:pt x="19560001" y="1841378"/>
                  </a:cubicBezTo>
                  <a:cubicBezTo>
                    <a:pt x="19687001" y="1991824"/>
                    <a:pt x="19614708" y="1941024"/>
                    <a:pt x="19665508" y="1982055"/>
                  </a:cubicBezTo>
                  <a:cubicBezTo>
                    <a:pt x="19716308" y="2023086"/>
                    <a:pt x="19817909" y="2048486"/>
                    <a:pt x="19864801" y="2087563"/>
                  </a:cubicBezTo>
                  <a:cubicBezTo>
                    <a:pt x="19911693" y="2126640"/>
                    <a:pt x="19939047" y="2163763"/>
                    <a:pt x="19946862" y="2216517"/>
                  </a:cubicBezTo>
                  <a:cubicBezTo>
                    <a:pt x="19954677" y="2269271"/>
                    <a:pt x="19909828" y="2318028"/>
                    <a:pt x="19911693" y="2404086"/>
                  </a:cubicBezTo>
                  <a:cubicBezTo>
                    <a:pt x="19913558" y="2490144"/>
                    <a:pt x="19956187" y="2627713"/>
                    <a:pt x="19958052" y="2732865"/>
                  </a:cubicBezTo>
                  <a:cubicBezTo>
                    <a:pt x="19959917" y="2838017"/>
                    <a:pt x="19916934" y="2947166"/>
                    <a:pt x="19922884" y="3035000"/>
                  </a:cubicBezTo>
                  <a:cubicBezTo>
                    <a:pt x="19928834" y="3122834"/>
                    <a:pt x="19983896" y="3193085"/>
                    <a:pt x="19993754" y="3259871"/>
                  </a:cubicBezTo>
                  <a:cubicBezTo>
                    <a:pt x="20003612" y="3326657"/>
                    <a:pt x="19987182" y="3373993"/>
                    <a:pt x="19982031" y="3435717"/>
                  </a:cubicBezTo>
                  <a:cubicBezTo>
                    <a:pt x="19976880" y="3497441"/>
                    <a:pt x="19965157" y="3587230"/>
                    <a:pt x="19962849" y="3630214"/>
                  </a:cubicBezTo>
                  <a:cubicBezTo>
                    <a:pt x="19960541" y="3673198"/>
                    <a:pt x="20082388" y="3675240"/>
                    <a:pt x="20134431" y="3693624"/>
                  </a:cubicBezTo>
                  <a:cubicBezTo>
                    <a:pt x="20186474" y="3712008"/>
                    <a:pt x="20239939" y="3717071"/>
                    <a:pt x="20275108" y="3740517"/>
                  </a:cubicBezTo>
                  <a:cubicBezTo>
                    <a:pt x="20310277" y="3763963"/>
                    <a:pt x="20331770" y="3791317"/>
                    <a:pt x="20345447" y="3834301"/>
                  </a:cubicBezTo>
                  <a:cubicBezTo>
                    <a:pt x="20359124" y="3877285"/>
                    <a:pt x="20359124" y="3937855"/>
                    <a:pt x="20357170" y="3998424"/>
                  </a:cubicBezTo>
                  <a:cubicBezTo>
                    <a:pt x="20355216" y="4058993"/>
                    <a:pt x="20347402" y="4133240"/>
                    <a:pt x="20333725" y="4197717"/>
                  </a:cubicBezTo>
                  <a:cubicBezTo>
                    <a:pt x="20320048" y="4262194"/>
                    <a:pt x="20302462" y="4348163"/>
                    <a:pt x="20275108" y="4385286"/>
                  </a:cubicBezTo>
                  <a:cubicBezTo>
                    <a:pt x="20247754" y="4422409"/>
                    <a:pt x="20200863" y="4361840"/>
                    <a:pt x="20169601" y="4420455"/>
                  </a:cubicBezTo>
                  <a:cubicBezTo>
                    <a:pt x="20138340" y="4479070"/>
                    <a:pt x="20091271" y="4653496"/>
                    <a:pt x="20087539" y="4736978"/>
                  </a:cubicBezTo>
                  <a:cubicBezTo>
                    <a:pt x="20083807" y="4820460"/>
                    <a:pt x="20093933" y="5063448"/>
                    <a:pt x="20064093" y="5170732"/>
                  </a:cubicBezTo>
                  <a:cubicBezTo>
                    <a:pt x="20034253" y="5278016"/>
                    <a:pt x="20159831" y="5409101"/>
                    <a:pt x="20157877" y="5463809"/>
                  </a:cubicBezTo>
                  <a:cubicBezTo>
                    <a:pt x="20155923" y="5518517"/>
                    <a:pt x="20153970" y="5489209"/>
                    <a:pt x="20052370" y="5498978"/>
                  </a:cubicBezTo>
                  <a:cubicBezTo>
                    <a:pt x="19950770" y="5508747"/>
                    <a:pt x="19647923" y="5481393"/>
                    <a:pt x="19548277" y="5522424"/>
                  </a:cubicBezTo>
                  <a:cubicBezTo>
                    <a:pt x="19448631" y="5563455"/>
                    <a:pt x="19497477" y="5704132"/>
                    <a:pt x="19454493" y="5745163"/>
                  </a:cubicBezTo>
                  <a:cubicBezTo>
                    <a:pt x="19411509" y="5786194"/>
                    <a:pt x="19290370" y="5768609"/>
                    <a:pt x="19290370" y="5768609"/>
                  </a:cubicBezTo>
                  <a:cubicBezTo>
                    <a:pt x="19085216" y="5770563"/>
                    <a:pt x="18401370" y="5790101"/>
                    <a:pt x="18223570" y="5756886"/>
                  </a:cubicBezTo>
                  <a:cubicBezTo>
                    <a:pt x="18045770" y="5723671"/>
                    <a:pt x="18238402" y="5777846"/>
                    <a:pt x="18223570" y="5569317"/>
                  </a:cubicBezTo>
                  <a:cubicBezTo>
                    <a:pt x="18208738" y="5360788"/>
                    <a:pt x="18113444" y="4949948"/>
                    <a:pt x="18009890" y="4713532"/>
                  </a:cubicBezTo>
                  <a:cubicBezTo>
                    <a:pt x="17906336" y="4477117"/>
                    <a:pt x="17746387" y="4295409"/>
                    <a:pt x="17602247" y="4150824"/>
                  </a:cubicBezTo>
                  <a:cubicBezTo>
                    <a:pt x="17458107" y="4006239"/>
                    <a:pt x="17326578" y="3933059"/>
                    <a:pt x="17145047" y="3846024"/>
                  </a:cubicBezTo>
                  <a:cubicBezTo>
                    <a:pt x="16963516" y="3758989"/>
                    <a:pt x="16637047" y="3670889"/>
                    <a:pt x="16429939" y="3670178"/>
                  </a:cubicBezTo>
                  <a:cubicBezTo>
                    <a:pt x="16222831" y="3669467"/>
                    <a:pt x="16076293" y="3667514"/>
                    <a:pt x="15902401" y="3717071"/>
                  </a:cubicBezTo>
                  <a:cubicBezTo>
                    <a:pt x="15728509" y="3766628"/>
                    <a:pt x="15542893" y="3856149"/>
                    <a:pt x="15386585" y="3967518"/>
                  </a:cubicBezTo>
                  <a:cubicBezTo>
                    <a:pt x="15230277" y="4078887"/>
                    <a:pt x="15084893" y="4225781"/>
                    <a:pt x="14964554" y="4385286"/>
                  </a:cubicBezTo>
                  <a:cubicBezTo>
                    <a:pt x="14844215" y="4544791"/>
                    <a:pt x="14727961" y="4744615"/>
                    <a:pt x="14664550" y="4924547"/>
                  </a:cubicBezTo>
                  <a:cubicBezTo>
                    <a:pt x="14601139" y="5104479"/>
                    <a:pt x="14562862" y="5243025"/>
                    <a:pt x="14542524" y="5381748"/>
                  </a:cubicBezTo>
                  <a:cubicBezTo>
                    <a:pt x="14522186" y="5520471"/>
                    <a:pt x="14540570" y="5657240"/>
                    <a:pt x="14542524" y="5756886"/>
                  </a:cubicBezTo>
                  <a:cubicBezTo>
                    <a:pt x="14544478" y="5856532"/>
                    <a:pt x="14565970" y="5938593"/>
                    <a:pt x="14554247" y="5979624"/>
                  </a:cubicBezTo>
                  <a:cubicBezTo>
                    <a:pt x="14542524" y="6020655"/>
                    <a:pt x="14552293" y="5999163"/>
                    <a:pt x="14472185" y="6003071"/>
                  </a:cubicBezTo>
                  <a:cubicBezTo>
                    <a:pt x="14392077" y="6006979"/>
                    <a:pt x="14073601" y="6003071"/>
                    <a:pt x="14073601" y="6003071"/>
                  </a:cubicBezTo>
                  <a:lnTo>
                    <a:pt x="11693816" y="6026517"/>
                  </a:lnTo>
                  <a:lnTo>
                    <a:pt x="7121816" y="6026517"/>
                  </a:lnTo>
                  <a:cubicBezTo>
                    <a:pt x="6060878" y="6020656"/>
                    <a:pt x="5318416" y="6055825"/>
                    <a:pt x="5328185" y="5991348"/>
                  </a:cubicBezTo>
                  <a:cubicBezTo>
                    <a:pt x="5337954" y="5926871"/>
                    <a:pt x="5363353" y="5708040"/>
                    <a:pt x="5351631" y="5498978"/>
                  </a:cubicBezTo>
                  <a:cubicBezTo>
                    <a:pt x="5339909" y="5289916"/>
                    <a:pt x="5310600" y="4928455"/>
                    <a:pt x="5187508" y="4666640"/>
                  </a:cubicBezTo>
                  <a:cubicBezTo>
                    <a:pt x="5064416" y="4404825"/>
                    <a:pt x="4843631" y="4101979"/>
                    <a:pt x="4613077" y="3928087"/>
                  </a:cubicBezTo>
                  <a:cubicBezTo>
                    <a:pt x="4382523" y="3754195"/>
                    <a:pt x="4060139" y="3664317"/>
                    <a:pt x="3804185" y="3623286"/>
                  </a:cubicBezTo>
                  <a:cubicBezTo>
                    <a:pt x="3548231" y="3582255"/>
                    <a:pt x="3298140" y="3621332"/>
                    <a:pt x="3077355" y="3681901"/>
                  </a:cubicBezTo>
                  <a:cubicBezTo>
                    <a:pt x="2856570" y="3742470"/>
                    <a:pt x="2661185" y="3838209"/>
                    <a:pt x="2479477" y="3986701"/>
                  </a:cubicBezTo>
                  <a:cubicBezTo>
                    <a:pt x="2297769" y="4135193"/>
                    <a:pt x="2100431" y="4379424"/>
                    <a:pt x="1987108" y="4572855"/>
                  </a:cubicBezTo>
                  <a:cubicBezTo>
                    <a:pt x="1873785" y="4766286"/>
                    <a:pt x="1832754" y="4953855"/>
                    <a:pt x="1799539" y="5147286"/>
                  </a:cubicBezTo>
                  <a:cubicBezTo>
                    <a:pt x="1766324" y="5340717"/>
                    <a:pt x="1791724" y="5602532"/>
                    <a:pt x="1787816" y="5733440"/>
                  </a:cubicBezTo>
                  <a:cubicBezTo>
                    <a:pt x="1783908" y="5864348"/>
                    <a:pt x="1799539" y="5897563"/>
                    <a:pt x="1776093" y="5932732"/>
                  </a:cubicBezTo>
                  <a:cubicBezTo>
                    <a:pt x="1752647" y="5967901"/>
                    <a:pt x="1824939" y="5946409"/>
                    <a:pt x="1647139" y="5944455"/>
                  </a:cubicBezTo>
                  <a:cubicBezTo>
                    <a:pt x="1469339" y="5942501"/>
                    <a:pt x="891001" y="5928824"/>
                    <a:pt x="709293" y="5921009"/>
                  </a:cubicBezTo>
                  <a:cubicBezTo>
                    <a:pt x="527585" y="5913194"/>
                    <a:pt x="595970" y="5919055"/>
                    <a:pt x="556893" y="5897563"/>
                  </a:cubicBezTo>
                  <a:cubicBezTo>
                    <a:pt x="517816" y="5876071"/>
                    <a:pt x="500231" y="5819409"/>
                    <a:pt x="474831" y="5792055"/>
                  </a:cubicBezTo>
                  <a:cubicBezTo>
                    <a:pt x="449431" y="5764701"/>
                    <a:pt x="439662" y="5770563"/>
                    <a:pt x="404493" y="5733440"/>
                  </a:cubicBezTo>
                  <a:cubicBezTo>
                    <a:pt x="369324" y="5696317"/>
                    <a:pt x="263816" y="5604486"/>
                    <a:pt x="263816" y="5569317"/>
                  </a:cubicBezTo>
                  <a:cubicBezTo>
                    <a:pt x="263816" y="5534148"/>
                    <a:pt x="392770" y="5547824"/>
                    <a:pt x="404493" y="5522424"/>
                  </a:cubicBezTo>
                  <a:cubicBezTo>
                    <a:pt x="416216" y="5497024"/>
                    <a:pt x="361508" y="5500932"/>
                    <a:pt x="334154" y="5416917"/>
                  </a:cubicBezTo>
                  <a:cubicBezTo>
                    <a:pt x="306800" y="5332902"/>
                    <a:pt x="240370" y="5018332"/>
                    <a:pt x="240370" y="5018332"/>
                  </a:cubicBezTo>
                  <a:cubicBezTo>
                    <a:pt x="218878" y="4944086"/>
                    <a:pt x="232555" y="4981209"/>
                    <a:pt x="205201" y="4971440"/>
                  </a:cubicBezTo>
                  <a:cubicBezTo>
                    <a:pt x="177847" y="4961671"/>
                    <a:pt x="101647" y="4983163"/>
                    <a:pt x="76247" y="4959717"/>
                  </a:cubicBezTo>
                  <a:cubicBezTo>
                    <a:pt x="50847" y="4936271"/>
                    <a:pt x="64524" y="4928455"/>
                    <a:pt x="52801" y="4830763"/>
                  </a:cubicBezTo>
                  <a:cubicBezTo>
                    <a:pt x="41078" y="4733071"/>
                    <a:pt x="11770" y="4461486"/>
                    <a:pt x="5908" y="4373563"/>
                  </a:cubicBezTo>
                  <a:cubicBezTo>
                    <a:pt x="46" y="4285640"/>
                    <a:pt x="-7769" y="4320809"/>
                    <a:pt x="17631" y="4303224"/>
                  </a:cubicBezTo>
                  <a:cubicBezTo>
                    <a:pt x="43031" y="4285639"/>
                    <a:pt x="121185" y="4295409"/>
                    <a:pt x="158308" y="4268055"/>
                  </a:cubicBezTo>
                  <a:cubicBezTo>
                    <a:pt x="195431" y="4240701"/>
                    <a:pt x="232555" y="4191855"/>
                    <a:pt x="240370" y="4139101"/>
                  </a:cubicBezTo>
                  <a:cubicBezTo>
                    <a:pt x="248185" y="4086347"/>
                    <a:pt x="213016" y="4039455"/>
                    <a:pt x="205201" y="3951532"/>
                  </a:cubicBezTo>
                  <a:cubicBezTo>
                    <a:pt x="197385" y="3863609"/>
                    <a:pt x="168077" y="3724886"/>
                    <a:pt x="193477" y="3611563"/>
                  </a:cubicBezTo>
                  <a:cubicBezTo>
                    <a:pt x="218877" y="3498240"/>
                    <a:pt x="197386" y="3398594"/>
                    <a:pt x="357601" y="3271594"/>
                  </a:cubicBezTo>
                  <a:cubicBezTo>
                    <a:pt x="517816" y="3144594"/>
                    <a:pt x="863647" y="2958978"/>
                    <a:pt x="1154770" y="2849563"/>
                  </a:cubicBezTo>
                  <a:cubicBezTo>
                    <a:pt x="1445893" y="2740148"/>
                    <a:pt x="1666678" y="2703024"/>
                    <a:pt x="2104339" y="2615101"/>
                  </a:cubicBezTo>
                  <a:cubicBezTo>
                    <a:pt x="2542000" y="2527178"/>
                    <a:pt x="3264924" y="2398224"/>
                    <a:pt x="3780739" y="2322024"/>
                  </a:cubicBezTo>
                  <a:cubicBezTo>
                    <a:pt x="4296554" y="2245824"/>
                    <a:pt x="4900293" y="2189162"/>
                    <a:pt x="5199231" y="2157901"/>
                  </a:cubicBezTo>
                  <a:cubicBezTo>
                    <a:pt x="5498169" y="2126640"/>
                    <a:pt x="5486447" y="2136409"/>
                    <a:pt x="5574370" y="2134455"/>
                  </a:cubicBezTo>
                  <a:cubicBezTo>
                    <a:pt x="5662293" y="2132501"/>
                    <a:pt x="5666201" y="2128593"/>
                    <a:pt x="5726770" y="2146178"/>
                  </a:cubicBezTo>
                  <a:cubicBezTo>
                    <a:pt x="5787339" y="2163763"/>
                    <a:pt x="5901728" y="2257281"/>
                    <a:pt x="5972421" y="2219181"/>
                  </a:cubicBezTo>
                  <a:close/>
                </a:path>
              </a:pathLst>
            </a:custGeom>
            <a:noFill/>
            <a:ln w="19050"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2322573" y="6256130"/>
              <a:ext cx="3061848" cy="3061848"/>
            </a:xfrm>
            <a:prstGeom prst="ellipse">
              <a:avLst/>
            </a:prstGeom>
            <a:noFill/>
            <a:ln w="19050"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168" name="Oval 167"/>
            <p:cNvSpPr/>
            <p:nvPr/>
          </p:nvSpPr>
          <p:spPr bwMode="auto">
            <a:xfrm>
              <a:off x="15135767" y="6256130"/>
              <a:ext cx="3061848" cy="3061848"/>
            </a:xfrm>
            <a:prstGeom prst="ellipse">
              <a:avLst/>
            </a:prstGeom>
            <a:noFill/>
            <a:ln w="19050"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69" name="Straight Connector 168"/>
            <p:cNvCxnSpPr/>
            <p:nvPr/>
          </p:nvCxnSpPr>
          <p:spPr>
            <a:xfrm flipV="1">
              <a:off x="2095915" y="8253046"/>
              <a:ext cx="327759" cy="1"/>
            </a:xfrm>
            <a:prstGeom prst="line">
              <a:avLst/>
            </a:prstGeom>
            <a:noFill/>
            <a:ln w="9525" cap="rnd" cmpd="sng" algn="ctr">
              <a:solidFill>
                <a:srgbClr val="0072C6"/>
              </a:solidFill>
              <a:prstDash val="solid"/>
              <a:headEnd type="none"/>
              <a:tailEnd type="none"/>
            </a:ln>
            <a:effectLst/>
          </p:spPr>
        </p:cxnSp>
        <p:cxnSp>
          <p:nvCxnSpPr>
            <p:cNvPr id="170" name="Straight Connector 169"/>
            <p:cNvCxnSpPr/>
            <p:nvPr/>
          </p:nvCxnSpPr>
          <p:spPr>
            <a:xfrm flipV="1">
              <a:off x="5325072" y="8253046"/>
              <a:ext cx="327759" cy="1"/>
            </a:xfrm>
            <a:prstGeom prst="line">
              <a:avLst/>
            </a:prstGeom>
            <a:noFill/>
            <a:ln w="9525" cap="rnd" cmpd="sng" algn="ctr">
              <a:solidFill>
                <a:srgbClr val="0072C6"/>
              </a:solidFill>
              <a:prstDash val="solid"/>
              <a:headEnd type="none"/>
              <a:tailEnd type="none"/>
            </a:ln>
            <a:effectLst/>
          </p:spPr>
        </p:cxnSp>
        <p:cxnSp>
          <p:nvCxnSpPr>
            <p:cNvPr id="171" name="Straight Connector 170"/>
            <p:cNvCxnSpPr/>
            <p:nvPr/>
          </p:nvCxnSpPr>
          <p:spPr>
            <a:xfrm flipV="1">
              <a:off x="18174656" y="8194431"/>
              <a:ext cx="327759" cy="1"/>
            </a:xfrm>
            <a:prstGeom prst="line">
              <a:avLst/>
            </a:prstGeom>
            <a:noFill/>
            <a:ln w="9525" cap="rnd" cmpd="sng" algn="ctr">
              <a:solidFill>
                <a:srgbClr val="0072C6"/>
              </a:solidFill>
              <a:prstDash val="solid"/>
              <a:headEnd type="none"/>
              <a:tailEnd type="none"/>
            </a:ln>
            <a:effectLst/>
          </p:spPr>
        </p:cxnSp>
        <p:cxnSp>
          <p:nvCxnSpPr>
            <p:cNvPr id="172" name="Straight Connector 171"/>
            <p:cNvCxnSpPr/>
            <p:nvPr/>
          </p:nvCxnSpPr>
          <p:spPr>
            <a:xfrm flipV="1">
              <a:off x="14829739" y="8229600"/>
              <a:ext cx="328987" cy="12688"/>
            </a:xfrm>
            <a:prstGeom prst="line">
              <a:avLst/>
            </a:prstGeom>
            <a:noFill/>
            <a:ln w="9525" cap="rnd" cmpd="sng" algn="ctr">
              <a:solidFill>
                <a:srgbClr val="0072C6"/>
              </a:solidFill>
              <a:prstDash val="solid"/>
              <a:headEnd type="none"/>
              <a:tailEnd type="none"/>
            </a:ln>
            <a:effectLst/>
          </p:spPr>
        </p:cxnSp>
        <p:sp>
          <p:nvSpPr>
            <p:cNvPr id="173" name="Freeform: Shape 172"/>
            <p:cNvSpPr/>
            <p:nvPr/>
          </p:nvSpPr>
          <p:spPr bwMode="auto">
            <a:xfrm>
              <a:off x="5662246" y="7537938"/>
              <a:ext cx="9237785" cy="355082"/>
            </a:xfrm>
            <a:custGeom>
              <a:avLst/>
              <a:gdLst>
                <a:gd name="connsiteX0" fmla="*/ 0 w 9237785"/>
                <a:gd name="connsiteY0" fmla="*/ 152400 h 366891"/>
                <a:gd name="connsiteX1" fmla="*/ 4525108 w 9237785"/>
                <a:gd name="connsiteY1" fmla="*/ 363416 h 366891"/>
                <a:gd name="connsiteX2" fmla="*/ 9237785 w 9237785"/>
                <a:gd name="connsiteY2" fmla="*/ 0 h 366891"/>
                <a:gd name="connsiteX0" fmla="*/ 0 w 9237785"/>
                <a:gd name="connsiteY0" fmla="*/ 152400 h 374275"/>
                <a:gd name="connsiteX1" fmla="*/ 4525108 w 9237785"/>
                <a:gd name="connsiteY1" fmla="*/ 363416 h 374275"/>
                <a:gd name="connsiteX2" fmla="*/ 9237785 w 9237785"/>
                <a:gd name="connsiteY2" fmla="*/ 0 h 374275"/>
                <a:gd name="connsiteX0" fmla="*/ 0 w 9237785"/>
                <a:gd name="connsiteY0" fmla="*/ 152400 h 389310"/>
                <a:gd name="connsiteX1" fmla="*/ 4525108 w 9237785"/>
                <a:gd name="connsiteY1" fmla="*/ 363416 h 389310"/>
                <a:gd name="connsiteX2" fmla="*/ 9237785 w 9237785"/>
                <a:gd name="connsiteY2" fmla="*/ 0 h 389310"/>
                <a:gd name="connsiteX0" fmla="*/ 0 w 9237785"/>
                <a:gd name="connsiteY0" fmla="*/ 152400 h 361897"/>
                <a:gd name="connsiteX1" fmla="*/ 4513385 w 9237785"/>
                <a:gd name="connsiteY1" fmla="*/ 328247 h 361897"/>
                <a:gd name="connsiteX2" fmla="*/ 9237785 w 9237785"/>
                <a:gd name="connsiteY2" fmla="*/ 0 h 361897"/>
                <a:gd name="connsiteX0" fmla="*/ 0 w 9237785"/>
                <a:gd name="connsiteY0" fmla="*/ 175846 h 355082"/>
                <a:gd name="connsiteX1" fmla="*/ 4513385 w 9237785"/>
                <a:gd name="connsiteY1" fmla="*/ 328247 h 355082"/>
                <a:gd name="connsiteX2" fmla="*/ 9237785 w 9237785"/>
                <a:gd name="connsiteY2" fmla="*/ 0 h 355082"/>
              </a:gdLst>
              <a:ahLst/>
              <a:cxnLst>
                <a:cxn ang="0">
                  <a:pos x="connsiteX0" y="connsiteY0"/>
                </a:cxn>
                <a:cxn ang="0">
                  <a:pos x="connsiteX1" y="connsiteY1"/>
                </a:cxn>
                <a:cxn ang="0">
                  <a:pos x="connsiteX2" y="connsiteY2"/>
                </a:cxn>
              </a:cxnLst>
              <a:rect l="l" t="t" r="r" b="b"/>
              <a:pathLst>
                <a:path w="9237785" h="355082">
                  <a:moveTo>
                    <a:pt x="0" y="175846"/>
                  </a:moveTo>
                  <a:cubicBezTo>
                    <a:pt x="1445846" y="411285"/>
                    <a:pt x="2973754" y="357555"/>
                    <a:pt x="4513385" y="328247"/>
                  </a:cubicBezTo>
                  <a:cubicBezTo>
                    <a:pt x="6053016" y="298939"/>
                    <a:pt x="7651262" y="169008"/>
                    <a:pt x="9237785"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174" name="Freeform: Shape 173"/>
            <p:cNvSpPr/>
            <p:nvPr/>
          </p:nvSpPr>
          <p:spPr bwMode="auto">
            <a:xfrm>
              <a:off x="9227862" y="4437302"/>
              <a:ext cx="3968724" cy="3219342"/>
            </a:xfrm>
            <a:custGeom>
              <a:avLst/>
              <a:gdLst>
                <a:gd name="connsiteX0" fmla="*/ 2757283 w 3969686"/>
                <a:gd name="connsiteY0" fmla="*/ 2967952 h 3226746"/>
                <a:gd name="connsiteX1" fmla="*/ 2978956 w 3969686"/>
                <a:gd name="connsiteY1" fmla="*/ 2386061 h 3226746"/>
                <a:gd name="connsiteX2" fmla="*/ 3269901 w 3969686"/>
                <a:gd name="connsiteY2" fmla="*/ 1630988 h 3226746"/>
                <a:gd name="connsiteX3" fmla="*/ 3740956 w 3969686"/>
                <a:gd name="connsiteY3" fmla="*/ 785861 h 3226746"/>
                <a:gd name="connsiteX4" fmla="*/ 3782519 w 3969686"/>
                <a:gd name="connsiteY4" fmla="*/ 688879 h 3226746"/>
                <a:gd name="connsiteX5" fmla="*/ 3837937 w 3969686"/>
                <a:gd name="connsiteY5" fmla="*/ 640388 h 3226746"/>
                <a:gd name="connsiteX6" fmla="*/ 3921065 w 3969686"/>
                <a:gd name="connsiteY6" fmla="*/ 404861 h 3226746"/>
                <a:gd name="connsiteX7" fmla="*/ 3969556 w 3969686"/>
                <a:gd name="connsiteY7" fmla="*/ 93133 h 3226746"/>
                <a:gd name="connsiteX8" fmla="*/ 3907210 w 3969686"/>
                <a:gd name="connsiteY8" fmla="*/ 51570 h 3226746"/>
                <a:gd name="connsiteX9" fmla="*/ 3692465 w 3969686"/>
                <a:gd name="connsiteY9" fmla="*/ 3079 h 3226746"/>
                <a:gd name="connsiteX10" fmla="*/ 3477719 w 3969686"/>
                <a:gd name="connsiteY10" fmla="*/ 16933 h 3226746"/>
                <a:gd name="connsiteX11" fmla="*/ 3401519 w 3969686"/>
                <a:gd name="connsiteY11" fmla="*/ 113915 h 3226746"/>
                <a:gd name="connsiteX12" fmla="*/ 3304537 w 3969686"/>
                <a:gd name="connsiteY12" fmla="*/ 377152 h 3226746"/>
                <a:gd name="connsiteX13" fmla="*/ 3159065 w 3969686"/>
                <a:gd name="connsiteY13" fmla="*/ 605752 h 3226746"/>
                <a:gd name="connsiteX14" fmla="*/ 2888901 w 3969686"/>
                <a:gd name="connsiteY14" fmla="*/ 979824 h 3226746"/>
                <a:gd name="connsiteX15" fmla="*/ 2549465 w 3969686"/>
                <a:gd name="connsiteY15" fmla="*/ 1360824 h 3226746"/>
                <a:gd name="connsiteX16" fmla="*/ 2320865 w 3969686"/>
                <a:gd name="connsiteY16" fmla="*/ 1644842 h 3226746"/>
                <a:gd name="connsiteX17" fmla="*/ 2168465 w 3969686"/>
                <a:gd name="connsiteY17" fmla="*/ 2102042 h 3226746"/>
                <a:gd name="connsiteX18" fmla="*/ 2196174 w 3969686"/>
                <a:gd name="connsiteY18" fmla="*/ 2531533 h 3226746"/>
                <a:gd name="connsiteX19" fmla="*/ 2272374 w 3969686"/>
                <a:gd name="connsiteY19" fmla="*/ 2767061 h 3226746"/>
                <a:gd name="connsiteX20" fmla="*/ 2272374 w 3969686"/>
                <a:gd name="connsiteY20" fmla="*/ 2787842 h 3226746"/>
                <a:gd name="connsiteX21" fmla="*/ 2230810 w 3969686"/>
                <a:gd name="connsiteY21" fmla="*/ 2760133 h 3226746"/>
                <a:gd name="connsiteX22" fmla="*/ 1856737 w 3969686"/>
                <a:gd name="connsiteY22" fmla="*/ 2621588 h 3226746"/>
                <a:gd name="connsiteX23" fmla="*/ 1420319 w 3969686"/>
                <a:gd name="connsiteY23" fmla="*/ 2427624 h 3226746"/>
                <a:gd name="connsiteX24" fmla="*/ 1032392 w 3969686"/>
                <a:gd name="connsiteY24" fmla="*/ 2275224 h 3226746"/>
                <a:gd name="connsiteX25" fmla="*/ 727592 w 3969686"/>
                <a:gd name="connsiteY25" fmla="*/ 2219806 h 3226746"/>
                <a:gd name="connsiteX26" fmla="*/ 443574 w 3969686"/>
                <a:gd name="connsiteY26" fmla="*/ 2233661 h 3226746"/>
                <a:gd name="connsiteX27" fmla="*/ 249610 w 3969686"/>
                <a:gd name="connsiteY27" fmla="*/ 2302933 h 3226746"/>
                <a:gd name="connsiteX28" fmla="*/ 173410 w 3969686"/>
                <a:gd name="connsiteY28" fmla="*/ 2309861 h 3226746"/>
                <a:gd name="connsiteX29" fmla="*/ 83356 w 3969686"/>
                <a:gd name="connsiteY29" fmla="*/ 2302933 h 3226746"/>
                <a:gd name="connsiteX30" fmla="*/ 7156 w 3969686"/>
                <a:gd name="connsiteY30" fmla="*/ 2358352 h 3226746"/>
                <a:gd name="connsiteX31" fmla="*/ 7156 w 3969686"/>
                <a:gd name="connsiteY31" fmla="*/ 2573097 h 3226746"/>
                <a:gd name="connsiteX32" fmla="*/ 41792 w 3969686"/>
                <a:gd name="connsiteY32" fmla="*/ 2780915 h 3226746"/>
                <a:gd name="connsiteX33" fmla="*/ 48719 w 3969686"/>
                <a:gd name="connsiteY33" fmla="*/ 2850188 h 3226746"/>
                <a:gd name="connsiteX34" fmla="*/ 152628 w 3969686"/>
                <a:gd name="connsiteY34" fmla="*/ 2870970 h 3226746"/>
                <a:gd name="connsiteX35" fmla="*/ 803792 w 3969686"/>
                <a:gd name="connsiteY35" fmla="*/ 2954097 h 3226746"/>
                <a:gd name="connsiteX36" fmla="*/ 1822101 w 3969686"/>
                <a:gd name="connsiteY36" fmla="*/ 3099570 h 3226746"/>
                <a:gd name="connsiteX37" fmla="*/ 2376283 w 3969686"/>
                <a:gd name="connsiteY37" fmla="*/ 3189624 h 3226746"/>
                <a:gd name="connsiteX38" fmla="*/ 2701865 w 3969686"/>
                <a:gd name="connsiteY38" fmla="*/ 3224261 h 3226746"/>
                <a:gd name="connsiteX39" fmla="*/ 2743428 w 3969686"/>
                <a:gd name="connsiteY39" fmla="*/ 3127279 h 3226746"/>
                <a:gd name="connsiteX40" fmla="*/ 2757283 w 3969686"/>
                <a:gd name="connsiteY40" fmla="*/ 2967952 h 3226746"/>
                <a:gd name="connsiteX0" fmla="*/ 2756944 w 3969347"/>
                <a:gd name="connsiteY0" fmla="*/ 2967952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56944 w 3969347"/>
                <a:gd name="connsiteY40" fmla="*/ 2967952 h 3226746"/>
                <a:gd name="connsiteX0" fmla="*/ 2770799 w 3969347"/>
                <a:gd name="connsiteY0" fmla="*/ 2961024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70799 w 3969347"/>
                <a:gd name="connsiteY40" fmla="*/ 2961024 h 3226746"/>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88562 w 3969347"/>
                <a:gd name="connsiteY14" fmla="*/ 979824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42466 w 3968724"/>
                <a:gd name="connsiteY39" fmla="*/ 3127279 h 3220325"/>
                <a:gd name="connsiteX40" fmla="*/ 2770176 w 3968724"/>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18836"/>
                <a:gd name="connsiteX1" fmla="*/ 2971067 w 3968724"/>
                <a:gd name="connsiteY1" fmla="*/ 2392988 h 3218836"/>
                <a:gd name="connsiteX2" fmla="*/ 3268939 w 3968724"/>
                <a:gd name="connsiteY2" fmla="*/ 1630988 h 3218836"/>
                <a:gd name="connsiteX3" fmla="*/ 3739994 w 3968724"/>
                <a:gd name="connsiteY3" fmla="*/ 785861 h 3218836"/>
                <a:gd name="connsiteX4" fmla="*/ 3781557 w 3968724"/>
                <a:gd name="connsiteY4" fmla="*/ 688879 h 3218836"/>
                <a:gd name="connsiteX5" fmla="*/ 3836975 w 3968724"/>
                <a:gd name="connsiteY5" fmla="*/ 640388 h 3218836"/>
                <a:gd name="connsiteX6" fmla="*/ 3920103 w 3968724"/>
                <a:gd name="connsiteY6" fmla="*/ 404861 h 3218836"/>
                <a:gd name="connsiteX7" fmla="*/ 3968594 w 3968724"/>
                <a:gd name="connsiteY7" fmla="*/ 93133 h 3218836"/>
                <a:gd name="connsiteX8" fmla="*/ 3906248 w 3968724"/>
                <a:gd name="connsiteY8" fmla="*/ 51570 h 3218836"/>
                <a:gd name="connsiteX9" fmla="*/ 3691503 w 3968724"/>
                <a:gd name="connsiteY9" fmla="*/ 3079 h 3218836"/>
                <a:gd name="connsiteX10" fmla="*/ 3476757 w 3968724"/>
                <a:gd name="connsiteY10" fmla="*/ 16933 h 3218836"/>
                <a:gd name="connsiteX11" fmla="*/ 3400557 w 3968724"/>
                <a:gd name="connsiteY11" fmla="*/ 113915 h 3218836"/>
                <a:gd name="connsiteX12" fmla="*/ 3289720 w 3968724"/>
                <a:gd name="connsiteY12" fmla="*/ 370225 h 3218836"/>
                <a:gd name="connsiteX13" fmla="*/ 3158103 w 3968724"/>
                <a:gd name="connsiteY13" fmla="*/ 605752 h 3218836"/>
                <a:gd name="connsiteX14" fmla="*/ 2867157 w 3968724"/>
                <a:gd name="connsiteY14" fmla="*/ 972897 h 3218836"/>
                <a:gd name="connsiteX15" fmla="*/ 2548503 w 3968724"/>
                <a:gd name="connsiteY15" fmla="*/ 1360824 h 3218836"/>
                <a:gd name="connsiteX16" fmla="*/ 2319903 w 3968724"/>
                <a:gd name="connsiteY16" fmla="*/ 1644842 h 3218836"/>
                <a:gd name="connsiteX17" fmla="*/ 2167503 w 3968724"/>
                <a:gd name="connsiteY17" fmla="*/ 2102042 h 3218836"/>
                <a:gd name="connsiteX18" fmla="*/ 2195212 w 3968724"/>
                <a:gd name="connsiteY18" fmla="*/ 2531533 h 3218836"/>
                <a:gd name="connsiteX19" fmla="*/ 2271412 w 3968724"/>
                <a:gd name="connsiteY19" fmla="*/ 2767061 h 3218836"/>
                <a:gd name="connsiteX20" fmla="*/ 2271412 w 3968724"/>
                <a:gd name="connsiteY20" fmla="*/ 2787842 h 3218836"/>
                <a:gd name="connsiteX21" fmla="*/ 2229848 w 3968724"/>
                <a:gd name="connsiteY21" fmla="*/ 2760133 h 3218836"/>
                <a:gd name="connsiteX22" fmla="*/ 1855775 w 3968724"/>
                <a:gd name="connsiteY22" fmla="*/ 2621588 h 3218836"/>
                <a:gd name="connsiteX23" fmla="*/ 1419357 w 3968724"/>
                <a:gd name="connsiteY23" fmla="*/ 2427624 h 3218836"/>
                <a:gd name="connsiteX24" fmla="*/ 1031430 w 3968724"/>
                <a:gd name="connsiteY24" fmla="*/ 2275224 h 3218836"/>
                <a:gd name="connsiteX25" fmla="*/ 726630 w 3968724"/>
                <a:gd name="connsiteY25" fmla="*/ 2219806 h 3218836"/>
                <a:gd name="connsiteX26" fmla="*/ 442612 w 3968724"/>
                <a:gd name="connsiteY26" fmla="*/ 2233661 h 3218836"/>
                <a:gd name="connsiteX27" fmla="*/ 248648 w 3968724"/>
                <a:gd name="connsiteY27" fmla="*/ 2302933 h 3218836"/>
                <a:gd name="connsiteX28" fmla="*/ 172448 w 3968724"/>
                <a:gd name="connsiteY28" fmla="*/ 2309861 h 3218836"/>
                <a:gd name="connsiteX29" fmla="*/ 82394 w 3968724"/>
                <a:gd name="connsiteY29" fmla="*/ 2302933 h 3218836"/>
                <a:gd name="connsiteX30" fmla="*/ 6194 w 3968724"/>
                <a:gd name="connsiteY30" fmla="*/ 2358352 h 3218836"/>
                <a:gd name="connsiteX31" fmla="*/ 6194 w 3968724"/>
                <a:gd name="connsiteY31" fmla="*/ 2573097 h 3218836"/>
                <a:gd name="connsiteX32" fmla="*/ 20047 w 3968724"/>
                <a:gd name="connsiteY32" fmla="*/ 2746279 h 3218836"/>
                <a:gd name="connsiteX33" fmla="*/ 47757 w 3968724"/>
                <a:gd name="connsiteY33" fmla="*/ 2850188 h 3218836"/>
                <a:gd name="connsiteX34" fmla="*/ 151666 w 3968724"/>
                <a:gd name="connsiteY34" fmla="*/ 2870970 h 3218836"/>
                <a:gd name="connsiteX35" fmla="*/ 802830 w 3968724"/>
                <a:gd name="connsiteY35" fmla="*/ 2954097 h 3218836"/>
                <a:gd name="connsiteX36" fmla="*/ 1821139 w 3968724"/>
                <a:gd name="connsiteY36" fmla="*/ 3099570 h 3218836"/>
                <a:gd name="connsiteX37" fmla="*/ 2375321 w 3968724"/>
                <a:gd name="connsiteY37" fmla="*/ 3161915 h 3218836"/>
                <a:gd name="connsiteX38" fmla="*/ 2680121 w 3968724"/>
                <a:gd name="connsiteY38" fmla="*/ 3217333 h 3218836"/>
                <a:gd name="connsiteX39" fmla="*/ 2770176 w 3968724"/>
                <a:gd name="connsiteY39" fmla="*/ 2961024 h 3218836"/>
                <a:gd name="connsiteX0" fmla="*/ 2770176 w 3968724"/>
                <a:gd name="connsiteY0" fmla="*/ 2961024 h 3219342"/>
                <a:gd name="connsiteX1" fmla="*/ 2971067 w 3968724"/>
                <a:gd name="connsiteY1" fmla="*/ 2392988 h 3219342"/>
                <a:gd name="connsiteX2" fmla="*/ 3268939 w 3968724"/>
                <a:gd name="connsiteY2" fmla="*/ 1630988 h 3219342"/>
                <a:gd name="connsiteX3" fmla="*/ 3739994 w 3968724"/>
                <a:gd name="connsiteY3" fmla="*/ 785861 h 3219342"/>
                <a:gd name="connsiteX4" fmla="*/ 3781557 w 3968724"/>
                <a:gd name="connsiteY4" fmla="*/ 688879 h 3219342"/>
                <a:gd name="connsiteX5" fmla="*/ 3836975 w 3968724"/>
                <a:gd name="connsiteY5" fmla="*/ 640388 h 3219342"/>
                <a:gd name="connsiteX6" fmla="*/ 3920103 w 3968724"/>
                <a:gd name="connsiteY6" fmla="*/ 404861 h 3219342"/>
                <a:gd name="connsiteX7" fmla="*/ 3968594 w 3968724"/>
                <a:gd name="connsiteY7" fmla="*/ 93133 h 3219342"/>
                <a:gd name="connsiteX8" fmla="*/ 3906248 w 3968724"/>
                <a:gd name="connsiteY8" fmla="*/ 51570 h 3219342"/>
                <a:gd name="connsiteX9" fmla="*/ 3691503 w 3968724"/>
                <a:gd name="connsiteY9" fmla="*/ 3079 h 3219342"/>
                <a:gd name="connsiteX10" fmla="*/ 3476757 w 3968724"/>
                <a:gd name="connsiteY10" fmla="*/ 16933 h 3219342"/>
                <a:gd name="connsiteX11" fmla="*/ 3400557 w 3968724"/>
                <a:gd name="connsiteY11" fmla="*/ 113915 h 3219342"/>
                <a:gd name="connsiteX12" fmla="*/ 3289720 w 3968724"/>
                <a:gd name="connsiteY12" fmla="*/ 370225 h 3219342"/>
                <a:gd name="connsiteX13" fmla="*/ 3158103 w 3968724"/>
                <a:gd name="connsiteY13" fmla="*/ 605752 h 3219342"/>
                <a:gd name="connsiteX14" fmla="*/ 2867157 w 3968724"/>
                <a:gd name="connsiteY14" fmla="*/ 972897 h 3219342"/>
                <a:gd name="connsiteX15" fmla="*/ 2548503 w 3968724"/>
                <a:gd name="connsiteY15" fmla="*/ 1360824 h 3219342"/>
                <a:gd name="connsiteX16" fmla="*/ 2319903 w 3968724"/>
                <a:gd name="connsiteY16" fmla="*/ 1644842 h 3219342"/>
                <a:gd name="connsiteX17" fmla="*/ 2167503 w 3968724"/>
                <a:gd name="connsiteY17" fmla="*/ 2102042 h 3219342"/>
                <a:gd name="connsiteX18" fmla="*/ 2195212 w 3968724"/>
                <a:gd name="connsiteY18" fmla="*/ 2531533 h 3219342"/>
                <a:gd name="connsiteX19" fmla="*/ 2271412 w 3968724"/>
                <a:gd name="connsiteY19" fmla="*/ 2767061 h 3219342"/>
                <a:gd name="connsiteX20" fmla="*/ 2271412 w 3968724"/>
                <a:gd name="connsiteY20" fmla="*/ 2787842 h 3219342"/>
                <a:gd name="connsiteX21" fmla="*/ 2229848 w 3968724"/>
                <a:gd name="connsiteY21" fmla="*/ 2760133 h 3219342"/>
                <a:gd name="connsiteX22" fmla="*/ 1855775 w 3968724"/>
                <a:gd name="connsiteY22" fmla="*/ 2621588 h 3219342"/>
                <a:gd name="connsiteX23" fmla="*/ 1419357 w 3968724"/>
                <a:gd name="connsiteY23" fmla="*/ 2427624 h 3219342"/>
                <a:gd name="connsiteX24" fmla="*/ 1031430 w 3968724"/>
                <a:gd name="connsiteY24" fmla="*/ 2275224 h 3219342"/>
                <a:gd name="connsiteX25" fmla="*/ 726630 w 3968724"/>
                <a:gd name="connsiteY25" fmla="*/ 2219806 h 3219342"/>
                <a:gd name="connsiteX26" fmla="*/ 442612 w 3968724"/>
                <a:gd name="connsiteY26" fmla="*/ 2233661 h 3219342"/>
                <a:gd name="connsiteX27" fmla="*/ 248648 w 3968724"/>
                <a:gd name="connsiteY27" fmla="*/ 2302933 h 3219342"/>
                <a:gd name="connsiteX28" fmla="*/ 172448 w 3968724"/>
                <a:gd name="connsiteY28" fmla="*/ 2309861 h 3219342"/>
                <a:gd name="connsiteX29" fmla="*/ 82394 w 3968724"/>
                <a:gd name="connsiteY29" fmla="*/ 2302933 h 3219342"/>
                <a:gd name="connsiteX30" fmla="*/ 6194 w 3968724"/>
                <a:gd name="connsiteY30" fmla="*/ 2358352 h 3219342"/>
                <a:gd name="connsiteX31" fmla="*/ 6194 w 3968724"/>
                <a:gd name="connsiteY31" fmla="*/ 2573097 h 3219342"/>
                <a:gd name="connsiteX32" fmla="*/ 20047 w 3968724"/>
                <a:gd name="connsiteY32" fmla="*/ 2746279 h 3219342"/>
                <a:gd name="connsiteX33" fmla="*/ 47757 w 3968724"/>
                <a:gd name="connsiteY33" fmla="*/ 2850188 h 3219342"/>
                <a:gd name="connsiteX34" fmla="*/ 151666 w 3968724"/>
                <a:gd name="connsiteY34" fmla="*/ 2870970 h 3219342"/>
                <a:gd name="connsiteX35" fmla="*/ 802830 w 3968724"/>
                <a:gd name="connsiteY35" fmla="*/ 2954097 h 3219342"/>
                <a:gd name="connsiteX36" fmla="*/ 1821139 w 3968724"/>
                <a:gd name="connsiteY36" fmla="*/ 3099570 h 3219342"/>
                <a:gd name="connsiteX37" fmla="*/ 2368394 w 3968724"/>
                <a:gd name="connsiteY37" fmla="*/ 3175770 h 3219342"/>
                <a:gd name="connsiteX38" fmla="*/ 2680121 w 3968724"/>
                <a:gd name="connsiteY38" fmla="*/ 3217333 h 3219342"/>
                <a:gd name="connsiteX39" fmla="*/ 2770176 w 3968724"/>
                <a:gd name="connsiteY39" fmla="*/ 2961024 h 321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968724" h="3219342">
                  <a:moveTo>
                    <a:pt x="2770176" y="2961024"/>
                  </a:moveTo>
                  <a:cubicBezTo>
                    <a:pt x="2825595" y="2809779"/>
                    <a:pt x="2887940" y="2614661"/>
                    <a:pt x="2971067" y="2392988"/>
                  </a:cubicBezTo>
                  <a:cubicBezTo>
                    <a:pt x="3054194" y="2171315"/>
                    <a:pt x="3140785" y="1898842"/>
                    <a:pt x="3268939" y="1630988"/>
                  </a:cubicBezTo>
                  <a:cubicBezTo>
                    <a:pt x="3397093" y="1363134"/>
                    <a:pt x="3654558" y="942879"/>
                    <a:pt x="3739994" y="785861"/>
                  </a:cubicBezTo>
                  <a:cubicBezTo>
                    <a:pt x="3825430" y="628843"/>
                    <a:pt x="3765394" y="713124"/>
                    <a:pt x="3781557" y="688879"/>
                  </a:cubicBezTo>
                  <a:cubicBezTo>
                    <a:pt x="3797720" y="664634"/>
                    <a:pt x="3813884" y="687724"/>
                    <a:pt x="3836975" y="640388"/>
                  </a:cubicBezTo>
                  <a:cubicBezTo>
                    <a:pt x="3860066" y="593052"/>
                    <a:pt x="3898166" y="496070"/>
                    <a:pt x="3920103" y="404861"/>
                  </a:cubicBezTo>
                  <a:cubicBezTo>
                    <a:pt x="3942040" y="313652"/>
                    <a:pt x="3970903" y="152015"/>
                    <a:pt x="3968594" y="93133"/>
                  </a:cubicBezTo>
                  <a:cubicBezTo>
                    <a:pt x="3966285" y="34251"/>
                    <a:pt x="3952430" y="66579"/>
                    <a:pt x="3906248" y="51570"/>
                  </a:cubicBezTo>
                  <a:cubicBezTo>
                    <a:pt x="3860066" y="36561"/>
                    <a:pt x="3763085" y="8852"/>
                    <a:pt x="3691503" y="3079"/>
                  </a:cubicBezTo>
                  <a:cubicBezTo>
                    <a:pt x="3619921" y="-2694"/>
                    <a:pt x="3525248" y="-1540"/>
                    <a:pt x="3476757" y="16933"/>
                  </a:cubicBezTo>
                  <a:cubicBezTo>
                    <a:pt x="3428266" y="35406"/>
                    <a:pt x="3431730" y="55033"/>
                    <a:pt x="3400557" y="113915"/>
                  </a:cubicBezTo>
                  <a:cubicBezTo>
                    <a:pt x="3369384" y="172797"/>
                    <a:pt x="3330129" y="288252"/>
                    <a:pt x="3289720" y="370225"/>
                  </a:cubicBezTo>
                  <a:cubicBezTo>
                    <a:pt x="3249311" y="452198"/>
                    <a:pt x="3228530" y="505307"/>
                    <a:pt x="3158103" y="605752"/>
                  </a:cubicBezTo>
                  <a:cubicBezTo>
                    <a:pt x="3087676" y="706197"/>
                    <a:pt x="2968757" y="847052"/>
                    <a:pt x="2867157" y="972897"/>
                  </a:cubicBezTo>
                  <a:cubicBezTo>
                    <a:pt x="2765557" y="1098742"/>
                    <a:pt x="2639712" y="1248833"/>
                    <a:pt x="2548503" y="1360824"/>
                  </a:cubicBezTo>
                  <a:cubicBezTo>
                    <a:pt x="2457294" y="1472815"/>
                    <a:pt x="2383403" y="1521306"/>
                    <a:pt x="2319903" y="1644842"/>
                  </a:cubicBezTo>
                  <a:cubicBezTo>
                    <a:pt x="2256403" y="1768378"/>
                    <a:pt x="2188285" y="1954260"/>
                    <a:pt x="2167503" y="2102042"/>
                  </a:cubicBezTo>
                  <a:cubicBezTo>
                    <a:pt x="2146721" y="2249824"/>
                    <a:pt x="2164040" y="2441478"/>
                    <a:pt x="2195212" y="2531533"/>
                  </a:cubicBezTo>
                  <a:cubicBezTo>
                    <a:pt x="2226384" y="2621588"/>
                    <a:pt x="2271412" y="2767061"/>
                    <a:pt x="2271412" y="2767061"/>
                  </a:cubicBezTo>
                  <a:cubicBezTo>
                    <a:pt x="2284112" y="2809779"/>
                    <a:pt x="2278339" y="2788997"/>
                    <a:pt x="2271412" y="2787842"/>
                  </a:cubicBezTo>
                  <a:cubicBezTo>
                    <a:pt x="2264485" y="2786687"/>
                    <a:pt x="2299121" y="2787842"/>
                    <a:pt x="2229848" y="2760133"/>
                  </a:cubicBezTo>
                  <a:cubicBezTo>
                    <a:pt x="2160575" y="2732424"/>
                    <a:pt x="1990857" y="2677006"/>
                    <a:pt x="1855775" y="2621588"/>
                  </a:cubicBezTo>
                  <a:cubicBezTo>
                    <a:pt x="1720693" y="2566170"/>
                    <a:pt x="1556748" y="2485351"/>
                    <a:pt x="1419357" y="2427624"/>
                  </a:cubicBezTo>
                  <a:cubicBezTo>
                    <a:pt x="1281966" y="2369897"/>
                    <a:pt x="1146884" y="2309860"/>
                    <a:pt x="1031430" y="2275224"/>
                  </a:cubicBezTo>
                  <a:cubicBezTo>
                    <a:pt x="915975" y="2240588"/>
                    <a:pt x="824766" y="2226733"/>
                    <a:pt x="726630" y="2219806"/>
                  </a:cubicBezTo>
                  <a:cubicBezTo>
                    <a:pt x="628494" y="2212879"/>
                    <a:pt x="522276" y="2219806"/>
                    <a:pt x="442612" y="2233661"/>
                  </a:cubicBezTo>
                  <a:cubicBezTo>
                    <a:pt x="362948" y="2247515"/>
                    <a:pt x="293675" y="2290233"/>
                    <a:pt x="248648" y="2302933"/>
                  </a:cubicBezTo>
                  <a:cubicBezTo>
                    <a:pt x="203621" y="2315633"/>
                    <a:pt x="200157" y="2309861"/>
                    <a:pt x="172448" y="2309861"/>
                  </a:cubicBezTo>
                  <a:cubicBezTo>
                    <a:pt x="144739" y="2309861"/>
                    <a:pt x="110103" y="2294851"/>
                    <a:pt x="82394" y="2302933"/>
                  </a:cubicBezTo>
                  <a:cubicBezTo>
                    <a:pt x="54685" y="2311015"/>
                    <a:pt x="18894" y="2313325"/>
                    <a:pt x="6194" y="2358352"/>
                  </a:cubicBezTo>
                  <a:cubicBezTo>
                    <a:pt x="-6506" y="2403379"/>
                    <a:pt x="3885" y="2508443"/>
                    <a:pt x="6194" y="2573097"/>
                  </a:cubicBezTo>
                  <a:cubicBezTo>
                    <a:pt x="8503" y="2637751"/>
                    <a:pt x="13120" y="2700097"/>
                    <a:pt x="20047" y="2746279"/>
                  </a:cubicBezTo>
                  <a:cubicBezTo>
                    <a:pt x="26974" y="2792461"/>
                    <a:pt x="25821" y="2829406"/>
                    <a:pt x="47757" y="2850188"/>
                  </a:cubicBezTo>
                  <a:cubicBezTo>
                    <a:pt x="69694" y="2870970"/>
                    <a:pt x="151666" y="2870970"/>
                    <a:pt x="151666" y="2870970"/>
                  </a:cubicBezTo>
                  <a:lnTo>
                    <a:pt x="802830" y="2954097"/>
                  </a:lnTo>
                  <a:lnTo>
                    <a:pt x="1821139" y="3099570"/>
                  </a:lnTo>
                  <a:lnTo>
                    <a:pt x="2368394" y="3175770"/>
                  </a:lnTo>
                  <a:cubicBezTo>
                    <a:pt x="2511558" y="3195397"/>
                    <a:pt x="2618930" y="3227724"/>
                    <a:pt x="2680121" y="3217333"/>
                  </a:cubicBezTo>
                  <a:cubicBezTo>
                    <a:pt x="2745930" y="3179233"/>
                    <a:pt x="2714757" y="3112269"/>
                    <a:pt x="2770176" y="2961024"/>
                  </a:cubicBezTo>
                  <a:close/>
                </a:path>
              </a:pathLst>
            </a:cu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175" name="Group 174"/>
            <p:cNvGrpSpPr/>
            <p:nvPr/>
          </p:nvGrpSpPr>
          <p:grpSpPr>
            <a:xfrm>
              <a:off x="8676358" y="4152459"/>
              <a:ext cx="820933" cy="2076317"/>
              <a:chOff x="8676358" y="4152459"/>
              <a:chExt cx="820933" cy="2076317"/>
            </a:xfrm>
          </p:grpSpPr>
          <p:sp>
            <p:nvSpPr>
              <p:cNvPr id="290" name="Rectangle: Rounded Corners 289"/>
              <p:cNvSpPr/>
              <p:nvPr/>
            </p:nvSpPr>
            <p:spPr bwMode="auto">
              <a:xfrm rot="20416543">
                <a:off x="9290794" y="4152459"/>
                <a:ext cx="161827" cy="1795600"/>
              </a:xfrm>
              <a:prstGeom prst="roundRect">
                <a:avLst>
                  <a:gd name="adj" fmla="val 50000"/>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291" name="Straight Connector 290"/>
              <p:cNvCxnSpPr/>
              <p:nvPr/>
            </p:nvCxnSpPr>
            <p:spPr>
              <a:xfrm flipV="1">
                <a:off x="8676358" y="5475393"/>
                <a:ext cx="418036" cy="175499"/>
              </a:xfrm>
              <a:prstGeom prst="line">
                <a:avLst/>
              </a:prstGeom>
              <a:noFill/>
              <a:ln w="9525" cap="rnd" cmpd="sng" algn="ctr">
                <a:solidFill>
                  <a:srgbClr val="0072C6"/>
                </a:solidFill>
                <a:prstDash val="solid"/>
                <a:headEnd type="none"/>
                <a:tailEnd type="none"/>
              </a:ln>
              <a:effectLst/>
            </p:spPr>
          </p:cxnSp>
          <p:cxnSp>
            <p:nvCxnSpPr>
              <p:cNvPr id="292" name="Straight Connector 291"/>
              <p:cNvCxnSpPr/>
              <p:nvPr/>
            </p:nvCxnSpPr>
            <p:spPr>
              <a:xfrm flipV="1">
                <a:off x="8915400" y="4738861"/>
                <a:ext cx="235466" cy="148404"/>
              </a:xfrm>
              <a:prstGeom prst="line">
                <a:avLst/>
              </a:prstGeom>
              <a:noFill/>
              <a:ln w="9525" cap="rnd" cmpd="sng" algn="ctr">
                <a:solidFill>
                  <a:srgbClr val="0072C6"/>
                </a:solidFill>
                <a:prstDash val="solid"/>
                <a:headEnd type="none"/>
                <a:tailEnd type="none"/>
              </a:ln>
              <a:effectLst/>
            </p:spPr>
          </p:cxnSp>
          <p:sp>
            <p:nvSpPr>
              <p:cNvPr id="293" name="Freeform: Shape 292"/>
              <p:cNvSpPr/>
              <p:nvPr/>
            </p:nvSpPr>
            <p:spPr bwMode="auto">
              <a:xfrm>
                <a:off x="8676400" y="5639958"/>
                <a:ext cx="124857" cy="588818"/>
              </a:xfrm>
              <a:custGeom>
                <a:avLst/>
                <a:gdLst>
                  <a:gd name="connsiteX0" fmla="*/ 0 w 136814"/>
                  <a:gd name="connsiteY0" fmla="*/ 0 h 588819"/>
                  <a:gd name="connsiteX1" fmla="*/ 96982 w 136814"/>
                  <a:gd name="connsiteY1" fmla="*/ 284019 h 588819"/>
                  <a:gd name="connsiteX2" fmla="*/ 131619 w 136814"/>
                  <a:gd name="connsiteY2" fmla="*/ 450273 h 588819"/>
                  <a:gd name="connsiteX3" fmla="*/ 124691 w 136814"/>
                  <a:gd name="connsiteY3" fmla="*/ 526473 h 588819"/>
                  <a:gd name="connsiteX4" fmla="*/ 20782 w 136814"/>
                  <a:gd name="connsiteY4" fmla="*/ 588819 h 588819"/>
                  <a:gd name="connsiteX0" fmla="*/ 0 w 132167"/>
                  <a:gd name="connsiteY0" fmla="*/ 0 h 588819"/>
                  <a:gd name="connsiteX1" fmla="*/ 96982 w 132167"/>
                  <a:gd name="connsiteY1" fmla="*/ 284019 h 588819"/>
                  <a:gd name="connsiteX2" fmla="*/ 131619 w 132167"/>
                  <a:gd name="connsiteY2" fmla="*/ 450273 h 588819"/>
                  <a:gd name="connsiteX3" fmla="*/ 110837 w 132167"/>
                  <a:gd name="connsiteY3" fmla="*/ 519546 h 588819"/>
                  <a:gd name="connsiteX4" fmla="*/ 20782 w 132167"/>
                  <a:gd name="connsiteY4" fmla="*/ 588819 h 588819"/>
                  <a:gd name="connsiteX0" fmla="*/ 0 w 131706"/>
                  <a:gd name="connsiteY0" fmla="*/ 0 h 588819"/>
                  <a:gd name="connsiteX1" fmla="*/ 96982 w 131706"/>
                  <a:gd name="connsiteY1" fmla="*/ 284019 h 588819"/>
                  <a:gd name="connsiteX2" fmla="*/ 131619 w 131706"/>
                  <a:gd name="connsiteY2" fmla="*/ 450273 h 588819"/>
                  <a:gd name="connsiteX3" fmla="*/ 103910 w 131706"/>
                  <a:gd name="connsiteY3" fmla="*/ 512619 h 588819"/>
                  <a:gd name="connsiteX4" fmla="*/ 20782 w 131706"/>
                  <a:gd name="connsiteY4" fmla="*/ 588819 h 588819"/>
                  <a:gd name="connsiteX0" fmla="*/ 0 w 124858"/>
                  <a:gd name="connsiteY0" fmla="*/ 0 h 588819"/>
                  <a:gd name="connsiteX1" fmla="*/ 96982 w 124858"/>
                  <a:gd name="connsiteY1" fmla="*/ 284019 h 588819"/>
                  <a:gd name="connsiteX2" fmla="*/ 124692 w 124858"/>
                  <a:gd name="connsiteY2" fmla="*/ 436418 h 588819"/>
                  <a:gd name="connsiteX3" fmla="*/ 103910 w 124858"/>
                  <a:gd name="connsiteY3" fmla="*/ 512619 h 588819"/>
                  <a:gd name="connsiteX4" fmla="*/ 20782 w 124858"/>
                  <a:gd name="connsiteY4" fmla="*/ 588819 h 588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58" h="588819">
                    <a:moveTo>
                      <a:pt x="0" y="0"/>
                    </a:moveTo>
                    <a:cubicBezTo>
                      <a:pt x="37523" y="104487"/>
                      <a:pt x="76200" y="211283"/>
                      <a:pt x="96982" y="284019"/>
                    </a:cubicBezTo>
                    <a:cubicBezTo>
                      <a:pt x="117764" y="356755"/>
                      <a:pt x="123537" y="398318"/>
                      <a:pt x="124692" y="436418"/>
                    </a:cubicBezTo>
                    <a:cubicBezTo>
                      <a:pt x="125847" y="474518"/>
                      <a:pt x="121228" y="487219"/>
                      <a:pt x="103910" y="512619"/>
                    </a:cubicBezTo>
                    <a:cubicBezTo>
                      <a:pt x="86592" y="538019"/>
                      <a:pt x="63500" y="569191"/>
                      <a:pt x="20782" y="588819"/>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94" name="Freeform: Shape 293"/>
              <p:cNvSpPr/>
              <p:nvPr/>
            </p:nvSpPr>
            <p:spPr bwMode="auto">
              <a:xfrm>
                <a:off x="8894618" y="4883727"/>
                <a:ext cx="602673" cy="782782"/>
              </a:xfrm>
              <a:custGeom>
                <a:avLst/>
                <a:gdLst>
                  <a:gd name="connsiteX0" fmla="*/ 0 w 602673"/>
                  <a:gd name="connsiteY0" fmla="*/ 0 h 782782"/>
                  <a:gd name="connsiteX1" fmla="*/ 145473 w 602673"/>
                  <a:gd name="connsiteY1" fmla="*/ 381000 h 782782"/>
                  <a:gd name="connsiteX2" fmla="*/ 221673 w 602673"/>
                  <a:gd name="connsiteY2" fmla="*/ 602673 h 782782"/>
                  <a:gd name="connsiteX3" fmla="*/ 290946 w 602673"/>
                  <a:gd name="connsiteY3" fmla="*/ 671945 h 782782"/>
                  <a:gd name="connsiteX4" fmla="*/ 408709 w 602673"/>
                  <a:gd name="connsiteY4" fmla="*/ 699655 h 782782"/>
                  <a:gd name="connsiteX5" fmla="*/ 519546 w 602673"/>
                  <a:gd name="connsiteY5" fmla="*/ 734291 h 782782"/>
                  <a:gd name="connsiteX6" fmla="*/ 602673 w 602673"/>
                  <a:gd name="connsiteY6" fmla="*/ 782782 h 78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673" h="782782">
                    <a:moveTo>
                      <a:pt x="0" y="0"/>
                    </a:moveTo>
                    <a:cubicBezTo>
                      <a:pt x="54264" y="140277"/>
                      <a:pt x="108528" y="280555"/>
                      <a:pt x="145473" y="381000"/>
                    </a:cubicBezTo>
                    <a:cubicBezTo>
                      <a:pt x="182418" y="481445"/>
                      <a:pt x="197428" y="554182"/>
                      <a:pt x="221673" y="602673"/>
                    </a:cubicBezTo>
                    <a:cubicBezTo>
                      <a:pt x="245918" y="651164"/>
                      <a:pt x="259773" y="655781"/>
                      <a:pt x="290946" y="671945"/>
                    </a:cubicBezTo>
                    <a:cubicBezTo>
                      <a:pt x="322119" y="688109"/>
                      <a:pt x="370609" y="689264"/>
                      <a:pt x="408709" y="699655"/>
                    </a:cubicBezTo>
                    <a:cubicBezTo>
                      <a:pt x="446809" y="710046"/>
                      <a:pt x="487219" y="720437"/>
                      <a:pt x="519546" y="734291"/>
                    </a:cubicBezTo>
                    <a:cubicBezTo>
                      <a:pt x="551873" y="748145"/>
                      <a:pt x="577273" y="765463"/>
                      <a:pt x="602673" y="782782"/>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sp>
          <p:nvSpPr>
            <p:cNvPr id="176" name="Freeform: Shape 175"/>
            <p:cNvSpPr/>
            <p:nvPr/>
          </p:nvSpPr>
          <p:spPr bwMode="auto">
            <a:xfrm>
              <a:off x="18495818" y="7213854"/>
              <a:ext cx="1863437" cy="579328"/>
            </a:xfrm>
            <a:custGeom>
              <a:avLst/>
              <a:gdLst>
                <a:gd name="connsiteX0" fmla="*/ 0 w 1863437"/>
                <a:gd name="connsiteY0" fmla="*/ 579328 h 579328"/>
                <a:gd name="connsiteX1" fmla="*/ 713509 w 1863437"/>
                <a:gd name="connsiteY1" fmla="*/ 364582 h 579328"/>
                <a:gd name="connsiteX2" fmla="*/ 1281546 w 1863437"/>
                <a:gd name="connsiteY2" fmla="*/ 149837 h 579328"/>
                <a:gd name="connsiteX3" fmla="*/ 1745673 w 1863437"/>
                <a:gd name="connsiteY3" fmla="*/ 18219 h 579328"/>
                <a:gd name="connsiteX4" fmla="*/ 1863437 w 1863437"/>
                <a:gd name="connsiteY4" fmla="*/ 4364 h 579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437" h="579328">
                  <a:moveTo>
                    <a:pt x="0" y="579328"/>
                  </a:moveTo>
                  <a:cubicBezTo>
                    <a:pt x="249959" y="507746"/>
                    <a:pt x="499918" y="436164"/>
                    <a:pt x="713509" y="364582"/>
                  </a:cubicBezTo>
                  <a:cubicBezTo>
                    <a:pt x="927100" y="293000"/>
                    <a:pt x="1109519" y="207564"/>
                    <a:pt x="1281546" y="149837"/>
                  </a:cubicBezTo>
                  <a:cubicBezTo>
                    <a:pt x="1453573" y="92110"/>
                    <a:pt x="1648691" y="42464"/>
                    <a:pt x="1745673" y="18219"/>
                  </a:cubicBezTo>
                  <a:cubicBezTo>
                    <a:pt x="1842655" y="-6026"/>
                    <a:pt x="1853046" y="-831"/>
                    <a:pt x="1863437" y="436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177" name="Freeform: Shape 176"/>
            <p:cNvSpPr/>
            <p:nvPr/>
          </p:nvSpPr>
          <p:spPr bwMode="auto">
            <a:xfrm>
              <a:off x="18599728" y="4350327"/>
              <a:ext cx="1655617" cy="1414285"/>
            </a:xfrm>
            <a:custGeom>
              <a:avLst/>
              <a:gdLst>
                <a:gd name="connsiteX0" fmla="*/ 332509 w 1641763"/>
                <a:gd name="connsiteY0" fmla="*/ 0 h 1435067"/>
                <a:gd name="connsiteX1" fmla="*/ 193963 w 1641763"/>
                <a:gd name="connsiteY1" fmla="*/ 221673 h 1435067"/>
                <a:gd name="connsiteX2" fmla="*/ 48491 w 1641763"/>
                <a:gd name="connsiteY2" fmla="*/ 429491 h 1435067"/>
                <a:gd name="connsiteX3" fmla="*/ 0 w 1641763"/>
                <a:gd name="connsiteY3" fmla="*/ 519546 h 1435067"/>
                <a:gd name="connsiteX4" fmla="*/ 48491 w 1641763"/>
                <a:gd name="connsiteY4" fmla="*/ 699655 h 1435067"/>
                <a:gd name="connsiteX5" fmla="*/ 235527 w 1641763"/>
                <a:gd name="connsiteY5" fmla="*/ 914400 h 1435067"/>
                <a:gd name="connsiteX6" fmla="*/ 540327 w 1641763"/>
                <a:gd name="connsiteY6" fmla="*/ 1149928 h 1435067"/>
                <a:gd name="connsiteX7" fmla="*/ 886691 w 1641763"/>
                <a:gd name="connsiteY7" fmla="*/ 1330037 h 1435067"/>
                <a:gd name="connsiteX8" fmla="*/ 1184563 w 1641763"/>
                <a:gd name="connsiteY8" fmla="*/ 1406237 h 1435067"/>
                <a:gd name="connsiteX9" fmla="*/ 1406236 w 1641763"/>
                <a:gd name="connsiteY9" fmla="*/ 1433946 h 1435067"/>
                <a:gd name="connsiteX10" fmla="*/ 1641763 w 1641763"/>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699655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720437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53290 w 1655617"/>
                <a:gd name="connsiteY0" fmla="*/ 0 h 1414285"/>
                <a:gd name="connsiteX1" fmla="*/ 207817 w 1655617"/>
                <a:gd name="connsiteY1" fmla="*/ 200891 h 1414285"/>
                <a:gd name="connsiteX2" fmla="*/ 62345 w 1655617"/>
                <a:gd name="connsiteY2" fmla="*/ 408709 h 1414285"/>
                <a:gd name="connsiteX3" fmla="*/ 0 w 1655617"/>
                <a:gd name="connsiteY3" fmla="*/ 526473 h 1414285"/>
                <a:gd name="connsiteX4" fmla="*/ 62345 w 1655617"/>
                <a:gd name="connsiteY4" fmla="*/ 699655 h 1414285"/>
                <a:gd name="connsiteX5" fmla="*/ 249381 w 1655617"/>
                <a:gd name="connsiteY5" fmla="*/ 893618 h 1414285"/>
                <a:gd name="connsiteX6" fmla="*/ 554181 w 1655617"/>
                <a:gd name="connsiteY6" fmla="*/ 1129146 h 1414285"/>
                <a:gd name="connsiteX7" fmla="*/ 900545 w 1655617"/>
                <a:gd name="connsiteY7" fmla="*/ 1309255 h 1414285"/>
                <a:gd name="connsiteX8" fmla="*/ 1198417 w 1655617"/>
                <a:gd name="connsiteY8" fmla="*/ 1385455 h 1414285"/>
                <a:gd name="connsiteX9" fmla="*/ 1420090 w 1655617"/>
                <a:gd name="connsiteY9" fmla="*/ 1413164 h 1414285"/>
                <a:gd name="connsiteX10" fmla="*/ 1655617 w 1655617"/>
                <a:gd name="connsiteY10" fmla="*/ 1406237 h 141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5617" h="1414285">
                  <a:moveTo>
                    <a:pt x="353290" y="0"/>
                  </a:moveTo>
                  <a:cubicBezTo>
                    <a:pt x="307685" y="75045"/>
                    <a:pt x="256308" y="132773"/>
                    <a:pt x="207817" y="200891"/>
                  </a:cubicBezTo>
                  <a:cubicBezTo>
                    <a:pt x="159326" y="269009"/>
                    <a:pt x="96981" y="354445"/>
                    <a:pt x="62345" y="408709"/>
                  </a:cubicBezTo>
                  <a:cubicBezTo>
                    <a:pt x="27709" y="462973"/>
                    <a:pt x="0" y="477982"/>
                    <a:pt x="0" y="526473"/>
                  </a:cubicBezTo>
                  <a:cubicBezTo>
                    <a:pt x="0" y="574964"/>
                    <a:pt x="20782" y="638464"/>
                    <a:pt x="62345" y="699655"/>
                  </a:cubicBezTo>
                  <a:cubicBezTo>
                    <a:pt x="103908" y="760846"/>
                    <a:pt x="167408" y="822036"/>
                    <a:pt x="249381" y="893618"/>
                  </a:cubicBezTo>
                  <a:cubicBezTo>
                    <a:pt x="331354" y="965200"/>
                    <a:pt x="445654" y="1059873"/>
                    <a:pt x="554181" y="1129146"/>
                  </a:cubicBezTo>
                  <a:cubicBezTo>
                    <a:pt x="662708" y="1198419"/>
                    <a:pt x="793172" y="1266537"/>
                    <a:pt x="900545" y="1309255"/>
                  </a:cubicBezTo>
                  <a:cubicBezTo>
                    <a:pt x="1007918" y="1351973"/>
                    <a:pt x="1111826" y="1368137"/>
                    <a:pt x="1198417" y="1385455"/>
                  </a:cubicBezTo>
                  <a:cubicBezTo>
                    <a:pt x="1285008" y="1402773"/>
                    <a:pt x="1343890" y="1409700"/>
                    <a:pt x="1420090" y="1413164"/>
                  </a:cubicBezTo>
                  <a:cubicBezTo>
                    <a:pt x="1496290" y="1416628"/>
                    <a:pt x="1575953" y="1411432"/>
                    <a:pt x="1655617" y="1406237"/>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178" name="Freeform: Shape 177"/>
            <p:cNvSpPr/>
            <p:nvPr/>
          </p:nvSpPr>
          <p:spPr bwMode="auto">
            <a:xfrm>
              <a:off x="17463655" y="5527964"/>
              <a:ext cx="1766454" cy="762000"/>
            </a:xfrm>
            <a:custGeom>
              <a:avLst/>
              <a:gdLst>
                <a:gd name="connsiteX0" fmla="*/ 0 w 1766454"/>
                <a:gd name="connsiteY0" fmla="*/ 762000 h 762000"/>
                <a:gd name="connsiteX1" fmla="*/ 616527 w 1766454"/>
                <a:gd name="connsiteY1" fmla="*/ 665018 h 762000"/>
                <a:gd name="connsiteX2" fmla="*/ 1357745 w 1766454"/>
                <a:gd name="connsiteY2" fmla="*/ 554181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86345 w 1766454"/>
                <a:gd name="connsiteY4" fmla="*/ 346363 h 762000"/>
                <a:gd name="connsiteX5" fmla="*/ 1766454 w 1766454"/>
                <a:gd name="connsiteY5"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6454" h="762000">
                  <a:moveTo>
                    <a:pt x="0" y="762000"/>
                  </a:moveTo>
                  <a:lnTo>
                    <a:pt x="616527" y="665018"/>
                  </a:lnTo>
                  <a:cubicBezTo>
                    <a:pt x="849745" y="625763"/>
                    <a:pt x="1169554" y="578426"/>
                    <a:pt x="1316181" y="547253"/>
                  </a:cubicBezTo>
                  <a:cubicBezTo>
                    <a:pt x="1462808" y="516080"/>
                    <a:pt x="1451263" y="511464"/>
                    <a:pt x="1496290" y="477982"/>
                  </a:cubicBezTo>
                  <a:cubicBezTo>
                    <a:pt x="1541317" y="444500"/>
                    <a:pt x="1541318" y="426027"/>
                    <a:pt x="1586345" y="346363"/>
                  </a:cubicBezTo>
                  <a:cubicBezTo>
                    <a:pt x="1631372" y="266699"/>
                    <a:pt x="1704109" y="115454"/>
                    <a:pt x="1766454"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179" name="Freeform: Shape 178"/>
            <p:cNvSpPr/>
            <p:nvPr/>
          </p:nvSpPr>
          <p:spPr bwMode="auto">
            <a:xfrm>
              <a:off x="19375582" y="5604164"/>
              <a:ext cx="207818" cy="505691"/>
            </a:xfrm>
            <a:custGeom>
              <a:avLst/>
              <a:gdLst>
                <a:gd name="connsiteX0" fmla="*/ 0 w 207818"/>
                <a:gd name="connsiteY0" fmla="*/ 0 h 505691"/>
                <a:gd name="connsiteX1" fmla="*/ 69273 w 207818"/>
                <a:gd name="connsiteY1" fmla="*/ 256309 h 505691"/>
                <a:gd name="connsiteX2" fmla="*/ 207818 w 207818"/>
                <a:gd name="connsiteY2" fmla="*/ 505691 h 505691"/>
              </a:gdLst>
              <a:ahLst/>
              <a:cxnLst>
                <a:cxn ang="0">
                  <a:pos x="connsiteX0" y="connsiteY0"/>
                </a:cxn>
                <a:cxn ang="0">
                  <a:pos x="connsiteX1" y="connsiteY1"/>
                </a:cxn>
                <a:cxn ang="0">
                  <a:pos x="connsiteX2" y="connsiteY2"/>
                </a:cxn>
              </a:cxnLst>
              <a:rect l="l" t="t" r="r" b="b"/>
              <a:pathLst>
                <a:path w="207818" h="505691">
                  <a:moveTo>
                    <a:pt x="0" y="0"/>
                  </a:moveTo>
                  <a:cubicBezTo>
                    <a:pt x="17318" y="86013"/>
                    <a:pt x="34637" y="172027"/>
                    <a:pt x="69273" y="256309"/>
                  </a:cubicBezTo>
                  <a:cubicBezTo>
                    <a:pt x="103909" y="340591"/>
                    <a:pt x="155863" y="423141"/>
                    <a:pt x="207818" y="505691"/>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cxnSp>
          <p:nvCxnSpPr>
            <p:cNvPr id="180" name="Straight Connector 179"/>
            <p:cNvCxnSpPr/>
            <p:nvPr/>
          </p:nvCxnSpPr>
          <p:spPr>
            <a:xfrm>
              <a:off x="16349139" y="4862946"/>
              <a:ext cx="2146679" cy="0"/>
            </a:xfrm>
            <a:prstGeom prst="line">
              <a:avLst/>
            </a:prstGeom>
            <a:noFill/>
            <a:ln w="9525" cap="rnd" cmpd="sng" algn="ctr">
              <a:solidFill>
                <a:srgbClr val="0072C6"/>
              </a:solidFill>
              <a:prstDash val="solid"/>
              <a:headEnd type="none"/>
              <a:tailEnd type="none"/>
            </a:ln>
            <a:effectLst/>
            <a:scene3d>
              <a:camera prst="orthographicFront">
                <a:rot lat="0" lon="0" rev="18000"/>
              </a:camera>
              <a:lightRig rig="threePt" dir="t"/>
            </a:scene3d>
          </p:spPr>
        </p:cxnSp>
        <p:cxnSp>
          <p:nvCxnSpPr>
            <p:cNvPr id="181" name="Straight Connector 180"/>
            <p:cNvCxnSpPr/>
            <p:nvPr/>
          </p:nvCxnSpPr>
          <p:spPr>
            <a:xfrm>
              <a:off x="16759807" y="4441150"/>
              <a:ext cx="1932204" cy="0"/>
            </a:xfrm>
            <a:prstGeom prst="line">
              <a:avLst/>
            </a:prstGeom>
            <a:noFill/>
            <a:ln w="9525" cap="rnd" cmpd="sng" algn="ctr">
              <a:solidFill>
                <a:srgbClr val="0072C6"/>
              </a:solidFill>
              <a:prstDash val="solid"/>
              <a:headEnd type="none"/>
              <a:tailEnd type="none"/>
            </a:ln>
            <a:effectLst/>
            <a:scene3d>
              <a:camera prst="orthographicFront">
                <a:rot lat="0" lon="0" rev="36000"/>
              </a:camera>
              <a:lightRig rig="threePt" dir="t"/>
            </a:scene3d>
          </p:spPr>
        </p:cxnSp>
        <p:sp>
          <p:nvSpPr>
            <p:cNvPr id="182" name="Freeform: Shape 181"/>
            <p:cNvSpPr/>
            <p:nvPr/>
          </p:nvSpPr>
          <p:spPr bwMode="auto">
            <a:xfrm>
              <a:off x="17697479" y="2826327"/>
              <a:ext cx="2294630" cy="1706011"/>
            </a:xfrm>
            <a:custGeom>
              <a:avLst/>
              <a:gdLst>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72412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697348"/>
                <a:gd name="connsiteX1" fmla="*/ 8630 w 2294630"/>
                <a:gd name="connsiteY1" fmla="*/ 152400 h 1697348"/>
                <a:gd name="connsiteX2" fmla="*/ 119466 w 2294630"/>
                <a:gd name="connsiteY2" fmla="*/ 284018 h 1697348"/>
                <a:gd name="connsiteX3" fmla="*/ 576666 w 2294630"/>
                <a:gd name="connsiteY3" fmla="*/ 748146 h 1697348"/>
                <a:gd name="connsiteX4" fmla="*/ 1144703 w 2294630"/>
                <a:gd name="connsiteY4" fmla="*/ 1385455 h 1697348"/>
                <a:gd name="connsiteX5" fmla="*/ 1248612 w 2294630"/>
                <a:gd name="connsiteY5" fmla="*/ 1503218 h 1697348"/>
                <a:gd name="connsiteX6" fmla="*/ 1435648 w 2294630"/>
                <a:gd name="connsiteY6" fmla="*/ 1593273 h 1697348"/>
                <a:gd name="connsiteX7" fmla="*/ 1858212 w 2294630"/>
                <a:gd name="connsiteY7" fmla="*/ 1676401 h 1697348"/>
                <a:gd name="connsiteX8" fmla="*/ 2072957 w 2294630"/>
                <a:gd name="connsiteY8" fmla="*/ 1697182 h 1697348"/>
                <a:gd name="connsiteX9" fmla="*/ 2294630 w 2294630"/>
                <a:gd name="connsiteY9" fmla="*/ 1669473 h 1697348"/>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9884 w 2294630"/>
                <a:gd name="connsiteY8" fmla="*/ 1697182 h 1706011"/>
                <a:gd name="connsiteX9" fmla="*/ 2294630 w 2294630"/>
                <a:gd name="connsiteY9" fmla="*/ 1669473 h 170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4630" h="1706011">
                  <a:moveTo>
                    <a:pt x="15557" y="0"/>
                  </a:moveTo>
                  <a:cubicBezTo>
                    <a:pt x="3434" y="42141"/>
                    <a:pt x="-8688" y="105064"/>
                    <a:pt x="8630" y="152400"/>
                  </a:cubicBezTo>
                  <a:cubicBezTo>
                    <a:pt x="25948" y="199736"/>
                    <a:pt x="24793" y="184727"/>
                    <a:pt x="119466" y="284018"/>
                  </a:cubicBezTo>
                  <a:cubicBezTo>
                    <a:pt x="214139" y="383309"/>
                    <a:pt x="405793" y="564573"/>
                    <a:pt x="576666" y="748146"/>
                  </a:cubicBezTo>
                  <a:cubicBezTo>
                    <a:pt x="747539" y="931719"/>
                    <a:pt x="1032712" y="1259610"/>
                    <a:pt x="1144703" y="1385455"/>
                  </a:cubicBezTo>
                  <a:cubicBezTo>
                    <a:pt x="1256694" y="1511300"/>
                    <a:pt x="1200121" y="1468582"/>
                    <a:pt x="1248612" y="1503218"/>
                  </a:cubicBezTo>
                  <a:cubicBezTo>
                    <a:pt x="1297103" y="1537854"/>
                    <a:pt x="1334048" y="1560946"/>
                    <a:pt x="1435648" y="1593273"/>
                  </a:cubicBezTo>
                  <a:cubicBezTo>
                    <a:pt x="1537248" y="1625600"/>
                    <a:pt x="1750839" y="1679864"/>
                    <a:pt x="1858212" y="1697182"/>
                  </a:cubicBezTo>
                  <a:cubicBezTo>
                    <a:pt x="1965585" y="1714500"/>
                    <a:pt x="2007148" y="1701800"/>
                    <a:pt x="2079884" y="1697182"/>
                  </a:cubicBezTo>
                  <a:cubicBezTo>
                    <a:pt x="2152620" y="1692564"/>
                    <a:pt x="2220161" y="1681018"/>
                    <a:pt x="2294630" y="166947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183" name="Freeform: Shape 182"/>
            <p:cNvSpPr/>
            <p:nvPr/>
          </p:nvSpPr>
          <p:spPr bwMode="auto">
            <a:xfrm>
              <a:off x="18650071" y="3179616"/>
              <a:ext cx="1196564" cy="1177809"/>
            </a:xfrm>
            <a:custGeom>
              <a:avLst/>
              <a:gdLst>
                <a:gd name="connsiteX0" fmla="*/ 1185130 w 1185130"/>
                <a:gd name="connsiteY0" fmla="*/ 1136073 h 1157026"/>
                <a:gd name="connsiteX1" fmla="*/ 1032730 w 1185130"/>
                <a:gd name="connsiteY1" fmla="*/ 1156855 h 1157026"/>
                <a:gd name="connsiteX2" fmla="*/ 928821 w 1185130"/>
                <a:gd name="connsiteY2" fmla="*/ 1136073 h 1157026"/>
                <a:gd name="connsiteX3" fmla="*/ 734858 w 1185130"/>
                <a:gd name="connsiteY3" fmla="*/ 1011382 h 1157026"/>
                <a:gd name="connsiteX4" fmla="*/ 249949 w 1185130"/>
                <a:gd name="connsiteY4" fmla="*/ 526473 h 1157026"/>
                <a:gd name="connsiteX5" fmla="*/ 28276 w 1185130"/>
                <a:gd name="connsiteY5" fmla="*/ 242455 h 1157026"/>
                <a:gd name="connsiteX6" fmla="*/ 7494 w 1185130"/>
                <a:gd name="connsiteY6" fmla="*/ 131618 h 1157026"/>
                <a:gd name="connsiteX7" fmla="*/ 69839 w 1185130"/>
                <a:gd name="connsiteY7" fmla="*/ 34636 h 1157026"/>
                <a:gd name="connsiteX8" fmla="*/ 180676 w 1185130"/>
                <a:gd name="connsiteY8" fmla="*/ 0 h 1157026"/>
                <a:gd name="connsiteX0" fmla="*/ 1188932 w 1188932"/>
                <a:gd name="connsiteY0" fmla="*/ 1136073 h 1157026"/>
                <a:gd name="connsiteX1" fmla="*/ 1036532 w 1188932"/>
                <a:gd name="connsiteY1" fmla="*/ 1156855 h 1157026"/>
                <a:gd name="connsiteX2" fmla="*/ 932623 w 1188932"/>
                <a:gd name="connsiteY2" fmla="*/ 1136073 h 1157026"/>
                <a:gd name="connsiteX3" fmla="*/ 738660 w 1188932"/>
                <a:gd name="connsiteY3" fmla="*/ 1011382 h 1157026"/>
                <a:gd name="connsiteX4" fmla="*/ 253751 w 1188932"/>
                <a:gd name="connsiteY4" fmla="*/ 526473 h 1157026"/>
                <a:gd name="connsiteX5" fmla="*/ 25151 w 1188932"/>
                <a:gd name="connsiteY5" fmla="*/ 249382 h 1157026"/>
                <a:gd name="connsiteX6" fmla="*/ 11296 w 1188932"/>
                <a:gd name="connsiteY6" fmla="*/ 131618 h 1157026"/>
                <a:gd name="connsiteX7" fmla="*/ 73641 w 1188932"/>
                <a:gd name="connsiteY7" fmla="*/ 34636 h 1157026"/>
                <a:gd name="connsiteX8" fmla="*/ 184478 w 1188932"/>
                <a:gd name="connsiteY8" fmla="*/ 0 h 1157026"/>
                <a:gd name="connsiteX0" fmla="*/ 1189347 w 1189347"/>
                <a:gd name="connsiteY0" fmla="*/ 1136073 h 1157026"/>
                <a:gd name="connsiteX1" fmla="*/ 1036947 w 1189347"/>
                <a:gd name="connsiteY1" fmla="*/ 1156855 h 1157026"/>
                <a:gd name="connsiteX2" fmla="*/ 933038 w 1189347"/>
                <a:gd name="connsiteY2" fmla="*/ 1136073 h 1157026"/>
                <a:gd name="connsiteX3" fmla="*/ 739075 w 1189347"/>
                <a:gd name="connsiteY3" fmla="*/ 1011382 h 1157026"/>
                <a:gd name="connsiteX4" fmla="*/ 254166 w 1189347"/>
                <a:gd name="connsiteY4" fmla="*/ 526473 h 1157026"/>
                <a:gd name="connsiteX5" fmla="*/ 25566 w 1189347"/>
                <a:gd name="connsiteY5" fmla="*/ 249382 h 1157026"/>
                <a:gd name="connsiteX6" fmla="*/ 11711 w 1189347"/>
                <a:gd name="connsiteY6" fmla="*/ 131618 h 1157026"/>
                <a:gd name="connsiteX7" fmla="*/ 80983 w 1189347"/>
                <a:gd name="connsiteY7" fmla="*/ 48490 h 1157026"/>
                <a:gd name="connsiteX8" fmla="*/ 184893 w 1189347"/>
                <a:gd name="connsiteY8" fmla="*/ 0 h 1157026"/>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087583 h 1108536"/>
                <a:gd name="connsiteX1" fmla="*/ 1036947 w 1189347"/>
                <a:gd name="connsiteY1" fmla="*/ 1108365 h 1108536"/>
                <a:gd name="connsiteX2" fmla="*/ 933038 w 1189347"/>
                <a:gd name="connsiteY2" fmla="*/ 1087583 h 1108536"/>
                <a:gd name="connsiteX3" fmla="*/ 739075 w 1189347"/>
                <a:gd name="connsiteY3" fmla="*/ 962892 h 1108536"/>
                <a:gd name="connsiteX4" fmla="*/ 254166 w 1189347"/>
                <a:gd name="connsiteY4" fmla="*/ 477983 h 1108536"/>
                <a:gd name="connsiteX5" fmla="*/ 25566 w 1189347"/>
                <a:gd name="connsiteY5" fmla="*/ 200892 h 1108536"/>
                <a:gd name="connsiteX6" fmla="*/ 11711 w 1189347"/>
                <a:gd name="connsiteY6" fmla="*/ 83128 h 1108536"/>
                <a:gd name="connsiteX7" fmla="*/ 80983 w 1189347"/>
                <a:gd name="connsiteY7" fmla="*/ 0 h 1108536"/>
                <a:gd name="connsiteX0" fmla="*/ 1196564 w 1196564"/>
                <a:gd name="connsiteY0" fmla="*/ 1156856 h 1177809"/>
                <a:gd name="connsiteX1" fmla="*/ 1044164 w 1196564"/>
                <a:gd name="connsiteY1" fmla="*/ 1177638 h 1177809"/>
                <a:gd name="connsiteX2" fmla="*/ 940255 w 1196564"/>
                <a:gd name="connsiteY2" fmla="*/ 1156856 h 1177809"/>
                <a:gd name="connsiteX3" fmla="*/ 746292 w 1196564"/>
                <a:gd name="connsiteY3" fmla="*/ 1032165 h 1177809"/>
                <a:gd name="connsiteX4" fmla="*/ 261383 w 1196564"/>
                <a:gd name="connsiteY4" fmla="*/ 547256 h 1177809"/>
                <a:gd name="connsiteX5" fmla="*/ 32783 w 1196564"/>
                <a:gd name="connsiteY5" fmla="*/ 270165 h 1177809"/>
                <a:gd name="connsiteX6" fmla="*/ 18928 w 1196564"/>
                <a:gd name="connsiteY6" fmla="*/ 152401 h 1177809"/>
                <a:gd name="connsiteX7" fmla="*/ 199036 w 1196564"/>
                <a:gd name="connsiteY7" fmla="*/ 0 h 117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564" h="1177809">
                  <a:moveTo>
                    <a:pt x="1196564" y="1156856"/>
                  </a:moveTo>
                  <a:cubicBezTo>
                    <a:pt x="1141723" y="1167247"/>
                    <a:pt x="1086882" y="1177638"/>
                    <a:pt x="1044164" y="1177638"/>
                  </a:cubicBezTo>
                  <a:cubicBezTo>
                    <a:pt x="1001446" y="1177638"/>
                    <a:pt x="989900" y="1181102"/>
                    <a:pt x="940255" y="1156856"/>
                  </a:cubicBezTo>
                  <a:cubicBezTo>
                    <a:pt x="890610" y="1132610"/>
                    <a:pt x="859437" y="1133765"/>
                    <a:pt x="746292" y="1032165"/>
                  </a:cubicBezTo>
                  <a:cubicBezTo>
                    <a:pt x="633147" y="930565"/>
                    <a:pt x="380301" y="674256"/>
                    <a:pt x="261383" y="547256"/>
                  </a:cubicBezTo>
                  <a:cubicBezTo>
                    <a:pt x="142465" y="420256"/>
                    <a:pt x="73192" y="335974"/>
                    <a:pt x="32783" y="270165"/>
                  </a:cubicBezTo>
                  <a:cubicBezTo>
                    <a:pt x="-7626" y="204356"/>
                    <a:pt x="-8781" y="197428"/>
                    <a:pt x="18928" y="152401"/>
                  </a:cubicBezTo>
                  <a:cubicBezTo>
                    <a:pt x="46637" y="107374"/>
                    <a:pt x="172482" y="23091"/>
                    <a:pt x="199036"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184" name="Freeform: Shape 183"/>
            <p:cNvSpPr/>
            <p:nvPr/>
          </p:nvSpPr>
          <p:spPr bwMode="auto">
            <a:xfrm>
              <a:off x="12919678" y="4210738"/>
              <a:ext cx="3698850" cy="3055971"/>
            </a:xfrm>
            <a:custGeom>
              <a:avLst/>
              <a:gdLst>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03782 w 3703782"/>
                <a:gd name="connsiteY0" fmla="*/ 1044 h 3055971"/>
                <a:gd name="connsiteX1" fmla="*/ 3537528 w 3703782"/>
                <a:gd name="connsiteY1" fmla="*/ 14898 h 3055971"/>
                <a:gd name="connsiteX2" fmla="*/ 3405910 w 3703782"/>
                <a:gd name="connsiteY2" fmla="*/ 104953 h 3055971"/>
                <a:gd name="connsiteX3" fmla="*/ 3295073 w 3703782"/>
                <a:gd name="connsiteY3" fmla="*/ 298917 h 3055971"/>
                <a:gd name="connsiteX4" fmla="*/ 3184237 w 3703782"/>
                <a:gd name="connsiteY4" fmla="*/ 513662 h 3055971"/>
                <a:gd name="connsiteX5" fmla="*/ 2990273 w 3703782"/>
                <a:gd name="connsiteY5" fmla="*/ 776898 h 3055971"/>
                <a:gd name="connsiteX6" fmla="*/ 2678546 w 3703782"/>
                <a:gd name="connsiteY6" fmla="*/ 1116335 h 3055971"/>
                <a:gd name="connsiteX7" fmla="*/ 2387600 w 3703782"/>
                <a:gd name="connsiteY7" fmla="*/ 1511189 h 3055971"/>
                <a:gd name="connsiteX8" fmla="*/ 2165928 w 3703782"/>
                <a:gd name="connsiteY8" fmla="*/ 1836771 h 3055971"/>
                <a:gd name="connsiteX9" fmla="*/ 1985819 w 3703782"/>
                <a:gd name="connsiteY9" fmla="*/ 2176207 h 3055971"/>
                <a:gd name="connsiteX10" fmla="*/ 1833419 w 3703782"/>
                <a:gd name="connsiteY10" fmla="*/ 2411735 h 3055971"/>
                <a:gd name="connsiteX11" fmla="*/ 1798782 w 3703782"/>
                <a:gd name="connsiteY11" fmla="*/ 2487935 h 3055971"/>
                <a:gd name="connsiteX12" fmla="*/ 1708728 w 3703782"/>
                <a:gd name="connsiteY12" fmla="*/ 2487935 h 3055971"/>
                <a:gd name="connsiteX13" fmla="*/ 1099128 w 3703782"/>
                <a:gd name="connsiteY13" fmla="*/ 2460226 h 3055971"/>
                <a:gd name="connsiteX14" fmla="*/ 496455 w 3703782"/>
                <a:gd name="connsiteY14" fmla="*/ 2460226 h 3055971"/>
                <a:gd name="connsiteX15" fmla="*/ 260928 w 3703782"/>
                <a:gd name="connsiteY15" fmla="*/ 2474080 h 3055971"/>
                <a:gd name="connsiteX16" fmla="*/ 73891 w 3703782"/>
                <a:gd name="connsiteY16" fmla="*/ 2591844 h 3055971"/>
                <a:gd name="connsiteX17" fmla="*/ 4619 w 3703782"/>
                <a:gd name="connsiteY17" fmla="*/ 2744244 h 3055971"/>
                <a:gd name="connsiteX18" fmla="*/ 18473 w 3703782"/>
                <a:gd name="connsiteY18" fmla="*/ 2889717 h 3055971"/>
                <a:gd name="connsiteX19" fmla="*/ 115455 w 3703782"/>
                <a:gd name="connsiteY19" fmla="*/ 2910498 h 3055971"/>
                <a:gd name="connsiteX20" fmla="*/ 988291 w 3703782"/>
                <a:gd name="connsiteY20" fmla="*/ 2993626 h 3055971"/>
                <a:gd name="connsiteX21" fmla="*/ 1362364 w 3703782"/>
                <a:gd name="connsiteY21" fmla="*/ 3035189 h 3055971"/>
                <a:gd name="connsiteX22" fmla="*/ 1639455 w 3703782"/>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160996 w 3698850"/>
                <a:gd name="connsiteY7" fmla="*/ 1836771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49269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98850" h="3055971">
                  <a:moveTo>
                    <a:pt x="3698850" y="1044"/>
                  </a:moveTo>
                  <a:cubicBezTo>
                    <a:pt x="3640545" y="-688"/>
                    <a:pt x="3582241" y="-2420"/>
                    <a:pt x="3532596" y="14898"/>
                  </a:cubicBezTo>
                  <a:cubicBezTo>
                    <a:pt x="3482951" y="32216"/>
                    <a:pt x="3441387" y="57616"/>
                    <a:pt x="3400978" y="104953"/>
                  </a:cubicBezTo>
                  <a:cubicBezTo>
                    <a:pt x="3360569" y="152290"/>
                    <a:pt x="3327086" y="230799"/>
                    <a:pt x="3290141" y="298917"/>
                  </a:cubicBezTo>
                  <a:cubicBezTo>
                    <a:pt x="3253196" y="367035"/>
                    <a:pt x="3223178" y="427071"/>
                    <a:pt x="3179305" y="513662"/>
                  </a:cubicBezTo>
                  <a:cubicBezTo>
                    <a:pt x="3135432" y="600253"/>
                    <a:pt x="3069623" y="676453"/>
                    <a:pt x="2985341" y="776898"/>
                  </a:cubicBezTo>
                  <a:cubicBezTo>
                    <a:pt x="2901059" y="877343"/>
                    <a:pt x="2786759" y="976635"/>
                    <a:pt x="2673614" y="1116335"/>
                  </a:cubicBezTo>
                  <a:cubicBezTo>
                    <a:pt x="2560469" y="1256035"/>
                    <a:pt x="2421922" y="1438453"/>
                    <a:pt x="2306468" y="1615098"/>
                  </a:cubicBezTo>
                  <a:cubicBezTo>
                    <a:pt x="2191014" y="1791743"/>
                    <a:pt x="2057087" y="2043434"/>
                    <a:pt x="1980887" y="2176207"/>
                  </a:cubicBezTo>
                  <a:cubicBezTo>
                    <a:pt x="1904687" y="2308980"/>
                    <a:pt x="1880442" y="2359780"/>
                    <a:pt x="1849269" y="2411735"/>
                  </a:cubicBezTo>
                  <a:cubicBezTo>
                    <a:pt x="1818096" y="2463690"/>
                    <a:pt x="1818095" y="2475235"/>
                    <a:pt x="1793850" y="2487935"/>
                  </a:cubicBezTo>
                  <a:cubicBezTo>
                    <a:pt x="1769605" y="2500635"/>
                    <a:pt x="1703796" y="2487935"/>
                    <a:pt x="1703796" y="2487935"/>
                  </a:cubicBezTo>
                  <a:cubicBezTo>
                    <a:pt x="1587187" y="2483317"/>
                    <a:pt x="1296241" y="2464844"/>
                    <a:pt x="1094196" y="2460226"/>
                  </a:cubicBezTo>
                  <a:cubicBezTo>
                    <a:pt x="892151" y="2455608"/>
                    <a:pt x="631223" y="2457917"/>
                    <a:pt x="491523" y="2460226"/>
                  </a:cubicBezTo>
                  <a:cubicBezTo>
                    <a:pt x="351823" y="2462535"/>
                    <a:pt x="326423" y="2452144"/>
                    <a:pt x="255996" y="2474080"/>
                  </a:cubicBezTo>
                  <a:cubicBezTo>
                    <a:pt x="185569" y="2496016"/>
                    <a:pt x="110523" y="2546817"/>
                    <a:pt x="68959" y="2591844"/>
                  </a:cubicBezTo>
                  <a:cubicBezTo>
                    <a:pt x="27395" y="2636871"/>
                    <a:pt x="15850" y="2694599"/>
                    <a:pt x="6614" y="2744244"/>
                  </a:cubicBezTo>
                  <a:cubicBezTo>
                    <a:pt x="-2622" y="2793889"/>
                    <a:pt x="-3777" y="2862008"/>
                    <a:pt x="13541" y="2889717"/>
                  </a:cubicBezTo>
                  <a:cubicBezTo>
                    <a:pt x="30859" y="2917426"/>
                    <a:pt x="-51113" y="2893180"/>
                    <a:pt x="110523" y="2910498"/>
                  </a:cubicBezTo>
                  <a:cubicBezTo>
                    <a:pt x="272159" y="2927816"/>
                    <a:pt x="775541" y="2972844"/>
                    <a:pt x="983359" y="2993626"/>
                  </a:cubicBezTo>
                  <a:cubicBezTo>
                    <a:pt x="1191177" y="3014408"/>
                    <a:pt x="1248905" y="3024798"/>
                    <a:pt x="1357432" y="3035189"/>
                  </a:cubicBezTo>
                  <a:cubicBezTo>
                    <a:pt x="1465959" y="3045580"/>
                    <a:pt x="1550241" y="3050775"/>
                    <a:pt x="1634523" y="3055971"/>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185" name="Freeform: Shape 184"/>
            <p:cNvSpPr/>
            <p:nvPr/>
          </p:nvSpPr>
          <p:spPr bwMode="auto">
            <a:xfrm>
              <a:off x="12654210" y="3522637"/>
              <a:ext cx="553886" cy="884114"/>
            </a:xfrm>
            <a:custGeom>
              <a:avLst/>
              <a:gdLst>
                <a:gd name="connsiteX0" fmla="*/ 42145 w 552240"/>
                <a:gd name="connsiteY0" fmla="*/ 820135 h 884678"/>
                <a:gd name="connsiteX1" fmla="*/ 312309 w 552240"/>
                <a:gd name="connsiteY1" fmla="*/ 875553 h 884678"/>
                <a:gd name="connsiteX2" fmla="*/ 492418 w 552240"/>
                <a:gd name="connsiteY2" fmla="*/ 868626 h 884678"/>
                <a:gd name="connsiteX3" fmla="*/ 547836 w 552240"/>
                <a:gd name="connsiteY3" fmla="*/ 723153 h 884678"/>
                <a:gd name="connsiteX4" fmla="*/ 540909 w 552240"/>
                <a:gd name="connsiteY4" fmla="*/ 418353 h 884678"/>
                <a:gd name="connsiteX5" fmla="*/ 478563 w 552240"/>
                <a:gd name="connsiteY5" fmla="*/ 85844 h 884678"/>
                <a:gd name="connsiteX6" fmla="*/ 388509 w 552240"/>
                <a:gd name="connsiteY6" fmla="*/ 16571 h 884678"/>
                <a:gd name="connsiteX7" fmla="*/ 215327 w 552240"/>
                <a:gd name="connsiteY7" fmla="*/ 2717 h 884678"/>
                <a:gd name="connsiteX8" fmla="*/ 152981 w 552240"/>
                <a:gd name="connsiteY8" fmla="*/ 58135 h 884678"/>
                <a:gd name="connsiteX9" fmla="*/ 97563 w 552240"/>
                <a:gd name="connsiteY9" fmla="*/ 286735 h 884678"/>
                <a:gd name="connsiteX10" fmla="*/ 7509 w 552240"/>
                <a:gd name="connsiteY10" fmla="*/ 640026 h 884678"/>
                <a:gd name="connsiteX11" fmla="*/ 7509 w 552240"/>
                <a:gd name="connsiteY11" fmla="*/ 771644 h 884678"/>
                <a:gd name="connsiteX12" fmla="*/ 42145 w 552240"/>
                <a:gd name="connsiteY12" fmla="*/ 820135 h 884678"/>
                <a:gd name="connsiteX0" fmla="*/ 42145 w 552550"/>
                <a:gd name="connsiteY0" fmla="*/ 820762 h 885305"/>
                <a:gd name="connsiteX1" fmla="*/ 312309 w 552550"/>
                <a:gd name="connsiteY1" fmla="*/ 876180 h 885305"/>
                <a:gd name="connsiteX2" fmla="*/ 492418 w 552550"/>
                <a:gd name="connsiteY2" fmla="*/ 869253 h 885305"/>
                <a:gd name="connsiteX3" fmla="*/ 547836 w 552550"/>
                <a:gd name="connsiteY3" fmla="*/ 723780 h 885305"/>
                <a:gd name="connsiteX4" fmla="*/ 540909 w 552550"/>
                <a:gd name="connsiteY4" fmla="*/ 418980 h 885305"/>
                <a:gd name="connsiteX5" fmla="*/ 471635 w 552550"/>
                <a:gd name="connsiteY5" fmla="*/ 107252 h 885305"/>
                <a:gd name="connsiteX6" fmla="*/ 388509 w 552550"/>
                <a:gd name="connsiteY6" fmla="*/ 17198 h 885305"/>
                <a:gd name="connsiteX7" fmla="*/ 215327 w 552550"/>
                <a:gd name="connsiteY7" fmla="*/ 3344 h 885305"/>
                <a:gd name="connsiteX8" fmla="*/ 152981 w 552550"/>
                <a:gd name="connsiteY8" fmla="*/ 58762 h 885305"/>
                <a:gd name="connsiteX9" fmla="*/ 97563 w 552550"/>
                <a:gd name="connsiteY9" fmla="*/ 287362 h 885305"/>
                <a:gd name="connsiteX10" fmla="*/ 7509 w 552550"/>
                <a:gd name="connsiteY10" fmla="*/ 640653 h 885305"/>
                <a:gd name="connsiteX11" fmla="*/ 7509 w 552550"/>
                <a:gd name="connsiteY11" fmla="*/ 772271 h 885305"/>
                <a:gd name="connsiteX12" fmla="*/ 42145 w 552550"/>
                <a:gd name="connsiteY12" fmla="*/ 820762 h 885305"/>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98899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85044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886" h="884114">
                  <a:moveTo>
                    <a:pt x="57336" y="841544"/>
                  </a:moveTo>
                  <a:cubicBezTo>
                    <a:pt x="108136" y="858862"/>
                    <a:pt x="240909" y="871562"/>
                    <a:pt x="313645" y="876180"/>
                  </a:cubicBezTo>
                  <a:cubicBezTo>
                    <a:pt x="386381" y="880798"/>
                    <a:pt x="454500" y="894653"/>
                    <a:pt x="493754" y="869253"/>
                  </a:cubicBezTo>
                  <a:cubicBezTo>
                    <a:pt x="533009" y="843853"/>
                    <a:pt x="541090" y="798825"/>
                    <a:pt x="549172" y="723780"/>
                  </a:cubicBezTo>
                  <a:cubicBezTo>
                    <a:pt x="557254" y="648735"/>
                    <a:pt x="554945" y="521735"/>
                    <a:pt x="542245" y="418980"/>
                  </a:cubicBezTo>
                  <a:cubicBezTo>
                    <a:pt x="529545" y="316225"/>
                    <a:pt x="498371" y="174216"/>
                    <a:pt x="472971" y="107252"/>
                  </a:cubicBezTo>
                  <a:cubicBezTo>
                    <a:pt x="447571" y="40288"/>
                    <a:pt x="432563" y="34516"/>
                    <a:pt x="389845" y="17198"/>
                  </a:cubicBezTo>
                  <a:cubicBezTo>
                    <a:pt x="347127" y="-120"/>
                    <a:pt x="255918" y="-3583"/>
                    <a:pt x="216663" y="3344"/>
                  </a:cubicBezTo>
                  <a:cubicBezTo>
                    <a:pt x="177408" y="10271"/>
                    <a:pt x="176253" y="11426"/>
                    <a:pt x="154317" y="58762"/>
                  </a:cubicBezTo>
                  <a:cubicBezTo>
                    <a:pt x="132381" y="106098"/>
                    <a:pt x="109289" y="190380"/>
                    <a:pt x="85044" y="287362"/>
                  </a:cubicBezTo>
                  <a:cubicBezTo>
                    <a:pt x="60799" y="384344"/>
                    <a:pt x="23854" y="559835"/>
                    <a:pt x="8845" y="640653"/>
                  </a:cubicBezTo>
                  <a:cubicBezTo>
                    <a:pt x="-6164" y="721471"/>
                    <a:pt x="763" y="738789"/>
                    <a:pt x="8845" y="772271"/>
                  </a:cubicBezTo>
                  <a:cubicBezTo>
                    <a:pt x="16927" y="805753"/>
                    <a:pt x="6536" y="824226"/>
                    <a:pt x="57336" y="841544"/>
                  </a:cubicBezTo>
                  <a:close/>
                </a:path>
              </a:pathLst>
            </a:cu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186" name="Freeform: Shape 185"/>
            <p:cNvSpPr/>
            <p:nvPr/>
          </p:nvSpPr>
          <p:spPr bwMode="auto">
            <a:xfrm>
              <a:off x="16144427" y="3632827"/>
              <a:ext cx="612645" cy="572142"/>
            </a:xfrm>
            <a:custGeom>
              <a:avLst/>
              <a:gdLst>
                <a:gd name="connsiteX0" fmla="*/ 457897 w 589515"/>
                <a:gd name="connsiteY0" fmla="*/ 557554 h 571523"/>
                <a:gd name="connsiteX1" fmla="*/ 153097 w 589515"/>
                <a:gd name="connsiteY1" fmla="*/ 571409 h 571523"/>
                <a:gd name="connsiteX2" fmla="*/ 49187 w 589515"/>
                <a:gd name="connsiteY2" fmla="*/ 557554 h 571523"/>
                <a:gd name="connsiteX3" fmla="*/ 697 w 589515"/>
                <a:gd name="connsiteY3" fmla="*/ 474427 h 571523"/>
                <a:gd name="connsiteX4" fmla="*/ 21478 w 589515"/>
                <a:gd name="connsiteY4" fmla="*/ 183481 h 571523"/>
                <a:gd name="connsiteX5" fmla="*/ 35333 w 589515"/>
                <a:gd name="connsiteY5" fmla="*/ 24154 h 571523"/>
                <a:gd name="connsiteX6" fmla="*/ 180806 w 589515"/>
                <a:gd name="connsiteY6" fmla="*/ 3372 h 571523"/>
                <a:gd name="connsiteX7" fmla="*/ 402478 w 589515"/>
                <a:gd name="connsiteY7" fmla="*/ 51863 h 571523"/>
                <a:gd name="connsiteX8" fmla="*/ 513315 w 589515"/>
                <a:gd name="connsiteY8" fmla="*/ 218118 h 571523"/>
                <a:gd name="connsiteX9" fmla="*/ 589515 w 589515"/>
                <a:gd name="connsiteY9" fmla="*/ 377445 h 571523"/>
                <a:gd name="connsiteX0" fmla="*/ 466950 w 598568"/>
                <a:gd name="connsiteY0" fmla="*/ 558173 h 572142"/>
                <a:gd name="connsiteX1" fmla="*/ 162150 w 598568"/>
                <a:gd name="connsiteY1" fmla="*/ 572028 h 572142"/>
                <a:gd name="connsiteX2" fmla="*/ 58240 w 598568"/>
                <a:gd name="connsiteY2" fmla="*/ 558173 h 572142"/>
                <a:gd name="connsiteX3" fmla="*/ 9750 w 598568"/>
                <a:gd name="connsiteY3" fmla="*/ 475046 h 572142"/>
                <a:gd name="connsiteX4" fmla="*/ 2822 w 598568"/>
                <a:gd name="connsiteY4" fmla="*/ 197954 h 572142"/>
                <a:gd name="connsiteX5" fmla="*/ 44386 w 598568"/>
                <a:gd name="connsiteY5" fmla="*/ 24773 h 572142"/>
                <a:gd name="connsiteX6" fmla="*/ 189859 w 598568"/>
                <a:gd name="connsiteY6" fmla="*/ 3991 h 572142"/>
                <a:gd name="connsiteX7" fmla="*/ 411531 w 598568"/>
                <a:gd name="connsiteY7" fmla="*/ 52482 h 572142"/>
                <a:gd name="connsiteX8" fmla="*/ 522368 w 598568"/>
                <a:gd name="connsiteY8" fmla="*/ 218737 h 572142"/>
                <a:gd name="connsiteX9" fmla="*/ 598568 w 598568"/>
                <a:gd name="connsiteY9" fmla="*/ 378064 h 572142"/>
                <a:gd name="connsiteX0" fmla="*/ 481027 w 612645"/>
                <a:gd name="connsiteY0" fmla="*/ 558173 h 572142"/>
                <a:gd name="connsiteX1" fmla="*/ 176227 w 612645"/>
                <a:gd name="connsiteY1" fmla="*/ 572028 h 572142"/>
                <a:gd name="connsiteX2" fmla="*/ 72317 w 612645"/>
                <a:gd name="connsiteY2" fmla="*/ 558173 h 572142"/>
                <a:gd name="connsiteX3" fmla="*/ 3045 w 612645"/>
                <a:gd name="connsiteY3" fmla="*/ 475046 h 572142"/>
                <a:gd name="connsiteX4" fmla="*/ 16899 w 612645"/>
                <a:gd name="connsiteY4" fmla="*/ 197954 h 572142"/>
                <a:gd name="connsiteX5" fmla="*/ 58463 w 612645"/>
                <a:gd name="connsiteY5" fmla="*/ 24773 h 572142"/>
                <a:gd name="connsiteX6" fmla="*/ 203936 w 612645"/>
                <a:gd name="connsiteY6" fmla="*/ 3991 h 572142"/>
                <a:gd name="connsiteX7" fmla="*/ 425608 w 612645"/>
                <a:gd name="connsiteY7" fmla="*/ 52482 h 572142"/>
                <a:gd name="connsiteX8" fmla="*/ 536445 w 612645"/>
                <a:gd name="connsiteY8" fmla="*/ 218737 h 572142"/>
                <a:gd name="connsiteX9" fmla="*/ 612645 w 612645"/>
                <a:gd name="connsiteY9" fmla="*/ 378064 h 57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2645" h="572142">
                  <a:moveTo>
                    <a:pt x="481027" y="558173"/>
                  </a:moveTo>
                  <a:cubicBezTo>
                    <a:pt x="362686" y="565100"/>
                    <a:pt x="244345" y="572028"/>
                    <a:pt x="176227" y="572028"/>
                  </a:cubicBezTo>
                  <a:cubicBezTo>
                    <a:pt x="108109" y="572028"/>
                    <a:pt x="101181" y="574337"/>
                    <a:pt x="72317" y="558173"/>
                  </a:cubicBezTo>
                  <a:cubicBezTo>
                    <a:pt x="43453" y="542009"/>
                    <a:pt x="12281" y="535082"/>
                    <a:pt x="3045" y="475046"/>
                  </a:cubicBezTo>
                  <a:cubicBezTo>
                    <a:pt x="-6191" y="415010"/>
                    <a:pt x="7663" y="273000"/>
                    <a:pt x="16899" y="197954"/>
                  </a:cubicBezTo>
                  <a:cubicBezTo>
                    <a:pt x="26135" y="122909"/>
                    <a:pt x="27290" y="57100"/>
                    <a:pt x="58463" y="24773"/>
                  </a:cubicBezTo>
                  <a:cubicBezTo>
                    <a:pt x="89636" y="-7554"/>
                    <a:pt x="142745" y="-627"/>
                    <a:pt x="203936" y="3991"/>
                  </a:cubicBezTo>
                  <a:cubicBezTo>
                    <a:pt x="265127" y="8609"/>
                    <a:pt x="370190" y="16691"/>
                    <a:pt x="425608" y="52482"/>
                  </a:cubicBezTo>
                  <a:cubicBezTo>
                    <a:pt x="481026" y="88273"/>
                    <a:pt x="505272" y="164473"/>
                    <a:pt x="536445" y="218737"/>
                  </a:cubicBezTo>
                  <a:cubicBezTo>
                    <a:pt x="567618" y="273001"/>
                    <a:pt x="590131" y="325532"/>
                    <a:pt x="612645" y="37806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187" name="Freeform: Shape 186"/>
            <p:cNvSpPr/>
            <p:nvPr/>
          </p:nvSpPr>
          <p:spPr bwMode="auto">
            <a:xfrm>
              <a:off x="6138334" y="8176898"/>
              <a:ext cx="8441266" cy="128901"/>
            </a:xfrm>
            <a:custGeom>
              <a:avLst/>
              <a:gdLst>
                <a:gd name="connsiteX0" fmla="*/ 0 w 8458200"/>
                <a:gd name="connsiteY0" fmla="*/ 110095 h 110095"/>
                <a:gd name="connsiteX1" fmla="*/ 3953933 w 8458200"/>
                <a:gd name="connsiteY1" fmla="*/ 28 h 110095"/>
                <a:gd name="connsiteX2" fmla="*/ 8458200 w 8458200"/>
                <a:gd name="connsiteY2" fmla="*/ 101628 h 110095"/>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41266"/>
                <a:gd name="connsiteY0" fmla="*/ 147705 h 147705"/>
                <a:gd name="connsiteX1" fmla="*/ 3936999 w 8441266"/>
                <a:gd name="connsiteY1" fmla="*/ 3772 h 147705"/>
                <a:gd name="connsiteX2" fmla="*/ 8441266 w 8441266"/>
                <a:gd name="connsiteY2" fmla="*/ 105372 h 147705"/>
                <a:gd name="connsiteX0" fmla="*/ 0 w 8441266"/>
                <a:gd name="connsiteY0" fmla="*/ 128901 h 128901"/>
                <a:gd name="connsiteX1" fmla="*/ 3936999 w 8441266"/>
                <a:gd name="connsiteY1" fmla="*/ 10368 h 128901"/>
                <a:gd name="connsiteX2" fmla="*/ 8441266 w 8441266"/>
                <a:gd name="connsiteY2" fmla="*/ 86568 h 128901"/>
              </a:gdLst>
              <a:ahLst/>
              <a:cxnLst>
                <a:cxn ang="0">
                  <a:pos x="connsiteX0" y="connsiteY0"/>
                </a:cxn>
                <a:cxn ang="0">
                  <a:pos x="connsiteX1" y="connsiteY1"/>
                </a:cxn>
                <a:cxn ang="0">
                  <a:pos x="connsiteX2" y="connsiteY2"/>
                </a:cxn>
              </a:cxnLst>
              <a:rect l="l" t="t" r="r" b="b"/>
              <a:pathLst>
                <a:path w="8441266" h="128901">
                  <a:moveTo>
                    <a:pt x="0" y="128901"/>
                  </a:moveTo>
                  <a:cubicBezTo>
                    <a:pt x="1272116" y="74573"/>
                    <a:pt x="2530121" y="17424"/>
                    <a:pt x="3936999" y="10368"/>
                  </a:cubicBezTo>
                  <a:cubicBezTo>
                    <a:pt x="5343877" y="3312"/>
                    <a:pt x="6939844" y="-31966"/>
                    <a:pt x="8441266" y="86568"/>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cxnSp>
          <p:nvCxnSpPr>
            <p:cNvPr id="188" name="Straight Connector 187"/>
            <p:cNvCxnSpPr/>
            <p:nvPr/>
          </p:nvCxnSpPr>
          <p:spPr>
            <a:xfrm flipV="1">
              <a:off x="5956837" y="8305799"/>
              <a:ext cx="8749763" cy="76201"/>
            </a:xfrm>
            <a:prstGeom prst="line">
              <a:avLst/>
            </a:prstGeom>
            <a:noFill/>
            <a:ln w="9525" cap="rnd" cmpd="sng" algn="ctr">
              <a:solidFill>
                <a:srgbClr val="0072C6"/>
              </a:solidFill>
              <a:prstDash val="solid"/>
              <a:headEnd type="none"/>
              <a:tailEnd type="none"/>
            </a:ln>
            <a:effectLst/>
          </p:spPr>
        </p:cxnSp>
        <p:sp>
          <p:nvSpPr>
            <p:cNvPr id="189" name="Freeform: Shape 188"/>
            <p:cNvSpPr/>
            <p:nvPr/>
          </p:nvSpPr>
          <p:spPr bwMode="auto">
            <a:xfrm>
              <a:off x="6891867" y="5898860"/>
              <a:ext cx="11870288" cy="2093673"/>
            </a:xfrm>
            <a:custGeom>
              <a:avLst/>
              <a:gdLst>
                <a:gd name="connsiteX0" fmla="*/ 0 w 11870537"/>
                <a:gd name="connsiteY0" fmla="*/ 1585830 h 2093830"/>
                <a:gd name="connsiteX1" fmla="*/ 1617133 w 11870537"/>
                <a:gd name="connsiteY1" fmla="*/ 1645097 h 2093830"/>
                <a:gd name="connsiteX2" fmla="*/ 3843866 w 11870537"/>
                <a:gd name="connsiteY2" fmla="*/ 1585830 h 2093830"/>
                <a:gd name="connsiteX3" fmla="*/ 5190066 w 11870537"/>
                <a:gd name="connsiteY3" fmla="*/ 1501164 h 2093830"/>
                <a:gd name="connsiteX4" fmla="*/ 6663266 w 11870537"/>
                <a:gd name="connsiteY4" fmla="*/ 1382630 h 2093830"/>
                <a:gd name="connsiteX5" fmla="*/ 7704666 w 11870537"/>
                <a:gd name="connsiteY5" fmla="*/ 1289497 h 2093830"/>
                <a:gd name="connsiteX6" fmla="*/ 7806266 w 11870537"/>
                <a:gd name="connsiteY6" fmla="*/ 1272564 h 2093830"/>
                <a:gd name="connsiteX7" fmla="*/ 7924800 w 11870537"/>
                <a:gd name="connsiteY7" fmla="*/ 1137097 h 2093830"/>
                <a:gd name="connsiteX8" fmla="*/ 8161866 w 11870537"/>
                <a:gd name="connsiteY8" fmla="*/ 798430 h 2093830"/>
                <a:gd name="connsiteX9" fmla="*/ 8525933 w 11870537"/>
                <a:gd name="connsiteY9" fmla="*/ 476697 h 2093830"/>
                <a:gd name="connsiteX10" fmla="*/ 9110133 w 11870537"/>
                <a:gd name="connsiteY10" fmla="*/ 112630 h 2093830"/>
                <a:gd name="connsiteX11" fmla="*/ 9787466 w 11870537"/>
                <a:gd name="connsiteY11" fmla="*/ 2564 h 2093830"/>
                <a:gd name="connsiteX12" fmla="*/ 10718800 w 11870537"/>
                <a:gd name="connsiteY12" fmla="*/ 197297 h 2093830"/>
                <a:gd name="connsiteX13" fmla="*/ 11125200 w 11870537"/>
                <a:gd name="connsiteY13" fmla="*/ 493630 h 2093830"/>
                <a:gd name="connsiteX14" fmla="*/ 11557000 w 11870537"/>
                <a:gd name="connsiteY14" fmla="*/ 967764 h 2093830"/>
                <a:gd name="connsiteX15" fmla="*/ 11760200 w 11870537"/>
                <a:gd name="connsiteY15" fmla="*/ 1416497 h 2093830"/>
                <a:gd name="connsiteX16" fmla="*/ 11853333 w 11870537"/>
                <a:gd name="connsiteY16" fmla="*/ 1763630 h 2093830"/>
                <a:gd name="connsiteX17" fmla="*/ 11870266 w 11870537"/>
                <a:gd name="connsiteY17" fmla="*/ 2093830 h 2093830"/>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718800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8534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70288" h="2093673">
                  <a:moveTo>
                    <a:pt x="0" y="1585673"/>
                  </a:moveTo>
                  <a:cubicBezTo>
                    <a:pt x="488244" y="1615306"/>
                    <a:pt x="976489" y="1644940"/>
                    <a:pt x="1617133" y="1644940"/>
                  </a:cubicBezTo>
                  <a:cubicBezTo>
                    <a:pt x="2257777" y="1644940"/>
                    <a:pt x="3248377" y="1609662"/>
                    <a:pt x="3843866" y="1585673"/>
                  </a:cubicBezTo>
                  <a:cubicBezTo>
                    <a:pt x="4439355" y="1561684"/>
                    <a:pt x="5190066" y="1501007"/>
                    <a:pt x="5190066" y="1501007"/>
                  </a:cubicBezTo>
                  <a:lnTo>
                    <a:pt x="6663266" y="1382473"/>
                  </a:lnTo>
                  <a:lnTo>
                    <a:pt x="7704666" y="1289340"/>
                  </a:lnTo>
                  <a:cubicBezTo>
                    <a:pt x="7895166" y="1270996"/>
                    <a:pt x="7769577" y="1297807"/>
                    <a:pt x="7806266" y="1272407"/>
                  </a:cubicBezTo>
                  <a:cubicBezTo>
                    <a:pt x="7842955" y="1247007"/>
                    <a:pt x="7865533" y="1215962"/>
                    <a:pt x="7924800" y="1136940"/>
                  </a:cubicBezTo>
                  <a:cubicBezTo>
                    <a:pt x="7984067" y="1057918"/>
                    <a:pt x="8063088" y="912573"/>
                    <a:pt x="8161866" y="798273"/>
                  </a:cubicBezTo>
                  <a:cubicBezTo>
                    <a:pt x="8260644" y="683973"/>
                    <a:pt x="8359422" y="565440"/>
                    <a:pt x="8517466" y="451140"/>
                  </a:cubicBezTo>
                  <a:cubicBezTo>
                    <a:pt x="8675510" y="336840"/>
                    <a:pt x="8898466" y="187262"/>
                    <a:pt x="9110133" y="112473"/>
                  </a:cubicBezTo>
                  <a:cubicBezTo>
                    <a:pt x="9321800" y="37684"/>
                    <a:pt x="9526410" y="-11704"/>
                    <a:pt x="9787466" y="2407"/>
                  </a:cubicBezTo>
                  <a:cubicBezTo>
                    <a:pt x="10048522" y="16518"/>
                    <a:pt x="10461978" y="98363"/>
                    <a:pt x="10676467" y="197140"/>
                  </a:cubicBezTo>
                  <a:cubicBezTo>
                    <a:pt x="10890956" y="295917"/>
                    <a:pt x="10981267" y="365062"/>
                    <a:pt x="11125200" y="493473"/>
                  </a:cubicBezTo>
                  <a:cubicBezTo>
                    <a:pt x="11269133" y="621884"/>
                    <a:pt x="11434234" y="813796"/>
                    <a:pt x="11540067" y="967607"/>
                  </a:cubicBezTo>
                  <a:cubicBezTo>
                    <a:pt x="11645900" y="1121418"/>
                    <a:pt x="11710811" y="1285107"/>
                    <a:pt x="11760200" y="1416340"/>
                  </a:cubicBezTo>
                  <a:cubicBezTo>
                    <a:pt x="11809589" y="1547573"/>
                    <a:pt x="11818056" y="1642117"/>
                    <a:pt x="11836400" y="1755006"/>
                  </a:cubicBezTo>
                  <a:cubicBezTo>
                    <a:pt x="11854744" y="1867895"/>
                    <a:pt x="11870971" y="1985017"/>
                    <a:pt x="11870266" y="209367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190" name="Freeform: Shape 189"/>
            <p:cNvSpPr/>
            <p:nvPr/>
          </p:nvSpPr>
          <p:spPr bwMode="auto">
            <a:xfrm>
              <a:off x="19456400" y="7610959"/>
              <a:ext cx="855133" cy="119108"/>
            </a:xfrm>
            <a:custGeom>
              <a:avLst/>
              <a:gdLst>
                <a:gd name="connsiteX0" fmla="*/ 0 w 855133"/>
                <a:gd name="connsiteY0" fmla="*/ 116336 h 116336"/>
                <a:gd name="connsiteX1" fmla="*/ 448733 w 855133"/>
                <a:gd name="connsiteY1" fmla="*/ 6269 h 116336"/>
                <a:gd name="connsiteX2" fmla="*/ 855133 w 855133"/>
                <a:gd name="connsiteY2" fmla="*/ 23202 h 116336"/>
                <a:gd name="connsiteX0" fmla="*/ 0 w 855133"/>
                <a:gd name="connsiteY0" fmla="*/ 119108 h 119108"/>
                <a:gd name="connsiteX1" fmla="*/ 448733 w 855133"/>
                <a:gd name="connsiteY1" fmla="*/ 9041 h 119108"/>
                <a:gd name="connsiteX2" fmla="*/ 855133 w 855133"/>
                <a:gd name="connsiteY2" fmla="*/ 17507 h 119108"/>
              </a:gdLst>
              <a:ahLst/>
              <a:cxnLst>
                <a:cxn ang="0">
                  <a:pos x="connsiteX0" y="connsiteY0"/>
                </a:cxn>
                <a:cxn ang="0">
                  <a:pos x="connsiteX1" y="connsiteY1"/>
                </a:cxn>
                <a:cxn ang="0">
                  <a:pos x="connsiteX2" y="connsiteY2"/>
                </a:cxn>
              </a:cxnLst>
              <a:rect l="l" t="t" r="r" b="b"/>
              <a:pathLst>
                <a:path w="855133" h="119108">
                  <a:moveTo>
                    <a:pt x="0" y="119108"/>
                  </a:moveTo>
                  <a:cubicBezTo>
                    <a:pt x="153105" y="71835"/>
                    <a:pt x="306211" y="25974"/>
                    <a:pt x="448733" y="9041"/>
                  </a:cubicBezTo>
                  <a:cubicBezTo>
                    <a:pt x="591255" y="-7892"/>
                    <a:pt x="723194" y="1279"/>
                    <a:pt x="855133" y="17507"/>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191" name="Oval 190"/>
            <p:cNvSpPr/>
            <p:nvPr/>
          </p:nvSpPr>
          <p:spPr bwMode="auto">
            <a:xfrm>
              <a:off x="15507617" y="6625045"/>
              <a:ext cx="2300412" cy="2300412"/>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192" name="Freeform: Shape 191"/>
            <p:cNvSpPr/>
            <p:nvPr/>
          </p:nvSpPr>
          <p:spPr bwMode="auto">
            <a:xfrm>
              <a:off x="15784897" y="6927889"/>
              <a:ext cx="1745619" cy="1718533"/>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193" name="Freeform: Shape 192"/>
            <p:cNvSpPr/>
            <p:nvPr/>
          </p:nvSpPr>
          <p:spPr bwMode="auto">
            <a:xfrm>
              <a:off x="15564552" y="6658879"/>
              <a:ext cx="2187725" cy="2107168"/>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194" name="Oval 193"/>
            <p:cNvSpPr/>
            <p:nvPr/>
          </p:nvSpPr>
          <p:spPr bwMode="auto">
            <a:xfrm>
              <a:off x="16411061" y="7937577"/>
              <a:ext cx="159517" cy="159517"/>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p:nvSpPr>
          <p:spPr bwMode="auto">
            <a:xfrm>
              <a:off x="16858096" y="7608733"/>
              <a:ext cx="159517" cy="159517"/>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196" name="Oval 195"/>
            <p:cNvSpPr/>
            <p:nvPr/>
          </p:nvSpPr>
          <p:spPr bwMode="auto">
            <a:xfrm>
              <a:off x="16308271" y="7608733"/>
              <a:ext cx="159517" cy="159517"/>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197" name="Oval 196"/>
            <p:cNvSpPr/>
            <p:nvPr/>
          </p:nvSpPr>
          <p:spPr bwMode="auto">
            <a:xfrm>
              <a:off x="16757072" y="7937577"/>
              <a:ext cx="159517" cy="159517"/>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198" name="Oval 197"/>
            <p:cNvSpPr/>
            <p:nvPr/>
          </p:nvSpPr>
          <p:spPr bwMode="auto">
            <a:xfrm>
              <a:off x="16585943" y="7410689"/>
              <a:ext cx="159517" cy="159517"/>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199" name="Freeform: Shape 198"/>
            <p:cNvSpPr/>
            <p:nvPr/>
          </p:nvSpPr>
          <p:spPr bwMode="auto">
            <a:xfrm>
              <a:off x="15677147" y="6733674"/>
              <a:ext cx="918411" cy="795133"/>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00" name="Freeform: Shape 199"/>
            <p:cNvSpPr/>
            <p:nvPr/>
          </p:nvSpPr>
          <p:spPr bwMode="auto">
            <a:xfrm rot="4374466">
              <a:off x="16654057" y="6689001"/>
              <a:ext cx="918411" cy="795133"/>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01" name="Freeform: Shape 200"/>
            <p:cNvSpPr/>
            <p:nvPr/>
          </p:nvSpPr>
          <p:spPr bwMode="auto">
            <a:xfrm rot="17319209">
              <a:off x="15423996" y="7684625"/>
              <a:ext cx="918411" cy="795133"/>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02" name="Freeform: Shape 201"/>
            <p:cNvSpPr/>
            <p:nvPr/>
          </p:nvSpPr>
          <p:spPr bwMode="auto">
            <a:xfrm rot="8698688">
              <a:off x="17005467" y="7597823"/>
              <a:ext cx="918411" cy="795133"/>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03" name="Freeform: Shape 202"/>
            <p:cNvSpPr/>
            <p:nvPr/>
          </p:nvSpPr>
          <p:spPr bwMode="auto">
            <a:xfrm rot="12956291">
              <a:off x="16245451" y="8211434"/>
              <a:ext cx="918411" cy="795133"/>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nvGrpSpPr>
            <p:cNvPr id="204" name="Group 203"/>
            <p:cNvGrpSpPr/>
            <p:nvPr/>
          </p:nvGrpSpPr>
          <p:grpSpPr>
            <a:xfrm>
              <a:off x="15588916" y="7184525"/>
              <a:ext cx="354582" cy="599905"/>
              <a:chOff x="15588916" y="7188536"/>
              <a:chExt cx="354582" cy="599905"/>
            </a:xfrm>
          </p:grpSpPr>
          <p:sp>
            <p:nvSpPr>
              <p:cNvPr id="288" name="Freeform: Shape 287"/>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89" name="Freeform: Shape 288"/>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grpSp>
          <p:nvGrpSpPr>
            <p:cNvPr id="205" name="Group 204"/>
            <p:cNvGrpSpPr/>
            <p:nvPr/>
          </p:nvGrpSpPr>
          <p:grpSpPr>
            <a:xfrm rot="4323909">
              <a:off x="16483224" y="6534840"/>
              <a:ext cx="354582" cy="599905"/>
              <a:chOff x="15588916" y="7188536"/>
              <a:chExt cx="354582" cy="599905"/>
            </a:xfrm>
          </p:grpSpPr>
          <p:sp>
            <p:nvSpPr>
              <p:cNvPr id="286" name="Freeform: Shape 285"/>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87" name="Freeform: Shape 286"/>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grpSp>
          <p:nvGrpSpPr>
            <p:cNvPr id="206" name="Group 205"/>
            <p:cNvGrpSpPr/>
            <p:nvPr/>
          </p:nvGrpSpPr>
          <p:grpSpPr>
            <a:xfrm rot="8686591" flipH="1">
              <a:off x="15919835" y="8243206"/>
              <a:ext cx="378568" cy="588084"/>
              <a:chOff x="15588916" y="7188536"/>
              <a:chExt cx="354582" cy="599905"/>
            </a:xfrm>
          </p:grpSpPr>
          <p:sp>
            <p:nvSpPr>
              <p:cNvPr id="284" name="Freeform: Shape 283"/>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85" name="Freeform: Shape 284"/>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sp>
          <p:nvSpPr>
            <p:cNvPr id="207" name="Freeform: Shape 206"/>
            <p:cNvSpPr/>
            <p:nvPr/>
          </p:nvSpPr>
          <p:spPr bwMode="auto">
            <a:xfrm rot="4398861" flipV="1">
              <a:off x="16924822" y="8617018"/>
              <a:ext cx="167640" cy="123523"/>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08" name="Freeform: Shape 207"/>
            <p:cNvSpPr/>
            <p:nvPr/>
          </p:nvSpPr>
          <p:spPr bwMode="auto">
            <a:xfrm rot="17414756" flipV="1">
              <a:off x="17313501" y="8300974"/>
              <a:ext cx="202844" cy="164409"/>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09" name="Oval 208"/>
            <p:cNvSpPr/>
            <p:nvPr/>
          </p:nvSpPr>
          <p:spPr bwMode="auto">
            <a:xfrm>
              <a:off x="16543773" y="7656786"/>
              <a:ext cx="235886" cy="235886"/>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10" name="Freeform: Shape 209"/>
            <p:cNvSpPr/>
            <p:nvPr/>
          </p:nvSpPr>
          <p:spPr bwMode="auto">
            <a:xfrm rot="12965245" flipV="1">
              <a:off x="17387575" y="7145437"/>
              <a:ext cx="202844" cy="164409"/>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11" name="Freeform: Shape 210"/>
            <p:cNvSpPr/>
            <p:nvPr/>
          </p:nvSpPr>
          <p:spPr bwMode="auto">
            <a:xfrm rot="6683114">
              <a:off x="17534958" y="7649960"/>
              <a:ext cx="202844" cy="164409"/>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12" name="Oval 211"/>
            <p:cNvSpPr/>
            <p:nvPr/>
          </p:nvSpPr>
          <p:spPr bwMode="auto">
            <a:xfrm>
              <a:off x="2703523" y="6625045"/>
              <a:ext cx="2300412" cy="2300412"/>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13" name="Freeform: Shape 212"/>
            <p:cNvSpPr/>
            <p:nvPr/>
          </p:nvSpPr>
          <p:spPr bwMode="auto">
            <a:xfrm>
              <a:off x="2980803" y="6927889"/>
              <a:ext cx="1745619" cy="1718533"/>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14" name="Freeform: Shape 213"/>
            <p:cNvSpPr/>
            <p:nvPr/>
          </p:nvSpPr>
          <p:spPr bwMode="auto">
            <a:xfrm>
              <a:off x="2760458" y="6658879"/>
              <a:ext cx="2187725" cy="2107168"/>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15" name="Oval 214"/>
            <p:cNvSpPr/>
            <p:nvPr/>
          </p:nvSpPr>
          <p:spPr bwMode="auto">
            <a:xfrm>
              <a:off x="3606967" y="7937577"/>
              <a:ext cx="159517" cy="159517"/>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16" name="Oval 215"/>
            <p:cNvSpPr/>
            <p:nvPr/>
          </p:nvSpPr>
          <p:spPr bwMode="auto">
            <a:xfrm>
              <a:off x="4054002" y="7608733"/>
              <a:ext cx="159517" cy="159517"/>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17" name="Oval 216"/>
            <p:cNvSpPr/>
            <p:nvPr/>
          </p:nvSpPr>
          <p:spPr bwMode="auto">
            <a:xfrm>
              <a:off x="3504177" y="7608733"/>
              <a:ext cx="159517" cy="159517"/>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18" name="Oval 217"/>
            <p:cNvSpPr/>
            <p:nvPr/>
          </p:nvSpPr>
          <p:spPr bwMode="auto">
            <a:xfrm>
              <a:off x="3952978" y="7937577"/>
              <a:ext cx="159517" cy="159517"/>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19" name="Oval 218"/>
            <p:cNvSpPr/>
            <p:nvPr/>
          </p:nvSpPr>
          <p:spPr bwMode="auto">
            <a:xfrm>
              <a:off x="3781849" y="7410689"/>
              <a:ext cx="159517" cy="159517"/>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20" name="Freeform: Shape 219"/>
            <p:cNvSpPr/>
            <p:nvPr/>
          </p:nvSpPr>
          <p:spPr bwMode="auto">
            <a:xfrm>
              <a:off x="2873053" y="6733674"/>
              <a:ext cx="918411" cy="795133"/>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21" name="Freeform: Shape 220"/>
            <p:cNvSpPr/>
            <p:nvPr/>
          </p:nvSpPr>
          <p:spPr bwMode="auto">
            <a:xfrm rot="4374466">
              <a:off x="3849963" y="6689001"/>
              <a:ext cx="918411" cy="795133"/>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22" name="Freeform: Shape 221"/>
            <p:cNvSpPr/>
            <p:nvPr/>
          </p:nvSpPr>
          <p:spPr bwMode="auto">
            <a:xfrm rot="17319209">
              <a:off x="2619902" y="7684625"/>
              <a:ext cx="918411" cy="795133"/>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23" name="Freeform: Shape 222"/>
            <p:cNvSpPr/>
            <p:nvPr/>
          </p:nvSpPr>
          <p:spPr bwMode="auto">
            <a:xfrm rot="8698688">
              <a:off x="4201373" y="7597823"/>
              <a:ext cx="918411" cy="795133"/>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24" name="Freeform: Shape 223"/>
            <p:cNvSpPr/>
            <p:nvPr/>
          </p:nvSpPr>
          <p:spPr bwMode="auto">
            <a:xfrm rot="12956291">
              <a:off x="3441357" y="8211434"/>
              <a:ext cx="918411" cy="795133"/>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nvGrpSpPr>
            <p:cNvPr id="225" name="Group 224"/>
            <p:cNvGrpSpPr/>
            <p:nvPr/>
          </p:nvGrpSpPr>
          <p:grpSpPr>
            <a:xfrm>
              <a:off x="2784822" y="7184525"/>
              <a:ext cx="354582" cy="599905"/>
              <a:chOff x="15588916" y="7188536"/>
              <a:chExt cx="354582" cy="599905"/>
            </a:xfrm>
          </p:grpSpPr>
          <p:sp>
            <p:nvSpPr>
              <p:cNvPr id="282" name="Freeform: Shape 281"/>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83" name="Freeform: Shape 282"/>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grpSp>
          <p:nvGrpSpPr>
            <p:cNvPr id="226" name="Group 225"/>
            <p:cNvGrpSpPr/>
            <p:nvPr/>
          </p:nvGrpSpPr>
          <p:grpSpPr>
            <a:xfrm rot="4323909">
              <a:off x="3679130" y="6534840"/>
              <a:ext cx="354582" cy="599905"/>
              <a:chOff x="15588916" y="7188536"/>
              <a:chExt cx="354582" cy="599905"/>
            </a:xfrm>
          </p:grpSpPr>
          <p:sp>
            <p:nvSpPr>
              <p:cNvPr id="280" name="Freeform: Shape 279"/>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81" name="Freeform: Shape 280"/>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grpSp>
          <p:nvGrpSpPr>
            <p:cNvPr id="227" name="Group 226"/>
            <p:cNvGrpSpPr/>
            <p:nvPr/>
          </p:nvGrpSpPr>
          <p:grpSpPr>
            <a:xfrm rot="8686591" flipH="1">
              <a:off x="3115741" y="8243206"/>
              <a:ext cx="378568" cy="588084"/>
              <a:chOff x="15588916" y="7188536"/>
              <a:chExt cx="354582" cy="599905"/>
            </a:xfrm>
          </p:grpSpPr>
          <p:sp>
            <p:nvSpPr>
              <p:cNvPr id="278" name="Freeform: Shape 277"/>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79" name="Freeform: Shape 278"/>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sp>
          <p:nvSpPr>
            <p:cNvPr id="228" name="Freeform: Shape 227"/>
            <p:cNvSpPr/>
            <p:nvPr/>
          </p:nvSpPr>
          <p:spPr bwMode="auto">
            <a:xfrm rot="4398861" flipV="1">
              <a:off x="4120728" y="8617018"/>
              <a:ext cx="167640" cy="123523"/>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29" name="Freeform: Shape 228"/>
            <p:cNvSpPr/>
            <p:nvPr/>
          </p:nvSpPr>
          <p:spPr bwMode="auto">
            <a:xfrm rot="17414756" flipV="1">
              <a:off x="4509407" y="8300974"/>
              <a:ext cx="202844" cy="164409"/>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30" name="Oval 229"/>
            <p:cNvSpPr/>
            <p:nvPr/>
          </p:nvSpPr>
          <p:spPr bwMode="auto">
            <a:xfrm>
              <a:off x="3739679" y="7656786"/>
              <a:ext cx="235886" cy="235886"/>
            </a:xfrm>
            <a:prstGeom prst="ellipse">
              <a:avLst/>
            </a:pr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31" name="Freeform: Shape 230"/>
            <p:cNvSpPr/>
            <p:nvPr/>
          </p:nvSpPr>
          <p:spPr bwMode="auto">
            <a:xfrm rot="12965245" flipV="1">
              <a:off x="4583481" y="7145437"/>
              <a:ext cx="202844" cy="164409"/>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32" name="Freeform: Shape 231"/>
            <p:cNvSpPr/>
            <p:nvPr/>
          </p:nvSpPr>
          <p:spPr bwMode="auto">
            <a:xfrm rot="6683114">
              <a:off x="4730864" y="7649960"/>
              <a:ext cx="202844" cy="164409"/>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33" name="Freeform: Shape 232"/>
            <p:cNvSpPr/>
            <p:nvPr/>
          </p:nvSpPr>
          <p:spPr bwMode="auto">
            <a:xfrm>
              <a:off x="762000" y="5816578"/>
              <a:ext cx="5077691" cy="2406318"/>
            </a:xfrm>
            <a:custGeom>
              <a:avLst/>
              <a:gdLst>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77691"/>
                <a:gd name="connsiteY0" fmla="*/ 2392240 h 2406318"/>
                <a:gd name="connsiteX1" fmla="*/ 526473 w 5077691"/>
                <a:gd name="connsiteY1" fmla="*/ 2406095 h 2406318"/>
                <a:gd name="connsiteX2" fmla="*/ 921327 w 5077691"/>
                <a:gd name="connsiteY2" fmla="*/ 2399167 h 2406318"/>
                <a:gd name="connsiteX3" fmla="*/ 1025236 w 5077691"/>
                <a:gd name="connsiteY3" fmla="*/ 2378386 h 2406318"/>
                <a:gd name="connsiteX4" fmla="*/ 1101436 w 5077691"/>
                <a:gd name="connsiteY4" fmla="*/ 2239840 h 2406318"/>
                <a:gd name="connsiteX5" fmla="*/ 1129145 w 5077691"/>
                <a:gd name="connsiteY5" fmla="*/ 1713367 h 2406318"/>
                <a:gd name="connsiteX6" fmla="*/ 1253836 w 5077691"/>
                <a:gd name="connsiteY6" fmla="*/ 1221531 h 2406318"/>
                <a:gd name="connsiteX7" fmla="*/ 1551709 w 5077691"/>
                <a:gd name="connsiteY7" fmla="*/ 701986 h 2406318"/>
                <a:gd name="connsiteX8" fmla="*/ 2105891 w 5077691"/>
                <a:gd name="connsiteY8" fmla="*/ 244786 h 2406318"/>
                <a:gd name="connsiteX9" fmla="*/ 2646218 w 5077691"/>
                <a:gd name="connsiteY9" fmla="*/ 57750 h 2406318"/>
                <a:gd name="connsiteX10" fmla="*/ 3241964 w 5077691"/>
                <a:gd name="connsiteY10" fmla="*/ 2331 h 2406318"/>
                <a:gd name="connsiteX11" fmla="*/ 3837709 w 5077691"/>
                <a:gd name="connsiteY11" fmla="*/ 120094 h 2406318"/>
                <a:gd name="connsiteX12" fmla="*/ 4281055 w 5077691"/>
                <a:gd name="connsiteY12" fmla="*/ 341767 h 2406318"/>
                <a:gd name="connsiteX13" fmla="*/ 4717473 w 5077691"/>
                <a:gd name="connsiteY13" fmla="*/ 764331 h 2406318"/>
                <a:gd name="connsiteX14" fmla="*/ 4925291 w 5077691"/>
                <a:gd name="connsiteY14" fmla="*/ 1103767 h 2406318"/>
                <a:gd name="connsiteX15" fmla="*/ 5036127 w 5077691"/>
                <a:gd name="connsiteY15" fmla="*/ 1387786 h 2406318"/>
                <a:gd name="connsiteX16" fmla="*/ 5077691 w 5077691"/>
                <a:gd name="connsiteY16" fmla="*/ 1554040 h 240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77691" h="2406318">
                  <a:moveTo>
                    <a:pt x="0" y="2392240"/>
                  </a:moveTo>
                  <a:lnTo>
                    <a:pt x="526473" y="2406095"/>
                  </a:lnTo>
                  <a:cubicBezTo>
                    <a:pt x="680027" y="2407249"/>
                    <a:pt x="838200" y="2403785"/>
                    <a:pt x="921327" y="2399167"/>
                  </a:cubicBezTo>
                  <a:cubicBezTo>
                    <a:pt x="1004454" y="2394549"/>
                    <a:pt x="995218" y="2404940"/>
                    <a:pt x="1025236" y="2378386"/>
                  </a:cubicBezTo>
                  <a:cubicBezTo>
                    <a:pt x="1055254" y="2351832"/>
                    <a:pt x="1104900" y="2364532"/>
                    <a:pt x="1101436" y="2239840"/>
                  </a:cubicBezTo>
                  <a:cubicBezTo>
                    <a:pt x="1097972" y="2115148"/>
                    <a:pt x="1103745" y="1883085"/>
                    <a:pt x="1129145" y="1713367"/>
                  </a:cubicBezTo>
                  <a:cubicBezTo>
                    <a:pt x="1154545" y="1543649"/>
                    <a:pt x="1183409" y="1390094"/>
                    <a:pt x="1253836" y="1221531"/>
                  </a:cubicBezTo>
                  <a:cubicBezTo>
                    <a:pt x="1324263" y="1052968"/>
                    <a:pt x="1409700" y="864777"/>
                    <a:pt x="1551709" y="701986"/>
                  </a:cubicBezTo>
                  <a:cubicBezTo>
                    <a:pt x="1693718" y="539195"/>
                    <a:pt x="1923473" y="352159"/>
                    <a:pt x="2105891" y="244786"/>
                  </a:cubicBezTo>
                  <a:cubicBezTo>
                    <a:pt x="2288309" y="137413"/>
                    <a:pt x="2456873" y="98159"/>
                    <a:pt x="2646218" y="57750"/>
                  </a:cubicBezTo>
                  <a:cubicBezTo>
                    <a:pt x="2835564" y="17341"/>
                    <a:pt x="3043382" y="-8060"/>
                    <a:pt x="3241964" y="2331"/>
                  </a:cubicBezTo>
                  <a:cubicBezTo>
                    <a:pt x="3440546" y="12722"/>
                    <a:pt x="3664527" y="63521"/>
                    <a:pt x="3837709" y="120094"/>
                  </a:cubicBezTo>
                  <a:cubicBezTo>
                    <a:pt x="4010891" y="176667"/>
                    <a:pt x="4120574" y="241321"/>
                    <a:pt x="4281055" y="341767"/>
                  </a:cubicBezTo>
                  <a:cubicBezTo>
                    <a:pt x="4441536" y="442213"/>
                    <a:pt x="4610100" y="637331"/>
                    <a:pt x="4717473" y="764331"/>
                  </a:cubicBezTo>
                  <a:cubicBezTo>
                    <a:pt x="4824846" y="891331"/>
                    <a:pt x="4872182" y="999858"/>
                    <a:pt x="4925291" y="1103767"/>
                  </a:cubicBezTo>
                  <a:cubicBezTo>
                    <a:pt x="4978400" y="1207676"/>
                    <a:pt x="5010727" y="1312741"/>
                    <a:pt x="5036127" y="1387786"/>
                  </a:cubicBezTo>
                  <a:cubicBezTo>
                    <a:pt x="5061527" y="1462831"/>
                    <a:pt x="5069609" y="1508435"/>
                    <a:pt x="5077691" y="155404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34" name="Freeform: Shape 233"/>
            <p:cNvSpPr/>
            <p:nvPr/>
          </p:nvSpPr>
          <p:spPr bwMode="auto">
            <a:xfrm>
              <a:off x="1142963" y="7392877"/>
              <a:ext cx="361323" cy="485229"/>
            </a:xfrm>
            <a:custGeom>
              <a:avLst/>
              <a:gdLst>
                <a:gd name="connsiteX0" fmla="*/ 104438 w 376383"/>
                <a:gd name="connsiteY0" fmla="*/ 7725 h 508285"/>
                <a:gd name="connsiteX1" fmla="*/ 528 w 376383"/>
                <a:gd name="connsiteY1" fmla="*/ 194762 h 508285"/>
                <a:gd name="connsiteX2" fmla="*/ 69801 w 376383"/>
                <a:gd name="connsiteY2" fmla="*/ 388725 h 508285"/>
                <a:gd name="connsiteX3" fmla="*/ 194492 w 376383"/>
                <a:gd name="connsiteY3" fmla="*/ 485707 h 508285"/>
                <a:gd name="connsiteX4" fmla="*/ 291474 w 376383"/>
                <a:gd name="connsiteY4" fmla="*/ 499562 h 508285"/>
                <a:gd name="connsiteX5" fmla="*/ 374601 w 376383"/>
                <a:gd name="connsiteY5" fmla="*/ 374871 h 508285"/>
                <a:gd name="connsiteX6" fmla="*/ 339965 w 376383"/>
                <a:gd name="connsiteY6" fmla="*/ 173980 h 508285"/>
                <a:gd name="connsiteX7" fmla="*/ 242983 w 376383"/>
                <a:gd name="connsiteY7" fmla="*/ 49289 h 508285"/>
                <a:gd name="connsiteX8" fmla="*/ 104438 w 376383"/>
                <a:gd name="connsiteY8" fmla="*/ 7725 h 508285"/>
                <a:gd name="connsiteX0" fmla="*/ 97336 w 376209"/>
                <a:gd name="connsiteY0" fmla="*/ 10808 h 490586"/>
                <a:gd name="connsiteX1" fmla="*/ 354 w 376209"/>
                <a:gd name="connsiteY1" fmla="*/ 177063 h 490586"/>
                <a:gd name="connsiteX2" fmla="*/ 69627 w 376209"/>
                <a:gd name="connsiteY2" fmla="*/ 371026 h 490586"/>
                <a:gd name="connsiteX3" fmla="*/ 194318 w 376209"/>
                <a:gd name="connsiteY3" fmla="*/ 468008 h 490586"/>
                <a:gd name="connsiteX4" fmla="*/ 291300 w 376209"/>
                <a:gd name="connsiteY4" fmla="*/ 481863 h 490586"/>
                <a:gd name="connsiteX5" fmla="*/ 374427 w 376209"/>
                <a:gd name="connsiteY5" fmla="*/ 357172 h 490586"/>
                <a:gd name="connsiteX6" fmla="*/ 339791 w 376209"/>
                <a:gd name="connsiteY6" fmla="*/ 156281 h 490586"/>
                <a:gd name="connsiteX7" fmla="*/ 242809 w 376209"/>
                <a:gd name="connsiteY7" fmla="*/ 31590 h 490586"/>
                <a:gd name="connsiteX8" fmla="*/ 97336 w 376209"/>
                <a:gd name="connsiteY8" fmla="*/ 10808 h 490586"/>
                <a:gd name="connsiteX0" fmla="*/ 83600 w 362473"/>
                <a:gd name="connsiteY0" fmla="*/ 10808 h 490586"/>
                <a:gd name="connsiteX1" fmla="*/ 473 w 362473"/>
                <a:gd name="connsiteY1" fmla="*/ 177063 h 490586"/>
                <a:gd name="connsiteX2" fmla="*/ 55891 w 362473"/>
                <a:gd name="connsiteY2" fmla="*/ 371026 h 490586"/>
                <a:gd name="connsiteX3" fmla="*/ 180582 w 362473"/>
                <a:gd name="connsiteY3" fmla="*/ 468008 h 490586"/>
                <a:gd name="connsiteX4" fmla="*/ 277564 w 362473"/>
                <a:gd name="connsiteY4" fmla="*/ 481863 h 490586"/>
                <a:gd name="connsiteX5" fmla="*/ 360691 w 362473"/>
                <a:gd name="connsiteY5" fmla="*/ 357172 h 490586"/>
                <a:gd name="connsiteX6" fmla="*/ 326055 w 362473"/>
                <a:gd name="connsiteY6" fmla="*/ 156281 h 490586"/>
                <a:gd name="connsiteX7" fmla="*/ 229073 w 362473"/>
                <a:gd name="connsiteY7" fmla="*/ 31590 h 490586"/>
                <a:gd name="connsiteX8" fmla="*/ 83600 w 362473"/>
                <a:gd name="connsiteY8" fmla="*/ 10808 h 490586"/>
                <a:gd name="connsiteX0" fmla="*/ 83600 w 361759"/>
                <a:gd name="connsiteY0" fmla="*/ 10808 h 490586"/>
                <a:gd name="connsiteX1" fmla="*/ 473 w 361759"/>
                <a:gd name="connsiteY1" fmla="*/ 177063 h 490586"/>
                <a:gd name="connsiteX2" fmla="*/ 55891 w 361759"/>
                <a:gd name="connsiteY2" fmla="*/ 371026 h 490586"/>
                <a:gd name="connsiteX3" fmla="*/ 180582 w 361759"/>
                <a:gd name="connsiteY3" fmla="*/ 468008 h 490586"/>
                <a:gd name="connsiteX4" fmla="*/ 291418 w 361759"/>
                <a:gd name="connsiteY4" fmla="*/ 481863 h 490586"/>
                <a:gd name="connsiteX5" fmla="*/ 360691 w 361759"/>
                <a:gd name="connsiteY5" fmla="*/ 357172 h 490586"/>
                <a:gd name="connsiteX6" fmla="*/ 326055 w 361759"/>
                <a:gd name="connsiteY6" fmla="*/ 156281 h 490586"/>
                <a:gd name="connsiteX7" fmla="*/ 229073 w 361759"/>
                <a:gd name="connsiteY7" fmla="*/ 31590 h 490586"/>
                <a:gd name="connsiteX8" fmla="*/ 83600 w 361759"/>
                <a:gd name="connsiteY8" fmla="*/ 10808 h 490586"/>
                <a:gd name="connsiteX0" fmla="*/ 85293 w 363452"/>
                <a:gd name="connsiteY0" fmla="*/ 10808 h 490586"/>
                <a:gd name="connsiteX1" fmla="*/ 2166 w 363452"/>
                <a:gd name="connsiteY1" fmla="*/ 177063 h 490586"/>
                <a:gd name="connsiteX2" fmla="*/ 57584 w 363452"/>
                <a:gd name="connsiteY2" fmla="*/ 371026 h 490586"/>
                <a:gd name="connsiteX3" fmla="*/ 182275 w 363452"/>
                <a:gd name="connsiteY3" fmla="*/ 468008 h 490586"/>
                <a:gd name="connsiteX4" fmla="*/ 293111 w 363452"/>
                <a:gd name="connsiteY4" fmla="*/ 481863 h 490586"/>
                <a:gd name="connsiteX5" fmla="*/ 362384 w 363452"/>
                <a:gd name="connsiteY5" fmla="*/ 357172 h 490586"/>
                <a:gd name="connsiteX6" fmla="*/ 327748 w 363452"/>
                <a:gd name="connsiteY6" fmla="*/ 156281 h 490586"/>
                <a:gd name="connsiteX7" fmla="*/ 230766 w 363452"/>
                <a:gd name="connsiteY7" fmla="*/ 31590 h 490586"/>
                <a:gd name="connsiteX8" fmla="*/ 85293 w 363452"/>
                <a:gd name="connsiteY8" fmla="*/ 10808 h 490586"/>
                <a:gd name="connsiteX0" fmla="*/ 62382 w 361323"/>
                <a:gd name="connsiteY0" fmla="*/ 12378 h 485229"/>
                <a:gd name="connsiteX1" fmla="*/ 37 w 361323"/>
                <a:gd name="connsiteY1" fmla="*/ 171706 h 485229"/>
                <a:gd name="connsiteX2" fmla="*/ 55455 w 361323"/>
                <a:gd name="connsiteY2" fmla="*/ 365669 h 485229"/>
                <a:gd name="connsiteX3" fmla="*/ 180146 w 361323"/>
                <a:gd name="connsiteY3" fmla="*/ 462651 h 485229"/>
                <a:gd name="connsiteX4" fmla="*/ 290982 w 361323"/>
                <a:gd name="connsiteY4" fmla="*/ 476506 h 485229"/>
                <a:gd name="connsiteX5" fmla="*/ 360255 w 361323"/>
                <a:gd name="connsiteY5" fmla="*/ 351815 h 485229"/>
                <a:gd name="connsiteX6" fmla="*/ 325619 w 361323"/>
                <a:gd name="connsiteY6" fmla="*/ 150924 h 485229"/>
                <a:gd name="connsiteX7" fmla="*/ 228637 w 361323"/>
                <a:gd name="connsiteY7" fmla="*/ 26233 h 485229"/>
                <a:gd name="connsiteX8" fmla="*/ 62382 w 361323"/>
                <a:gd name="connsiteY8" fmla="*/ 12378 h 48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3" h="485229">
                  <a:moveTo>
                    <a:pt x="62382" y="12378"/>
                  </a:moveTo>
                  <a:cubicBezTo>
                    <a:pt x="24282" y="36623"/>
                    <a:pt x="1191" y="112824"/>
                    <a:pt x="37" y="171706"/>
                  </a:cubicBezTo>
                  <a:cubicBezTo>
                    <a:pt x="-1117" y="230588"/>
                    <a:pt x="25437" y="317178"/>
                    <a:pt x="55455" y="365669"/>
                  </a:cubicBezTo>
                  <a:cubicBezTo>
                    <a:pt x="85473" y="414160"/>
                    <a:pt x="140892" y="444178"/>
                    <a:pt x="180146" y="462651"/>
                  </a:cubicBezTo>
                  <a:cubicBezTo>
                    <a:pt x="219401" y="481124"/>
                    <a:pt x="260964" y="494979"/>
                    <a:pt x="290982" y="476506"/>
                  </a:cubicBezTo>
                  <a:cubicBezTo>
                    <a:pt x="321000" y="458033"/>
                    <a:pt x="354482" y="406079"/>
                    <a:pt x="360255" y="351815"/>
                  </a:cubicBezTo>
                  <a:cubicBezTo>
                    <a:pt x="366028" y="297551"/>
                    <a:pt x="347555" y="205188"/>
                    <a:pt x="325619" y="150924"/>
                  </a:cubicBezTo>
                  <a:cubicBezTo>
                    <a:pt x="303683" y="96660"/>
                    <a:pt x="272510" y="49324"/>
                    <a:pt x="228637" y="26233"/>
                  </a:cubicBezTo>
                  <a:cubicBezTo>
                    <a:pt x="184764" y="3142"/>
                    <a:pt x="100482" y="-11867"/>
                    <a:pt x="62382" y="12378"/>
                  </a:cubicBezTo>
                  <a:close/>
                </a:path>
              </a:pathLst>
            </a:cu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35" name="Freeform: Shape 234"/>
            <p:cNvSpPr/>
            <p:nvPr/>
          </p:nvSpPr>
          <p:spPr bwMode="auto">
            <a:xfrm>
              <a:off x="1284412" y="7446818"/>
              <a:ext cx="177242" cy="381782"/>
            </a:xfrm>
            <a:custGeom>
              <a:avLst/>
              <a:gdLst>
                <a:gd name="connsiteX0" fmla="*/ 79417 w 155617"/>
                <a:gd name="connsiteY0" fmla="*/ 0 h 381782"/>
                <a:gd name="connsiteX1" fmla="*/ 10144 w 155617"/>
                <a:gd name="connsiteY1" fmla="*/ 90055 h 381782"/>
                <a:gd name="connsiteX2" fmla="*/ 3217 w 155617"/>
                <a:gd name="connsiteY2" fmla="*/ 207818 h 381782"/>
                <a:gd name="connsiteX3" fmla="*/ 37853 w 155617"/>
                <a:gd name="connsiteY3" fmla="*/ 346364 h 381782"/>
                <a:gd name="connsiteX4" fmla="*/ 100199 w 155617"/>
                <a:gd name="connsiteY4" fmla="*/ 381000 h 381782"/>
                <a:gd name="connsiteX5" fmla="*/ 155617 w 155617"/>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74913"/>
                <a:gd name="connsiteY0" fmla="*/ 0 h 381782"/>
                <a:gd name="connsiteX1" fmla="*/ 15586 w 174913"/>
                <a:gd name="connsiteY1" fmla="*/ 90055 h 381782"/>
                <a:gd name="connsiteX2" fmla="*/ 1731 w 174913"/>
                <a:gd name="connsiteY2" fmla="*/ 200891 h 381782"/>
                <a:gd name="connsiteX3" fmla="*/ 43295 w 174913"/>
                <a:gd name="connsiteY3" fmla="*/ 346364 h 381782"/>
                <a:gd name="connsiteX4" fmla="*/ 105641 w 174913"/>
                <a:gd name="connsiteY4" fmla="*/ 381000 h 381782"/>
                <a:gd name="connsiteX5" fmla="*/ 174913 w 174913"/>
                <a:gd name="connsiteY5" fmla="*/ 367146 h 381782"/>
                <a:gd name="connsiteX0" fmla="*/ 87188 w 177242"/>
                <a:gd name="connsiteY0" fmla="*/ 0 h 381782"/>
                <a:gd name="connsiteX1" fmla="*/ 10987 w 177242"/>
                <a:gd name="connsiteY1" fmla="*/ 90055 h 381782"/>
                <a:gd name="connsiteX2" fmla="*/ 4060 w 177242"/>
                <a:gd name="connsiteY2" fmla="*/ 200891 h 381782"/>
                <a:gd name="connsiteX3" fmla="*/ 45624 w 177242"/>
                <a:gd name="connsiteY3" fmla="*/ 346364 h 381782"/>
                <a:gd name="connsiteX4" fmla="*/ 107970 w 177242"/>
                <a:gd name="connsiteY4" fmla="*/ 381000 h 381782"/>
                <a:gd name="connsiteX5" fmla="*/ 177242 w 177242"/>
                <a:gd name="connsiteY5" fmla="*/ 367146 h 3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242" h="381782">
                  <a:moveTo>
                    <a:pt x="87188" y="0"/>
                  </a:moveTo>
                  <a:cubicBezTo>
                    <a:pt x="58901" y="27709"/>
                    <a:pt x="24842" y="56573"/>
                    <a:pt x="10987" y="90055"/>
                  </a:cubicBezTo>
                  <a:cubicBezTo>
                    <a:pt x="-2868" y="123537"/>
                    <a:pt x="-1713" y="158173"/>
                    <a:pt x="4060" y="200891"/>
                  </a:cubicBezTo>
                  <a:cubicBezTo>
                    <a:pt x="9833" y="243609"/>
                    <a:pt x="28306" y="316346"/>
                    <a:pt x="45624" y="346364"/>
                  </a:cubicBezTo>
                  <a:cubicBezTo>
                    <a:pt x="62942" y="376382"/>
                    <a:pt x="86034" y="377536"/>
                    <a:pt x="107970" y="381000"/>
                  </a:cubicBezTo>
                  <a:cubicBezTo>
                    <a:pt x="129906" y="384464"/>
                    <a:pt x="159346" y="375805"/>
                    <a:pt x="177242" y="367146"/>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36" name="Freeform: Shape 235"/>
            <p:cNvSpPr/>
            <p:nvPr/>
          </p:nvSpPr>
          <p:spPr bwMode="auto">
            <a:xfrm>
              <a:off x="6006888" y="5396335"/>
              <a:ext cx="564212" cy="137423"/>
            </a:xfrm>
            <a:custGeom>
              <a:avLst/>
              <a:gdLst>
                <a:gd name="connsiteX0" fmla="*/ 144530 w 564212"/>
                <a:gd name="connsiteY0" fmla="*/ 117774 h 137423"/>
                <a:gd name="connsiteX1" fmla="*/ 428548 w 564212"/>
                <a:gd name="connsiteY1" fmla="*/ 131629 h 137423"/>
                <a:gd name="connsiteX2" fmla="*/ 553239 w 564212"/>
                <a:gd name="connsiteY2" fmla="*/ 20792 h 137423"/>
                <a:gd name="connsiteX3" fmla="*/ 511676 w 564212"/>
                <a:gd name="connsiteY3" fmla="*/ 10 h 137423"/>
                <a:gd name="connsiteX4" fmla="*/ 144530 w 564212"/>
                <a:gd name="connsiteY4" fmla="*/ 20792 h 137423"/>
                <a:gd name="connsiteX5" fmla="*/ 26767 w 564212"/>
                <a:gd name="connsiteY5" fmla="*/ 34647 h 137423"/>
                <a:gd name="connsiteX6" fmla="*/ 5985 w 564212"/>
                <a:gd name="connsiteY6" fmla="*/ 83138 h 137423"/>
                <a:gd name="connsiteX7" fmla="*/ 144530 w 564212"/>
                <a:gd name="connsiteY7" fmla="*/ 117774 h 137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4212" h="137423">
                  <a:moveTo>
                    <a:pt x="144530" y="117774"/>
                  </a:moveTo>
                  <a:cubicBezTo>
                    <a:pt x="214957" y="125856"/>
                    <a:pt x="360430" y="147793"/>
                    <a:pt x="428548" y="131629"/>
                  </a:cubicBezTo>
                  <a:cubicBezTo>
                    <a:pt x="496666" y="115465"/>
                    <a:pt x="539384" y="42728"/>
                    <a:pt x="553239" y="20792"/>
                  </a:cubicBezTo>
                  <a:cubicBezTo>
                    <a:pt x="567094" y="-1144"/>
                    <a:pt x="579794" y="10"/>
                    <a:pt x="511676" y="10"/>
                  </a:cubicBezTo>
                  <a:cubicBezTo>
                    <a:pt x="443558" y="10"/>
                    <a:pt x="225348" y="15019"/>
                    <a:pt x="144530" y="20792"/>
                  </a:cubicBezTo>
                  <a:cubicBezTo>
                    <a:pt x="63712" y="26565"/>
                    <a:pt x="49858" y="24256"/>
                    <a:pt x="26767" y="34647"/>
                  </a:cubicBezTo>
                  <a:cubicBezTo>
                    <a:pt x="3676" y="45038"/>
                    <a:pt x="-7869" y="69284"/>
                    <a:pt x="5985" y="83138"/>
                  </a:cubicBezTo>
                  <a:cubicBezTo>
                    <a:pt x="19839" y="96992"/>
                    <a:pt x="74103" y="109692"/>
                    <a:pt x="144530" y="117774"/>
                  </a:cubicBezTo>
                  <a:close/>
                </a:path>
              </a:pathLst>
            </a:cu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37" name="Freeform: Shape 236"/>
            <p:cNvSpPr/>
            <p:nvPr/>
          </p:nvSpPr>
          <p:spPr bwMode="auto">
            <a:xfrm>
              <a:off x="879763" y="4717473"/>
              <a:ext cx="5347855" cy="1046018"/>
            </a:xfrm>
            <a:custGeom>
              <a:avLst/>
              <a:gdLst>
                <a:gd name="connsiteX0" fmla="*/ 0 w 5320146"/>
                <a:gd name="connsiteY0" fmla="*/ 1046018 h 1046018"/>
                <a:gd name="connsiteX1" fmla="*/ 581891 w 5320146"/>
                <a:gd name="connsiteY1" fmla="*/ 762000 h 1046018"/>
                <a:gd name="connsiteX2" fmla="*/ 1371600 w 5320146"/>
                <a:gd name="connsiteY2" fmla="*/ 540327 h 1046018"/>
                <a:gd name="connsiteX3" fmla="*/ 2528455 w 5320146"/>
                <a:gd name="connsiteY3" fmla="*/ 325582 h 1046018"/>
                <a:gd name="connsiteX4" fmla="*/ 3913909 w 5320146"/>
                <a:gd name="connsiteY4" fmla="*/ 138545 h 1046018"/>
                <a:gd name="connsiteX5" fmla="*/ 4814455 w 5320146"/>
                <a:gd name="connsiteY5" fmla="*/ 34636 h 1046018"/>
                <a:gd name="connsiteX6" fmla="*/ 5320146 w 5320146"/>
                <a:gd name="connsiteY6" fmla="*/ 0 h 1046018"/>
                <a:gd name="connsiteX0" fmla="*/ 0 w 5347855"/>
                <a:gd name="connsiteY0" fmla="*/ 1046018 h 1046018"/>
                <a:gd name="connsiteX1" fmla="*/ 581891 w 5347855"/>
                <a:gd name="connsiteY1" fmla="*/ 762000 h 1046018"/>
                <a:gd name="connsiteX2" fmla="*/ 1371600 w 5347855"/>
                <a:gd name="connsiteY2" fmla="*/ 540327 h 1046018"/>
                <a:gd name="connsiteX3" fmla="*/ 2528455 w 5347855"/>
                <a:gd name="connsiteY3" fmla="*/ 325582 h 1046018"/>
                <a:gd name="connsiteX4" fmla="*/ 3913909 w 5347855"/>
                <a:gd name="connsiteY4" fmla="*/ 138545 h 1046018"/>
                <a:gd name="connsiteX5" fmla="*/ 4814455 w 5347855"/>
                <a:gd name="connsiteY5" fmla="*/ 34636 h 1046018"/>
                <a:gd name="connsiteX6" fmla="*/ 5347855 w 5347855"/>
                <a:gd name="connsiteY6" fmla="*/ 0 h 10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7855" h="1046018">
                  <a:moveTo>
                    <a:pt x="0" y="1046018"/>
                  </a:moveTo>
                  <a:cubicBezTo>
                    <a:pt x="176645" y="946150"/>
                    <a:pt x="353291" y="846282"/>
                    <a:pt x="581891" y="762000"/>
                  </a:cubicBezTo>
                  <a:cubicBezTo>
                    <a:pt x="810491" y="677718"/>
                    <a:pt x="1047173" y="613063"/>
                    <a:pt x="1371600" y="540327"/>
                  </a:cubicBezTo>
                  <a:cubicBezTo>
                    <a:pt x="1696027" y="467591"/>
                    <a:pt x="2104737" y="392546"/>
                    <a:pt x="2528455" y="325582"/>
                  </a:cubicBezTo>
                  <a:cubicBezTo>
                    <a:pt x="2952173" y="258618"/>
                    <a:pt x="3532909" y="187036"/>
                    <a:pt x="3913909" y="138545"/>
                  </a:cubicBezTo>
                  <a:cubicBezTo>
                    <a:pt x="4294909" y="90054"/>
                    <a:pt x="4575464" y="57727"/>
                    <a:pt x="4814455" y="34636"/>
                  </a:cubicBezTo>
                  <a:cubicBezTo>
                    <a:pt x="5053446" y="11545"/>
                    <a:pt x="5212196" y="5772"/>
                    <a:pt x="5347855"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38" name="Freeform: Shape 237"/>
            <p:cNvSpPr/>
            <p:nvPr/>
          </p:nvSpPr>
          <p:spPr bwMode="auto">
            <a:xfrm>
              <a:off x="1738745" y="4793673"/>
              <a:ext cx="5077691" cy="865909"/>
            </a:xfrm>
            <a:custGeom>
              <a:avLst/>
              <a:gdLst>
                <a:gd name="connsiteX0" fmla="*/ 5077691 w 5077691"/>
                <a:gd name="connsiteY0" fmla="*/ 0 h 865909"/>
                <a:gd name="connsiteX1" fmla="*/ 4918364 w 5077691"/>
                <a:gd name="connsiteY1" fmla="*/ 103909 h 865909"/>
                <a:gd name="connsiteX2" fmla="*/ 4475019 w 5077691"/>
                <a:gd name="connsiteY2" fmla="*/ 228600 h 865909"/>
                <a:gd name="connsiteX3" fmla="*/ 3851564 w 5077691"/>
                <a:gd name="connsiteY3" fmla="*/ 297872 h 865909"/>
                <a:gd name="connsiteX4" fmla="*/ 2930237 w 5077691"/>
                <a:gd name="connsiteY4" fmla="*/ 381000 h 865909"/>
                <a:gd name="connsiteX5" fmla="*/ 1953491 w 5077691"/>
                <a:gd name="connsiteY5" fmla="*/ 477982 h 865909"/>
                <a:gd name="connsiteX6" fmla="*/ 1094510 w 5077691"/>
                <a:gd name="connsiteY6" fmla="*/ 609600 h 865909"/>
                <a:gd name="connsiteX7" fmla="*/ 526473 w 5077691"/>
                <a:gd name="connsiteY7" fmla="*/ 699654 h 865909"/>
                <a:gd name="connsiteX8" fmla="*/ 96982 w 5077691"/>
                <a:gd name="connsiteY8" fmla="*/ 831272 h 865909"/>
                <a:gd name="connsiteX9" fmla="*/ 0 w 5077691"/>
                <a:gd name="connsiteY9" fmla="*/ 865909 h 8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7691" h="865909">
                  <a:moveTo>
                    <a:pt x="5077691" y="0"/>
                  </a:moveTo>
                  <a:cubicBezTo>
                    <a:pt x="5048250" y="32904"/>
                    <a:pt x="5018809" y="65809"/>
                    <a:pt x="4918364" y="103909"/>
                  </a:cubicBezTo>
                  <a:cubicBezTo>
                    <a:pt x="4817919" y="142009"/>
                    <a:pt x="4652819" y="196273"/>
                    <a:pt x="4475019" y="228600"/>
                  </a:cubicBezTo>
                  <a:cubicBezTo>
                    <a:pt x="4297219" y="260927"/>
                    <a:pt x="3851564" y="297872"/>
                    <a:pt x="3851564" y="297872"/>
                  </a:cubicBezTo>
                  <a:lnTo>
                    <a:pt x="2930237" y="381000"/>
                  </a:lnTo>
                  <a:cubicBezTo>
                    <a:pt x="2613892" y="411018"/>
                    <a:pt x="2259445" y="439882"/>
                    <a:pt x="1953491" y="477982"/>
                  </a:cubicBezTo>
                  <a:cubicBezTo>
                    <a:pt x="1647537" y="516082"/>
                    <a:pt x="1094510" y="609600"/>
                    <a:pt x="1094510" y="609600"/>
                  </a:cubicBezTo>
                  <a:cubicBezTo>
                    <a:pt x="856674" y="646545"/>
                    <a:pt x="692728" y="662709"/>
                    <a:pt x="526473" y="699654"/>
                  </a:cubicBezTo>
                  <a:cubicBezTo>
                    <a:pt x="360218" y="736599"/>
                    <a:pt x="184727" y="803563"/>
                    <a:pt x="96982" y="831272"/>
                  </a:cubicBezTo>
                  <a:cubicBezTo>
                    <a:pt x="9236" y="858981"/>
                    <a:pt x="4618" y="862445"/>
                    <a:pt x="0" y="865909"/>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39" name="Freeform: Shape 238"/>
            <p:cNvSpPr/>
            <p:nvPr/>
          </p:nvSpPr>
          <p:spPr bwMode="auto">
            <a:xfrm>
              <a:off x="1780309" y="5174673"/>
              <a:ext cx="5077691" cy="477982"/>
            </a:xfrm>
            <a:custGeom>
              <a:avLst/>
              <a:gdLst>
                <a:gd name="connsiteX0" fmla="*/ 0 w 5077691"/>
                <a:gd name="connsiteY0" fmla="*/ 477982 h 477982"/>
                <a:gd name="connsiteX1" fmla="*/ 727364 w 5077691"/>
                <a:gd name="connsiteY1" fmla="*/ 339436 h 477982"/>
                <a:gd name="connsiteX2" fmla="*/ 1711036 w 5077691"/>
                <a:gd name="connsiteY2" fmla="*/ 214745 h 477982"/>
                <a:gd name="connsiteX3" fmla="*/ 2902527 w 5077691"/>
                <a:gd name="connsiteY3" fmla="*/ 117763 h 477982"/>
                <a:gd name="connsiteX4" fmla="*/ 4135582 w 5077691"/>
                <a:gd name="connsiteY4" fmla="*/ 34636 h 477982"/>
                <a:gd name="connsiteX5" fmla="*/ 4807527 w 5077691"/>
                <a:gd name="connsiteY5" fmla="*/ 13854 h 477982"/>
                <a:gd name="connsiteX6" fmla="*/ 5077691 w 5077691"/>
                <a:gd name="connsiteY6" fmla="*/ 0 h 47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7691" h="477982">
                  <a:moveTo>
                    <a:pt x="0" y="477982"/>
                  </a:moveTo>
                  <a:cubicBezTo>
                    <a:pt x="221095" y="430645"/>
                    <a:pt x="442191" y="383309"/>
                    <a:pt x="727364" y="339436"/>
                  </a:cubicBezTo>
                  <a:cubicBezTo>
                    <a:pt x="1012537" y="295563"/>
                    <a:pt x="1348509" y="251690"/>
                    <a:pt x="1711036" y="214745"/>
                  </a:cubicBezTo>
                  <a:cubicBezTo>
                    <a:pt x="2073563" y="177800"/>
                    <a:pt x="2902527" y="117763"/>
                    <a:pt x="2902527" y="117763"/>
                  </a:cubicBezTo>
                  <a:lnTo>
                    <a:pt x="4135582" y="34636"/>
                  </a:lnTo>
                  <a:cubicBezTo>
                    <a:pt x="4453082" y="17318"/>
                    <a:pt x="4650509" y="19627"/>
                    <a:pt x="4807527" y="13854"/>
                  </a:cubicBezTo>
                  <a:cubicBezTo>
                    <a:pt x="4964545" y="8081"/>
                    <a:pt x="5021118" y="4040"/>
                    <a:pt x="507769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40" name="Freeform: Shape 239"/>
            <p:cNvSpPr/>
            <p:nvPr/>
          </p:nvSpPr>
          <p:spPr bwMode="auto">
            <a:xfrm>
              <a:off x="847008" y="5653544"/>
              <a:ext cx="2207919" cy="891334"/>
            </a:xfrm>
            <a:custGeom>
              <a:avLst/>
              <a:gdLst>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32951 w 2219642"/>
                <a:gd name="connsiteY15" fmla="*/ 518656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1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23896 w 2219642"/>
                <a:gd name="connsiteY16" fmla="*/ 276202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51605 w 2219642"/>
                <a:gd name="connsiteY16" fmla="*/ 269274 h 891334"/>
                <a:gd name="connsiteX0" fmla="*/ 2214013 w 2214013"/>
                <a:gd name="connsiteY0" fmla="*/ 553292 h 891334"/>
                <a:gd name="connsiteX1" fmla="*/ 1860722 w 2214013"/>
                <a:gd name="connsiteY1" fmla="*/ 338547 h 891334"/>
                <a:gd name="connsiteX2" fmla="*/ 1278831 w 2214013"/>
                <a:gd name="connsiteY2" fmla="*/ 109947 h 891334"/>
                <a:gd name="connsiteX3" fmla="*/ 925541 w 2214013"/>
                <a:gd name="connsiteY3" fmla="*/ 6038 h 891334"/>
                <a:gd name="connsiteX4" fmla="*/ 579177 w 2214013"/>
                <a:gd name="connsiteY4" fmla="*/ 19892 h 891334"/>
                <a:gd name="connsiteX5" fmla="*/ 295159 w 2214013"/>
                <a:gd name="connsiteY5" fmla="*/ 82238 h 891334"/>
                <a:gd name="connsiteX6" fmla="*/ 87341 w 2214013"/>
                <a:gd name="connsiteY6" fmla="*/ 206929 h 891334"/>
                <a:gd name="connsiteX7" fmla="*/ 31922 w 2214013"/>
                <a:gd name="connsiteY7" fmla="*/ 435529 h 891334"/>
                <a:gd name="connsiteX8" fmla="*/ 4213 w 2214013"/>
                <a:gd name="connsiteY8" fmla="*/ 719547 h 891334"/>
                <a:gd name="connsiteX9" fmla="*/ 121977 w 2214013"/>
                <a:gd name="connsiteY9" fmla="*/ 802674 h 891334"/>
                <a:gd name="connsiteX10" fmla="*/ 267450 w 2214013"/>
                <a:gd name="connsiteY10" fmla="*/ 809601 h 891334"/>
                <a:gd name="connsiteX11" fmla="*/ 357504 w 2214013"/>
                <a:gd name="connsiteY11" fmla="*/ 871947 h 891334"/>
                <a:gd name="connsiteX12" fmla="*/ 461413 w 2214013"/>
                <a:gd name="connsiteY12" fmla="*/ 885801 h 891334"/>
                <a:gd name="connsiteX13" fmla="*/ 821631 w 2214013"/>
                <a:gd name="connsiteY13" fmla="*/ 788820 h 891334"/>
                <a:gd name="connsiteX14" fmla="*/ 1313467 w 2214013"/>
                <a:gd name="connsiteY14" fmla="*/ 511729 h 891334"/>
                <a:gd name="connsiteX15" fmla="*/ 1645976 w 2214013"/>
                <a:gd name="connsiteY15" fmla="*/ 269274 h 891334"/>
                <a:gd name="connsiteX0" fmla="*/ 2214123 w 2214123"/>
                <a:gd name="connsiteY0" fmla="*/ 553292 h 891334"/>
                <a:gd name="connsiteX1" fmla="*/ 1860832 w 2214123"/>
                <a:gd name="connsiteY1" fmla="*/ 338547 h 891334"/>
                <a:gd name="connsiteX2" fmla="*/ 1278941 w 2214123"/>
                <a:gd name="connsiteY2" fmla="*/ 109947 h 891334"/>
                <a:gd name="connsiteX3" fmla="*/ 925651 w 2214123"/>
                <a:gd name="connsiteY3" fmla="*/ 6038 h 891334"/>
                <a:gd name="connsiteX4" fmla="*/ 579287 w 2214123"/>
                <a:gd name="connsiteY4" fmla="*/ 19892 h 891334"/>
                <a:gd name="connsiteX5" fmla="*/ 295269 w 2214123"/>
                <a:gd name="connsiteY5" fmla="*/ 82238 h 891334"/>
                <a:gd name="connsiteX6" fmla="*/ 94378 w 2214123"/>
                <a:gd name="connsiteY6" fmla="*/ 206929 h 891334"/>
                <a:gd name="connsiteX7" fmla="*/ 32032 w 2214123"/>
                <a:gd name="connsiteY7" fmla="*/ 435529 h 891334"/>
                <a:gd name="connsiteX8" fmla="*/ 4323 w 2214123"/>
                <a:gd name="connsiteY8" fmla="*/ 719547 h 891334"/>
                <a:gd name="connsiteX9" fmla="*/ 122087 w 2214123"/>
                <a:gd name="connsiteY9" fmla="*/ 802674 h 891334"/>
                <a:gd name="connsiteX10" fmla="*/ 267560 w 2214123"/>
                <a:gd name="connsiteY10" fmla="*/ 809601 h 891334"/>
                <a:gd name="connsiteX11" fmla="*/ 357614 w 2214123"/>
                <a:gd name="connsiteY11" fmla="*/ 871947 h 891334"/>
                <a:gd name="connsiteX12" fmla="*/ 461523 w 2214123"/>
                <a:gd name="connsiteY12" fmla="*/ 885801 h 891334"/>
                <a:gd name="connsiteX13" fmla="*/ 821741 w 2214123"/>
                <a:gd name="connsiteY13" fmla="*/ 788820 h 891334"/>
                <a:gd name="connsiteX14" fmla="*/ 1313577 w 2214123"/>
                <a:gd name="connsiteY14" fmla="*/ 511729 h 891334"/>
                <a:gd name="connsiteX15" fmla="*/ 1646086 w 2214123"/>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07919" h="891334">
                  <a:moveTo>
                    <a:pt x="2207919" y="553292"/>
                  </a:moveTo>
                  <a:cubicBezTo>
                    <a:pt x="2109205" y="482865"/>
                    <a:pt x="2017419" y="398584"/>
                    <a:pt x="1854628" y="338547"/>
                  </a:cubicBezTo>
                  <a:cubicBezTo>
                    <a:pt x="1691837" y="278510"/>
                    <a:pt x="1428600" y="165365"/>
                    <a:pt x="1272737" y="109947"/>
                  </a:cubicBezTo>
                  <a:cubicBezTo>
                    <a:pt x="1116874" y="54529"/>
                    <a:pt x="1036056" y="21047"/>
                    <a:pt x="919447" y="6038"/>
                  </a:cubicBezTo>
                  <a:cubicBezTo>
                    <a:pt x="802838" y="-8971"/>
                    <a:pt x="678147" y="7192"/>
                    <a:pt x="573083" y="19892"/>
                  </a:cubicBezTo>
                  <a:cubicBezTo>
                    <a:pt x="468019" y="32592"/>
                    <a:pt x="369883" y="51065"/>
                    <a:pt x="289065" y="82238"/>
                  </a:cubicBezTo>
                  <a:cubicBezTo>
                    <a:pt x="208247" y="113411"/>
                    <a:pt x="132047" y="148047"/>
                    <a:pt x="88174" y="206929"/>
                  </a:cubicBezTo>
                  <a:cubicBezTo>
                    <a:pt x="44301" y="265811"/>
                    <a:pt x="39683" y="344320"/>
                    <a:pt x="25828" y="435529"/>
                  </a:cubicBezTo>
                  <a:cubicBezTo>
                    <a:pt x="11973" y="526738"/>
                    <a:pt x="-9963" y="692992"/>
                    <a:pt x="5046" y="754183"/>
                  </a:cubicBezTo>
                  <a:cubicBezTo>
                    <a:pt x="20055" y="815374"/>
                    <a:pt x="73165" y="793438"/>
                    <a:pt x="115883" y="802674"/>
                  </a:cubicBezTo>
                  <a:cubicBezTo>
                    <a:pt x="158601" y="811910"/>
                    <a:pt x="222102" y="798056"/>
                    <a:pt x="261356" y="809601"/>
                  </a:cubicBezTo>
                  <a:cubicBezTo>
                    <a:pt x="300610" y="821146"/>
                    <a:pt x="319083" y="859247"/>
                    <a:pt x="351410" y="871947"/>
                  </a:cubicBezTo>
                  <a:cubicBezTo>
                    <a:pt x="383737" y="884647"/>
                    <a:pt x="377965" y="899655"/>
                    <a:pt x="455319" y="885801"/>
                  </a:cubicBezTo>
                  <a:cubicBezTo>
                    <a:pt x="532673" y="871947"/>
                    <a:pt x="673528" y="851165"/>
                    <a:pt x="815537" y="788820"/>
                  </a:cubicBezTo>
                  <a:cubicBezTo>
                    <a:pt x="957546" y="726475"/>
                    <a:pt x="1169982" y="598320"/>
                    <a:pt x="1307373" y="511729"/>
                  </a:cubicBezTo>
                  <a:cubicBezTo>
                    <a:pt x="1444764" y="425138"/>
                    <a:pt x="1543477" y="353555"/>
                    <a:pt x="1639882" y="26927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41" name="Freeform: Shape 240"/>
            <p:cNvSpPr/>
            <p:nvPr/>
          </p:nvSpPr>
          <p:spPr bwMode="auto">
            <a:xfrm>
              <a:off x="456222" y="6861462"/>
              <a:ext cx="1370536" cy="253711"/>
            </a:xfrm>
            <a:custGeom>
              <a:avLst/>
              <a:gdLst>
                <a:gd name="connsiteX0" fmla="*/ 432524 w 1358737"/>
                <a:gd name="connsiteY0" fmla="*/ 255575 h 269762"/>
                <a:gd name="connsiteX1" fmla="*/ 1007488 w 1358737"/>
                <a:gd name="connsiteY1" fmla="*/ 262502 h 269762"/>
                <a:gd name="connsiteX2" fmla="*/ 1222234 w 1358737"/>
                <a:gd name="connsiteY2" fmla="*/ 214011 h 269762"/>
                <a:gd name="connsiteX3" fmla="*/ 1353852 w 1358737"/>
                <a:gd name="connsiteY3" fmla="*/ 54684 h 269762"/>
                <a:gd name="connsiteX4" fmla="*/ 1236088 w 1358737"/>
                <a:gd name="connsiteY4" fmla="*/ 33902 h 269762"/>
                <a:gd name="connsiteX5" fmla="*/ 425597 w 1358737"/>
                <a:gd name="connsiteY5" fmla="*/ 20047 h 269762"/>
                <a:gd name="connsiteX6" fmla="*/ 120797 w 1358737"/>
                <a:gd name="connsiteY6" fmla="*/ 6193 h 269762"/>
                <a:gd name="connsiteX7" fmla="*/ 23815 w 1358737"/>
                <a:gd name="connsiteY7" fmla="*/ 6193 h 269762"/>
                <a:gd name="connsiteX8" fmla="*/ 3034 w 1358737"/>
                <a:gd name="connsiteY8" fmla="*/ 82393 h 269762"/>
                <a:gd name="connsiteX9" fmla="*/ 3034 w 1358737"/>
                <a:gd name="connsiteY9" fmla="*/ 227865 h 269762"/>
                <a:gd name="connsiteX10" fmla="*/ 23815 w 1358737"/>
                <a:gd name="connsiteY10" fmla="*/ 262502 h 269762"/>
                <a:gd name="connsiteX11" fmla="*/ 238561 w 1358737"/>
                <a:gd name="connsiteY11" fmla="*/ 269429 h 269762"/>
                <a:gd name="connsiteX12" fmla="*/ 550288 w 1358737"/>
                <a:gd name="connsiteY12" fmla="*/ 269429 h 269762"/>
                <a:gd name="connsiteX13" fmla="*/ 432524 w 1358737"/>
                <a:gd name="connsiteY13" fmla="*/ 255575 h 269762"/>
                <a:gd name="connsiteX0" fmla="*/ 550288 w 1358737"/>
                <a:gd name="connsiteY0" fmla="*/ 269429 h 270294"/>
                <a:gd name="connsiteX1" fmla="*/ 1007488 w 1358737"/>
                <a:gd name="connsiteY1" fmla="*/ 262502 h 270294"/>
                <a:gd name="connsiteX2" fmla="*/ 1222234 w 1358737"/>
                <a:gd name="connsiteY2" fmla="*/ 214011 h 270294"/>
                <a:gd name="connsiteX3" fmla="*/ 1353852 w 1358737"/>
                <a:gd name="connsiteY3" fmla="*/ 54684 h 270294"/>
                <a:gd name="connsiteX4" fmla="*/ 1236088 w 1358737"/>
                <a:gd name="connsiteY4" fmla="*/ 33902 h 270294"/>
                <a:gd name="connsiteX5" fmla="*/ 425597 w 1358737"/>
                <a:gd name="connsiteY5" fmla="*/ 20047 h 270294"/>
                <a:gd name="connsiteX6" fmla="*/ 120797 w 1358737"/>
                <a:gd name="connsiteY6" fmla="*/ 6193 h 270294"/>
                <a:gd name="connsiteX7" fmla="*/ 23815 w 1358737"/>
                <a:gd name="connsiteY7" fmla="*/ 6193 h 270294"/>
                <a:gd name="connsiteX8" fmla="*/ 3034 w 1358737"/>
                <a:gd name="connsiteY8" fmla="*/ 82393 h 270294"/>
                <a:gd name="connsiteX9" fmla="*/ 3034 w 1358737"/>
                <a:gd name="connsiteY9" fmla="*/ 227865 h 270294"/>
                <a:gd name="connsiteX10" fmla="*/ 23815 w 1358737"/>
                <a:gd name="connsiteY10" fmla="*/ 262502 h 270294"/>
                <a:gd name="connsiteX11" fmla="*/ 238561 w 1358737"/>
                <a:gd name="connsiteY11" fmla="*/ 269429 h 270294"/>
                <a:gd name="connsiteX12" fmla="*/ 550288 w 1358737"/>
                <a:gd name="connsiteY12" fmla="*/ 269429 h 270294"/>
                <a:gd name="connsiteX0" fmla="*/ 550288 w 1358737"/>
                <a:gd name="connsiteY0" fmla="*/ 266015 h 266880"/>
                <a:gd name="connsiteX1" fmla="*/ 1007488 w 1358737"/>
                <a:gd name="connsiteY1" fmla="*/ 259088 h 266880"/>
                <a:gd name="connsiteX2" fmla="*/ 1222234 w 1358737"/>
                <a:gd name="connsiteY2" fmla="*/ 210597 h 266880"/>
                <a:gd name="connsiteX3" fmla="*/ 1353852 w 1358737"/>
                <a:gd name="connsiteY3" fmla="*/ 51270 h 266880"/>
                <a:gd name="connsiteX4" fmla="*/ 1236088 w 1358737"/>
                <a:gd name="connsiteY4" fmla="*/ 30488 h 266880"/>
                <a:gd name="connsiteX5" fmla="*/ 425597 w 1358737"/>
                <a:gd name="connsiteY5" fmla="*/ 16633 h 266880"/>
                <a:gd name="connsiteX6" fmla="*/ 134651 w 1358737"/>
                <a:gd name="connsiteY6" fmla="*/ 16634 h 266880"/>
                <a:gd name="connsiteX7" fmla="*/ 23815 w 1358737"/>
                <a:gd name="connsiteY7" fmla="*/ 2779 h 266880"/>
                <a:gd name="connsiteX8" fmla="*/ 3034 w 1358737"/>
                <a:gd name="connsiteY8" fmla="*/ 78979 h 266880"/>
                <a:gd name="connsiteX9" fmla="*/ 3034 w 1358737"/>
                <a:gd name="connsiteY9" fmla="*/ 224451 h 266880"/>
                <a:gd name="connsiteX10" fmla="*/ 23815 w 1358737"/>
                <a:gd name="connsiteY10" fmla="*/ 259088 h 266880"/>
                <a:gd name="connsiteX11" fmla="*/ 238561 w 1358737"/>
                <a:gd name="connsiteY11" fmla="*/ 266015 h 266880"/>
                <a:gd name="connsiteX12" fmla="*/ 550288 w 1358737"/>
                <a:gd name="connsiteY12" fmla="*/ 266015 h 266880"/>
                <a:gd name="connsiteX0" fmla="*/ 563217 w 1371666"/>
                <a:gd name="connsiteY0" fmla="*/ 266229 h 267094"/>
                <a:gd name="connsiteX1" fmla="*/ 1020417 w 1371666"/>
                <a:gd name="connsiteY1" fmla="*/ 259302 h 267094"/>
                <a:gd name="connsiteX2" fmla="*/ 1235163 w 1371666"/>
                <a:gd name="connsiteY2" fmla="*/ 210811 h 267094"/>
                <a:gd name="connsiteX3" fmla="*/ 1366781 w 1371666"/>
                <a:gd name="connsiteY3" fmla="*/ 51484 h 267094"/>
                <a:gd name="connsiteX4" fmla="*/ 1249017 w 1371666"/>
                <a:gd name="connsiteY4" fmla="*/ 30702 h 267094"/>
                <a:gd name="connsiteX5" fmla="*/ 438526 w 1371666"/>
                <a:gd name="connsiteY5" fmla="*/ 16847 h 267094"/>
                <a:gd name="connsiteX6" fmla="*/ 36744 w 1371666"/>
                <a:gd name="connsiteY6" fmla="*/ 2993 h 267094"/>
                <a:gd name="connsiteX7" fmla="*/ 15963 w 1371666"/>
                <a:gd name="connsiteY7" fmla="*/ 79193 h 267094"/>
                <a:gd name="connsiteX8" fmla="*/ 15963 w 1371666"/>
                <a:gd name="connsiteY8" fmla="*/ 224665 h 267094"/>
                <a:gd name="connsiteX9" fmla="*/ 36744 w 1371666"/>
                <a:gd name="connsiteY9" fmla="*/ 259302 h 267094"/>
                <a:gd name="connsiteX10" fmla="*/ 251490 w 1371666"/>
                <a:gd name="connsiteY10" fmla="*/ 266229 h 267094"/>
                <a:gd name="connsiteX11" fmla="*/ 563217 w 1371666"/>
                <a:gd name="connsiteY11" fmla="*/ 266229 h 267094"/>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79338 w 1387787"/>
                <a:gd name="connsiteY0" fmla="*/ 251602 h 252467"/>
                <a:gd name="connsiteX1" fmla="*/ 1036538 w 1387787"/>
                <a:gd name="connsiteY1" fmla="*/ 244675 h 252467"/>
                <a:gd name="connsiteX2" fmla="*/ 1251284 w 1387787"/>
                <a:gd name="connsiteY2" fmla="*/ 196184 h 252467"/>
                <a:gd name="connsiteX3" fmla="*/ 1382902 w 1387787"/>
                <a:gd name="connsiteY3" fmla="*/ 36857 h 252467"/>
                <a:gd name="connsiteX4" fmla="*/ 1265138 w 1387787"/>
                <a:gd name="connsiteY4" fmla="*/ 16075 h 252467"/>
                <a:gd name="connsiteX5" fmla="*/ 454647 w 1387787"/>
                <a:gd name="connsiteY5" fmla="*/ 2220 h 252467"/>
                <a:gd name="connsiteX6" fmla="*/ 32084 w 1387787"/>
                <a:gd name="connsiteY6" fmla="*/ 64566 h 252467"/>
                <a:gd name="connsiteX7" fmla="*/ 32084 w 1387787"/>
                <a:gd name="connsiteY7" fmla="*/ 210038 h 252467"/>
                <a:gd name="connsiteX8" fmla="*/ 52865 w 1387787"/>
                <a:gd name="connsiteY8" fmla="*/ 244675 h 252467"/>
                <a:gd name="connsiteX9" fmla="*/ 267611 w 1387787"/>
                <a:gd name="connsiteY9" fmla="*/ 251602 h 252467"/>
                <a:gd name="connsiteX10" fmla="*/ 579338 w 1387787"/>
                <a:gd name="connsiteY10" fmla="*/ 251602 h 252467"/>
                <a:gd name="connsiteX0" fmla="*/ 569062 w 1377511"/>
                <a:gd name="connsiteY0" fmla="*/ 265301 h 266166"/>
                <a:gd name="connsiteX1" fmla="*/ 1026262 w 1377511"/>
                <a:gd name="connsiteY1" fmla="*/ 258374 h 266166"/>
                <a:gd name="connsiteX2" fmla="*/ 1241008 w 1377511"/>
                <a:gd name="connsiteY2" fmla="*/ 209883 h 266166"/>
                <a:gd name="connsiteX3" fmla="*/ 1372626 w 1377511"/>
                <a:gd name="connsiteY3" fmla="*/ 50556 h 266166"/>
                <a:gd name="connsiteX4" fmla="*/ 1254862 w 1377511"/>
                <a:gd name="connsiteY4" fmla="*/ 29774 h 266166"/>
                <a:gd name="connsiteX5" fmla="*/ 444371 w 1377511"/>
                <a:gd name="connsiteY5" fmla="*/ 15919 h 266166"/>
                <a:gd name="connsiteX6" fmla="*/ 35662 w 1377511"/>
                <a:gd name="connsiteY6" fmla="*/ 15919 h 266166"/>
                <a:gd name="connsiteX7" fmla="*/ 21808 w 1377511"/>
                <a:gd name="connsiteY7" fmla="*/ 223737 h 266166"/>
                <a:gd name="connsiteX8" fmla="*/ 42589 w 1377511"/>
                <a:gd name="connsiteY8" fmla="*/ 258374 h 266166"/>
                <a:gd name="connsiteX9" fmla="*/ 257335 w 1377511"/>
                <a:gd name="connsiteY9" fmla="*/ 265301 h 266166"/>
                <a:gd name="connsiteX10" fmla="*/ 569062 w 1377511"/>
                <a:gd name="connsiteY10" fmla="*/ 265301 h 266166"/>
                <a:gd name="connsiteX0" fmla="*/ 551155 w 1359604"/>
                <a:gd name="connsiteY0" fmla="*/ 262227 h 263092"/>
                <a:gd name="connsiteX1" fmla="*/ 1008355 w 1359604"/>
                <a:gd name="connsiteY1" fmla="*/ 255300 h 263092"/>
                <a:gd name="connsiteX2" fmla="*/ 1223101 w 1359604"/>
                <a:gd name="connsiteY2" fmla="*/ 206809 h 263092"/>
                <a:gd name="connsiteX3" fmla="*/ 1354719 w 1359604"/>
                <a:gd name="connsiteY3" fmla="*/ 47482 h 263092"/>
                <a:gd name="connsiteX4" fmla="*/ 1236955 w 1359604"/>
                <a:gd name="connsiteY4" fmla="*/ 26700 h 263092"/>
                <a:gd name="connsiteX5" fmla="*/ 426464 w 1359604"/>
                <a:gd name="connsiteY5" fmla="*/ 12845 h 263092"/>
                <a:gd name="connsiteX6" fmla="*/ 17755 w 1359604"/>
                <a:gd name="connsiteY6" fmla="*/ 12845 h 263092"/>
                <a:gd name="connsiteX7" fmla="*/ 3901 w 1359604"/>
                <a:gd name="connsiteY7" fmla="*/ 220663 h 263092"/>
                <a:gd name="connsiteX8" fmla="*/ 24682 w 1359604"/>
                <a:gd name="connsiteY8" fmla="*/ 255300 h 263092"/>
                <a:gd name="connsiteX9" fmla="*/ 239428 w 1359604"/>
                <a:gd name="connsiteY9" fmla="*/ 262227 h 263092"/>
                <a:gd name="connsiteX10" fmla="*/ 551155 w 1359604"/>
                <a:gd name="connsiteY10" fmla="*/ 262227 h 263092"/>
                <a:gd name="connsiteX0" fmla="*/ 551155 w 1359604"/>
                <a:gd name="connsiteY0" fmla="*/ 252846 h 253711"/>
                <a:gd name="connsiteX1" fmla="*/ 1008355 w 1359604"/>
                <a:gd name="connsiteY1" fmla="*/ 245919 h 253711"/>
                <a:gd name="connsiteX2" fmla="*/ 1223101 w 1359604"/>
                <a:gd name="connsiteY2" fmla="*/ 197428 h 253711"/>
                <a:gd name="connsiteX3" fmla="*/ 1354719 w 1359604"/>
                <a:gd name="connsiteY3" fmla="*/ 38101 h 253711"/>
                <a:gd name="connsiteX4" fmla="*/ 1236955 w 1359604"/>
                <a:gd name="connsiteY4" fmla="*/ 17319 h 253711"/>
                <a:gd name="connsiteX5" fmla="*/ 426464 w 1359604"/>
                <a:gd name="connsiteY5" fmla="*/ 3464 h 253711"/>
                <a:gd name="connsiteX6" fmla="*/ 17755 w 1359604"/>
                <a:gd name="connsiteY6" fmla="*/ 17318 h 253711"/>
                <a:gd name="connsiteX7" fmla="*/ 3901 w 1359604"/>
                <a:gd name="connsiteY7" fmla="*/ 211282 h 253711"/>
                <a:gd name="connsiteX8" fmla="*/ 24682 w 1359604"/>
                <a:gd name="connsiteY8" fmla="*/ 245919 h 253711"/>
                <a:gd name="connsiteX9" fmla="*/ 239428 w 1359604"/>
                <a:gd name="connsiteY9" fmla="*/ 252846 h 253711"/>
                <a:gd name="connsiteX10" fmla="*/ 551155 w 1359604"/>
                <a:gd name="connsiteY10" fmla="*/ 252846 h 253711"/>
                <a:gd name="connsiteX0" fmla="*/ 562087 w 1370536"/>
                <a:gd name="connsiteY0" fmla="*/ 252846 h 253711"/>
                <a:gd name="connsiteX1" fmla="*/ 1019287 w 1370536"/>
                <a:gd name="connsiteY1" fmla="*/ 245919 h 253711"/>
                <a:gd name="connsiteX2" fmla="*/ 1234033 w 1370536"/>
                <a:gd name="connsiteY2" fmla="*/ 197428 h 253711"/>
                <a:gd name="connsiteX3" fmla="*/ 1365651 w 1370536"/>
                <a:gd name="connsiteY3" fmla="*/ 38101 h 253711"/>
                <a:gd name="connsiteX4" fmla="*/ 1247887 w 1370536"/>
                <a:gd name="connsiteY4" fmla="*/ 17319 h 253711"/>
                <a:gd name="connsiteX5" fmla="*/ 437396 w 1370536"/>
                <a:gd name="connsiteY5" fmla="*/ 3464 h 253711"/>
                <a:gd name="connsiteX6" fmla="*/ 28687 w 1370536"/>
                <a:gd name="connsiteY6" fmla="*/ 17318 h 253711"/>
                <a:gd name="connsiteX7" fmla="*/ 14833 w 1370536"/>
                <a:gd name="connsiteY7" fmla="*/ 211282 h 253711"/>
                <a:gd name="connsiteX8" fmla="*/ 250360 w 1370536"/>
                <a:gd name="connsiteY8" fmla="*/ 252846 h 253711"/>
                <a:gd name="connsiteX9" fmla="*/ 562087 w 1370536"/>
                <a:gd name="connsiteY9" fmla="*/ 252846 h 25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0536" h="253711">
                  <a:moveTo>
                    <a:pt x="562087" y="252846"/>
                  </a:moveTo>
                  <a:lnTo>
                    <a:pt x="1019287" y="245919"/>
                  </a:lnTo>
                  <a:cubicBezTo>
                    <a:pt x="1131278" y="236683"/>
                    <a:pt x="1176306" y="232064"/>
                    <a:pt x="1234033" y="197428"/>
                  </a:cubicBezTo>
                  <a:cubicBezTo>
                    <a:pt x="1291760" y="162792"/>
                    <a:pt x="1363342" y="68119"/>
                    <a:pt x="1365651" y="38101"/>
                  </a:cubicBezTo>
                  <a:cubicBezTo>
                    <a:pt x="1367960" y="8083"/>
                    <a:pt x="1402596" y="23092"/>
                    <a:pt x="1247887" y="17319"/>
                  </a:cubicBezTo>
                  <a:cubicBezTo>
                    <a:pt x="1093178" y="11546"/>
                    <a:pt x="640596" y="3464"/>
                    <a:pt x="437396" y="3464"/>
                  </a:cubicBezTo>
                  <a:cubicBezTo>
                    <a:pt x="234196" y="3464"/>
                    <a:pt x="36768" y="-10391"/>
                    <a:pt x="28687" y="17318"/>
                  </a:cubicBezTo>
                  <a:cubicBezTo>
                    <a:pt x="20606" y="45027"/>
                    <a:pt x="-22113" y="172027"/>
                    <a:pt x="14833" y="211282"/>
                  </a:cubicBezTo>
                  <a:cubicBezTo>
                    <a:pt x="51779" y="250537"/>
                    <a:pt x="159151" y="245919"/>
                    <a:pt x="250360" y="252846"/>
                  </a:cubicBezTo>
                  <a:cubicBezTo>
                    <a:pt x="338105" y="254000"/>
                    <a:pt x="433933" y="254000"/>
                    <a:pt x="562087" y="252846"/>
                  </a:cubicBezTo>
                  <a:close/>
                </a:path>
              </a:pathLst>
            </a:cu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42" name="Freeform: Shape 241"/>
            <p:cNvSpPr/>
            <p:nvPr/>
          </p:nvSpPr>
          <p:spPr bwMode="auto">
            <a:xfrm>
              <a:off x="505691" y="7391341"/>
              <a:ext cx="416161" cy="602732"/>
            </a:xfrm>
            <a:custGeom>
              <a:avLst/>
              <a:gdLst>
                <a:gd name="connsiteX0" fmla="*/ 180109 w 423088"/>
                <a:gd name="connsiteY0" fmla="*/ 595745 h 595745"/>
                <a:gd name="connsiteX1" fmla="*/ 381000 w 423088"/>
                <a:gd name="connsiteY1" fmla="*/ 533400 h 595745"/>
                <a:gd name="connsiteX2" fmla="*/ 422563 w 423088"/>
                <a:gd name="connsiteY2" fmla="*/ 311727 h 595745"/>
                <a:gd name="connsiteX3" fmla="*/ 394854 w 423088"/>
                <a:gd name="connsiteY3" fmla="*/ 110836 h 595745"/>
                <a:gd name="connsiteX4" fmla="*/ 270163 w 423088"/>
                <a:gd name="connsiteY4" fmla="*/ 27709 h 595745"/>
                <a:gd name="connsiteX5" fmla="*/ 96981 w 423088"/>
                <a:gd name="connsiteY5" fmla="*/ 6927 h 595745"/>
                <a:gd name="connsiteX6" fmla="*/ 0 w 423088"/>
                <a:gd name="connsiteY6" fmla="*/ 0 h 595745"/>
                <a:gd name="connsiteX0" fmla="*/ 173182 w 416161"/>
                <a:gd name="connsiteY0" fmla="*/ 588878 h 588878"/>
                <a:gd name="connsiteX1" fmla="*/ 374073 w 416161"/>
                <a:gd name="connsiteY1" fmla="*/ 526533 h 588878"/>
                <a:gd name="connsiteX2" fmla="*/ 415636 w 416161"/>
                <a:gd name="connsiteY2" fmla="*/ 304860 h 588878"/>
                <a:gd name="connsiteX3" fmla="*/ 387927 w 416161"/>
                <a:gd name="connsiteY3" fmla="*/ 103969 h 588878"/>
                <a:gd name="connsiteX4" fmla="*/ 263236 w 416161"/>
                <a:gd name="connsiteY4" fmla="*/ 20842 h 588878"/>
                <a:gd name="connsiteX5" fmla="*/ 90054 w 416161"/>
                <a:gd name="connsiteY5" fmla="*/ 60 h 588878"/>
                <a:gd name="connsiteX6" fmla="*/ 0 w 416161"/>
                <a:gd name="connsiteY6" fmla="*/ 13915 h 588878"/>
                <a:gd name="connsiteX0" fmla="*/ 173182 w 416161"/>
                <a:gd name="connsiteY0" fmla="*/ 602732 h 602732"/>
                <a:gd name="connsiteX1" fmla="*/ 374073 w 416161"/>
                <a:gd name="connsiteY1" fmla="*/ 526533 h 602732"/>
                <a:gd name="connsiteX2" fmla="*/ 415636 w 416161"/>
                <a:gd name="connsiteY2" fmla="*/ 304860 h 602732"/>
                <a:gd name="connsiteX3" fmla="*/ 387927 w 416161"/>
                <a:gd name="connsiteY3" fmla="*/ 103969 h 602732"/>
                <a:gd name="connsiteX4" fmla="*/ 263236 w 416161"/>
                <a:gd name="connsiteY4" fmla="*/ 20842 h 602732"/>
                <a:gd name="connsiteX5" fmla="*/ 90054 w 416161"/>
                <a:gd name="connsiteY5" fmla="*/ 60 h 602732"/>
                <a:gd name="connsiteX6" fmla="*/ 0 w 416161"/>
                <a:gd name="connsiteY6" fmla="*/ 13915 h 60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161" h="602732">
                  <a:moveTo>
                    <a:pt x="173182" y="602732"/>
                  </a:moveTo>
                  <a:cubicBezTo>
                    <a:pt x="253423" y="595227"/>
                    <a:pt x="333664" y="576178"/>
                    <a:pt x="374073" y="526533"/>
                  </a:cubicBezTo>
                  <a:cubicBezTo>
                    <a:pt x="414482" y="476888"/>
                    <a:pt x="413327" y="375287"/>
                    <a:pt x="415636" y="304860"/>
                  </a:cubicBezTo>
                  <a:cubicBezTo>
                    <a:pt x="417945" y="234433"/>
                    <a:pt x="413327" y="151305"/>
                    <a:pt x="387927" y="103969"/>
                  </a:cubicBezTo>
                  <a:cubicBezTo>
                    <a:pt x="362527" y="56633"/>
                    <a:pt x="312881" y="38160"/>
                    <a:pt x="263236" y="20842"/>
                  </a:cubicBezTo>
                  <a:cubicBezTo>
                    <a:pt x="213591" y="3524"/>
                    <a:pt x="133927" y="1214"/>
                    <a:pt x="90054" y="60"/>
                  </a:cubicBezTo>
                  <a:cubicBezTo>
                    <a:pt x="46181" y="-1094"/>
                    <a:pt x="25977" y="15069"/>
                    <a:pt x="0" y="13915"/>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43" name="Freeform: Shape 242"/>
            <p:cNvSpPr/>
            <p:nvPr/>
          </p:nvSpPr>
          <p:spPr bwMode="auto">
            <a:xfrm>
              <a:off x="886691" y="7924800"/>
              <a:ext cx="1170709" cy="48491"/>
            </a:xfrm>
            <a:custGeom>
              <a:avLst/>
              <a:gdLst>
                <a:gd name="connsiteX0" fmla="*/ 0 w 1170709"/>
                <a:gd name="connsiteY0" fmla="*/ 0 h 48491"/>
                <a:gd name="connsiteX1" fmla="*/ 124691 w 1170709"/>
                <a:gd name="connsiteY1" fmla="*/ 34636 h 48491"/>
                <a:gd name="connsiteX2" fmla="*/ 720436 w 1170709"/>
                <a:gd name="connsiteY2" fmla="*/ 48491 h 48491"/>
                <a:gd name="connsiteX3" fmla="*/ 1170709 w 1170709"/>
                <a:gd name="connsiteY3" fmla="*/ 41564 h 48491"/>
              </a:gdLst>
              <a:ahLst/>
              <a:cxnLst>
                <a:cxn ang="0">
                  <a:pos x="connsiteX0" y="connsiteY0"/>
                </a:cxn>
                <a:cxn ang="0">
                  <a:pos x="connsiteX1" y="connsiteY1"/>
                </a:cxn>
                <a:cxn ang="0">
                  <a:pos x="connsiteX2" y="connsiteY2"/>
                </a:cxn>
                <a:cxn ang="0">
                  <a:pos x="connsiteX3" y="connsiteY3"/>
                </a:cxn>
              </a:cxnLst>
              <a:rect l="l" t="t" r="r" b="b"/>
              <a:pathLst>
                <a:path w="1170709" h="48491">
                  <a:moveTo>
                    <a:pt x="0" y="0"/>
                  </a:moveTo>
                  <a:cubicBezTo>
                    <a:pt x="2309" y="13277"/>
                    <a:pt x="4618" y="26554"/>
                    <a:pt x="124691" y="34636"/>
                  </a:cubicBezTo>
                  <a:cubicBezTo>
                    <a:pt x="244764" y="42718"/>
                    <a:pt x="720436" y="48491"/>
                    <a:pt x="720436" y="48491"/>
                  </a:cubicBezTo>
                  <a:lnTo>
                    <a:pt x="1170709" y="41564"/>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44" name="Freeform: Shape 243"/>
            <p:cNvSpPr/>
            <p:nvPr/>
          </p:nvSpPr>
          <p:spPr bwMode="auto">
            <a:xfrm>
              <a:off x="1558634" y="5756368"/>
              <a:ext cx="519714" cy="635127"/>
            </a:xfrm>
            <a:custGeom>
              <a:avLst/>
              <a:gdLst>
                <a:gd name="connsiteX0" fmla="*/ 0 w 575417"/>
                <a:gd name="connsiteY0" fmla="*/ 590177 h 642563"/>
                <a:gd name="connsiteX1" fmla="*/ 76200 w 575417"/>
                <a:gd name="connsiteY1" fmla="*/ 638667 h 642563"/>
                <a:gd name="connsiteX2" fmla="*/ 214746 w 575417"/>
                <a:gd name="connsiteY2" fmla="*/ 631740 h 642563"/>
                <a:gd name="connsiteX3" fmla="*/ 387928 w 575417"/>
                <a:gd name="connsiteY3" fmla="*/ 569395 h 642563"/>
                <a:gd name="connsiteX4" fmla="*/ 540328 w 575417"/>
                <a:gd name="connsiteY4" fmla="*/ 403140 h 642563"/>
                <a:gd name="connsiteX5" fmla="*/ 574964 w 575417"/>
                <a:gd name="connsiteY5" fmla="*/ 202249 h 642563"/>
                <a:gd name="connsiteX6" fmla="*/ 526473 w 575417"/>
                <a:gd name="connsiteY6" fmla="*/ 42922 h 642563"/>
                <a:gd name="connsiteX7" fmla="*/ 367146 w 575417"/>
                <a:gd name="connsiteY7" fmla="*/ 8286 h 642563"/>
                <a:gd name="connsiteX8" fmla="*/ 242455 w 575417"/>
                <a:gd name="connsiteY8" fmla="*/ 1358 h 642563"/>
                <a:gd name="connsiteX9" fmla="*/ 152400 w 575417"/>
                <a:gd name="connsiteY9" fmla="*/ 29067 h 642563"/>
                <a:gd name="connsiteX0" fmla="*/ 0 w 595904"/>
                <a:gd name="connsiteY0" fmla="*/ 590177 h 642563"/>
                <a:gd name="connsiteX1" fmla="*/ 76200 w 595904"/>
                <a:gd name="connsiteY1" fmla="*/ 638667 h 642563"/>
                <a:gd name="connsiteX2" fmla="*/ 214746 w 595904"/>
                <a:gd name="connsiteY2" fmla="*/ 631740 h 642563"/>
                <a:gd name="connsiteX3" fmla="*/ 387928 w 595904"/>
                <a:gd name="connsiteY3" fmla="*/ 569395 h 642563"/>
                <a:gd name="connsiteX4" fmla="*/ 540328 w 595904"/>
                <a:gd name="connsiteY4" fmla="*/ 403140 h 642563"/>
                <a:gd name="connsiteX5" fmla="*/ 595746 w 595904"/>
                <a:gd name="connsiteY5" fmla="*/ 202249 h 642563"/>
                <a:gd name="connsiteX6" fmla="*/ 526473 w 595904"/>
                <a:gd name="connsiteY6" fmla="*/ 42922 h 642563"/>
                <a:gd name="connsiteX7" fmla="*/ 367146 w 595904"/>
                <a:gd name="connsiteY7" fmla="*/ 8286 h 642563"/>
                <a:gd name="connsiteX8" fmla="*/ 242455 w 595904"/>
                <a:gd name="connsiteY8" fmla="*/ 1358 h 642563"/>
                <a:gd name="connsiteX9" fmla="*/ 152400 w 595904"/>
                <a:gd name="connsiteY9" fmla="*/ 29067 h 642563"/>
                <a:gd name="connsiteX0" fmla="*/ 0 w 595912"/>
                <a:gd name="connsiteY0" fmla="*/ 590177 h 643217"/>
                <a:gd name="connsiteX1" fmla="*/ 76200 w 595912"/>
                <a:gd name="connsiteY1" fmla="*/ 638667 h 643217"/>
                <a:gd name="connsiteX2" fmla="*/ 214746 w 595912"/>
                <a:gd name="connsiteY2" fmla="*/ 631740 h 643217"/>
                <a:gd name="connsiteX3" fmla="*/ 381001 w 595912"/>
                <a:gd name="connsiteY3" fmla="*/ 555541 h 643217"/>
                <a:gd name="connsiteX4" fmla="*/ 540328 w 595912"/>
                <a:gd name="connsiteY4" fmla="*/ 403140 h 643217"/>
                <a:gd name="connsiteX5" fmla="*/ 595746 w 595912"/>
                <a:gd name="connsiteY5" fmla="*/ 202249 h 643217"/>
                <a:gd name="connsiteX6" fmla="*/ 526473 w 595912"/>
                <a:gd name="connsiteY6" fmla="*/ 42922 h 643217"/>
                <a:gd name="connsiteX7" fmla="*/ 367146 w 595912"/>
                <a:gd name="connsiteY7" fmla="*/ 8286 h 643217"/>
                <a:gd name="connsiteX8" fmla="*/ 242455 w 595912"/>
                <a:gd name="connsiteY8" fmla="*/ 1358 h 643217"/>
                <a:gd name="connsiteX9" fmla="*/ 152400 w 595912"/>
                <a:gd name="connsiteY9" fmla="*/ 29067 h 643217"/>
                <a:gd name="connsiteX0" fmla="*/ 0 w 595912"/>
                <a:gd name="connsiteY0" fmla="*/ 582088 h 635128"/>
                <a:gd name="connsiteX1" fmla="*/ 76200 w 595912"/>
                <a:gd name="connsiteY1" fmla="*/ 630578 h 635128"/>
                <a:gd name="connsiteX2" fmla="*/ 214746 w 595912"/>
                <a:gd name="connsiteY2" fmla="*/ 623651 h 635128"/>
                <a:gd name="connsiteX3" fmla="*/ 381001 w 595912"/>
                <a:gd name="connsiteY3" fmla="*/ 547452 h 635128"/>
                <a:gd name="connsiteX4" fmla="*/ 540328 w 595912"/>
                <a:gd name="connsiteY4" fmla="*/ 395051 h 635128"/>
                <a:gd name="connsiteX5" fmla="*/ 595746 w 595912"/>
                <a:gd name="connsiteY5" fmla="*/ 194160 h 635128"/>
                <a:gd name="connsiteX6" fmla="*/ 526473 w 595912"/>
                <a:gd name="connsiteY6" fmla="*/ 34833 h 635128"/>
                <a:gd name="connsiteX7" fmla="*/ 367146 w 595912"/>
                <a:gd name="connsiteY7" fmla="*/ 197 h 635128"/>
                <a:gd name="connsiteX8" fmla="*/ 152400 w 595912"/>
                <a:gd name="connsiteY8" fmla="*/ 20978 h 635128"/>
                <a:gd name="connsiteX0" fmla="*/ 2 w 519714"/>
                <a:gd name="connsiteY0" fmla="*/ 630578 h 635128"/>
                <a:gd name="connsiteX1" fmla="*/ 138548 w 519714"/>
                <a:gd name="connsiteY1" fmla="*/ 623651 h 635128"/>
                <a:gd name="connsiteX2" fmla="*/ 304803 w 519714"/>
                <a:gd name="connsiteY2" fmla="*/ 547452 h 635128"/>
                <a:gd name="connsiteX3" fmla="*/ 464130 w 519714"/>
                <a:gd name="connsiteY3" fmla="*/ 395051 h 635128"/>
                <a:gd name="connsiteX4" fmla="*/ 519548 w 519714"/>
                <a:gd name="connsiteY4" fmla="*/ 194160 h 635128"/>
                <a:gd name="connsiteX5" fmla="*/ 450275 w 519714"/>
                <a:gd name="connsiteY5" fmla="*/ 34833 h 635128"/>
                <a:gd name="connsiteX6" fmla="*/ 290948 w 519714"/>
                <a:gd name="connsiteY6" fmla="*/ 197 h 635128"/>
                <a:gd name="connsiteX7" fmla="*/ 76202 w 519714"/>
                <a:gd name="connsiteY7" fmla="*/ 20978 h 635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714" h="635128">
                  <a:moveTo>
                    <a:pt x="2" y="630578"/>
                  </a:moveTo>
                  <a:cubicBezTo>
                    <a:pt x="35793" y="637505"/>
                    <a:pt x="87748" y="637505"/>
                    <a:pt x="138548" y="623651"/>
                  </a:cubicBezTo>
                  <a:cubicBezTo>
                    <a:pt x="189348" y="609797"/>
                    <a:pt x="250539" y="585552"/>
                    <a:pt x="304803" y="547452"/>
                  </a:cubicBezTo>
                  <a:cubicBezTo>
                    <a:pt x="359067" y="509352"/>
                    <a:pt x="428339" y="453933"/>
                    <a:pt x="464130" y="395051"/>
                  </a:cubicBezTo>
                  <a:cubicBezTo>
                    <a:pt x="499921" y="336169"/>
                    <a:pt x="521857" y="254196"/>
                    <a:pt x="519548" y="194160"/>
                  </a:cubicBezTo>
                  <a:cubicBezTo>
                    <a:pt x="517239" y="134124"/>
                    <a:pt x="488375" y="67160"/>
                    <a:pt x="450275" y="34833"/>
                  </a:cubicBezTo>
                  <a:cubicBezTo>
                    <a:pt x="412175" y="2506"/>
                    <a:pt x="353293" y="2506"/>
                    <a:pt x="290948" y="197"/>
                  </a:cubicBezTo>
                  <a:cubicBezTo>
                    <a:pt x="228603" y="-2112"/>
                    <a:pt x="120941" y="16649"/>
                    <a:pt x="76202" y="20978"/>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45" name="Freeform: Shape 244"/>
            <p:cNvSpPr/>
            <p:nvPr/>
          </p:nvSpPr>
          <p:spPr bwMode="auto">
            <a:xfrm>
              <a:off x="917211" y="5733967"/>
              <a:ext cx="738405" cy="743070"/>
            </a:xfrm>
            <a:custGeom>
              <a:avLst/>
              <a:gdLst>
                <a:gd name="connsiteX0" fmla="*/ 186170 w 727232"/>
                <a:gd name="connsiteY0" fmla="*/ 638603 h 742549"/>
                <a:gd name="connsiteX1" fmla="*/ 303934 w 727232"/>
                <a:gd name="connsiteY1" fmla="*/ 700948 h 742549"/>
                <a:gd name="connsiteX2" fmla="*/ 373206 w 727232"/>
                <a:gd name="connsiteY2" fmla="*/ 742512 h 742549"/>
                <a:gd name="connsiteX3" fmla="*/ 518679 w 727232"/>
                <a:gd name="connsiteY3" fmla="*/ 694021 h 742549"/>
                <a:gd name="connsiteX4" fmla="*/ 622588 w 727232"/>
                <a:gd name="connsiteY4" fmla="*/ 410003 h 742549"/>
                <a:gd name="connsiteX5" fmla="*/ 726497 w 727232"/>
                <a:gd name="connsiteY5" fmla="*/ 105203 h 742549"/>
                <a:gd name="connsiteX6" fmla="*/ 650297 w 727232"/>
                <a:gd name="connsiteY6" fmla="*/ 1294 h 742549"/>
                <a:gd name="connsiteX7" fmla="*/ 338570 w 727232"/>
                <a:gd name="connsiteY7" fmla="*/ 49785 h 742549"/>
                <a:gd name="connsiteX8" fmla="*/ 165388 w 727232"/>
                <a:gd name="connsiteY8" fmla="*/ 91348 h 742549"/>
                <a:gd name="connsiteX9" fmla="*/ 54552 w 727232"/>
                <a:gd name="connsiteY9" fmla="*/ 250676 h 742549"/>
                <a:gd name="connsiteX10" fmla="*/ 6061 w 727232"/>
                <a:gd name="connsiteY10" fmla="*/ 534694 h 742549"/>
                <a:gd name="connsiteX11" fmla="*/ 6061 w 727232"/>
                <a:gd name="connsiteY11" fmla="*/ 645530 h 742549"/>
                <a:gd name="connsiteX12" fmla="*/ 54552 w 727232"/>
                <a:gd name="connsiteY12" fmla="*/ 666312 h 742549"/>
                <a:gd name="connsiteX13" fmla="*/ 186170 w 727232"/>
                <a:gd name="connsiteY13" fmla="*/ 638603 h 742549"/>
                <a:gd name="connsiteX0" fmla="*/ 186170 w 726497"/>
                <a:gd name="connsiteY0" fmla="*/ 638603 h 742549"/>
                <a:gd name="connsiteX1" fmla="*/ 303934 w 726497"/>
                <a:gd name="connsiteY1" fmla="*/ 700948 h 742549"/>
                <a:gd name="connsiteX2" fmla="*/ 373206 w 726497"/>
                <a:gd name="connsiteY2" fmla="*/ 742512 h 742549"/>
                <a:gd name="connsiteX3" fmla="*/ 518679 w 726497"/>
                <a:gd name="connsiteY3" fmla="*/ 694021 h 742549"/>
                <a:gd name="connsiteX4" fmla="*/ 650297 w 726497"/>
                <a:gd name="connsiteY4" fmla="*/ 410003 h 742549"/>
                <a:gd name="connsiteX5" fmla="*/ 726497 w 726497"/>
                <a:gd name="connsiteY5" fmla="*/ 105203 h 742549"/>
                <a:gd name="connsiteX6" fmla="*/ 650297 w 726497"/>
                <a:gd name="connsiteY6" fmla="*/ 1294 h 742549"/>
                <a:gd name="connsiteX7" fmla="*/ 338570 w 726497"/>
                <a:gd name="connsiteY7" fmla="*/ 49785 h 742549"/>
                <a:gd name="connsiteX8" fmla="*/ 165388 w 726497"/>
                <a:gd name="connsiteY8" fmla="*/ 91348 h 742549"/>
                <a:gd name="connsiteX9" fmla="*/ 54552 w 726497"/>
                <a:gd name="connsiteY9" fmla="*/ 250676 h 742549"/>
                <a:gd name="connsiteX10" fmla="*/ 6061 w 726497"/>
                <a:gd name="connsiteY10" fmla="*/ 534694 h 742549"/>
                <a:gd name="connsiteX11" fmla="*/ 6061 w 726497"/>
                <a:gd name="connsiteY11" fmla="*/ 645530 h 742549"/>
                <a:gd name="connsiteX12" fmla="*/ 54552 w 726497"/>
                <a:gd name="connsiteY12" fmla="*/ 666312 h 742549"/>
                <a:gd name="connsiteX13" fmla="*/ 186170 w 726497"/>
                <a:gd name="connsiteY13" fmla="*/ 638603 h 742549"/>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64791 w 736736"/>
                <a:gd name="connsiteY12" fmla="*/ 666833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92500 w 736736"/>
                <a:gd name="connsiteY12" fmla="*/ 659906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196409 w 736736"/>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405" h="743070">
                  <a:moveTo>
                    <a:pt x="198078" y="639124"/>
                  </a:moveTo>
                  <a:cubicBezTo>
                    <a:pt x="248878" y="649515"/>
                    <a:pt x="284669" y="684151"/>
                    <a:pt x="315842" y="701469"/>
                  </a:cubicBezTo>
                  <a:cubicBezTo>
                    <a:pt x="347015" y="718787"/>
                    <a:pt x="349323" y="744187"/>
                    <a:pt x="385114" y="743033"/>
                  </a:cubicBezTo>
                  <a:cubicBezTo>
                    <a:pt x="420905" y="741879"/>
                    <a:pt x="484405" y="749960"/>
                    <a:pt x="530587" y="694542"/>
                  </a:cubicBezTo>
                  <a:cubicBezTo>
                    <a:pt x="576769" y="639124"/>
                    <a:pt x="627569" y="508660"/>
                    <a:pt x="662205" y="410524"/>
                  </a:cubicBezTo>
                  <a:cubicBezTo>
                    <a:pt x="696841" y="312388"/>
                    <a:pt x="738405" y="173842"/>
                    <a:pt x="738405" y="105724"/>
                  </a:cubicBezTo>
                  <a:cubicBezTo>
                    <a:pt x="738405" y="37606"/>
                    <a:pt x="726860" y="12206"/>
                    <a:pt x="662205" y="1815"/>
                  </a:cubicBezTo>
                  <a:cubicBezTo>
                    <a:pt x="597550" y="-8576"/>
                    <a:pt x="431296" y="28370"/>
                    <a:pt x="350478" y="43379"/>
                  </a:cubicBezTo>
                  <a:cubicBezTo>
                    <a:pt x="269660" y="58388"/>
                    <a:pt x="224632" y="57233"/>
                    <a:pt x="177296" y="91869"/>
                  </a:cubicBezTo>
                  <a:cubicBezTo>
                    <a:pt x="129960" y="126505"/>
                    <a:pt x="95323" y="180770"/>
                    <a:pt x="66460" y="251197"/>
                  </a:cubicBezTo>
                  <a:cubicBezTo>
                    <a:pt x="37597" y="321624"/>
                    <a:pt x="13352" y="449779"/>
                    <a:pt x="4115" y="514433"/>
                  </a:cubicBezTo>
                  <a:cubicBezTo>
                    <a:pt x="-5122" y="579087"/>
                    <a:pt x="2959" y="617187"/>
                    <a:pt x="11041" y="639123"/>
                  </a:cubicBezTo>
                  <a:cubicBezTo>
                    <a:pt x="43368" y="659905"/>
                    <a:pt x="147278" y="628733"/>
                    <a:pt x="198078" y="639124"/>
                  </a:cubicBezTo>
                  <a:close/>
                </a:path>
              </a:pathLst>
            </a:custGeom>
            <a:noFill/>
            <a:ln w="9525" cap="rnd" cmpd="sng" algn="ctr">
              <a:solidFill>
                <a:srgbClr val="0072C6"/>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46" name="Freeform: Shape 245"/>
            <p:cNvSpPr/>
            <p:nvPr/>
          </p:nvSpPr>
          <p:spPr bwMode="auto">
            <a:xfrm>
              <a:off x="1113302" y="5825836"/>
              <a:ext cx="542316" cy="574964"/>
            </a:xfrm>
            <a:custGeom>
              <a:avLst/>
              <a:gdLst>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34637 h 574964"/>
                <a:gd name="connsiteX6" fmla="*/ 542316 w 542316"/>
                <a:gd name="connsiteY6" fmla="*/ 0 h 574964"/>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 name="connsiteX0" fmla="*/ 292935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316" h="574964">
                  <a:moveTo>
                    <a:pt x="292935" y="574964"/>
                  </a:moveTo>
                  <a:cubicBezTo>
                    <a:pt x="212117" y="559378"/>
                    <a:pt x="119753" y="543792"/>
                    <a:pt x="71262" y="540328"/>
                  </a:cubicBezTo>
                  <a:cubicBezTo>
                    <a:pt x="22771" y="536864"/>
                    <a:pt x="10071" y="596900"/>
                    <a:pt x="1989" y="554182"/>
                  </a:cubicBezTo>
                  <a:cubicBezTo>
                    <a:pt x="-6093" y="511464"/>
                    <a:pt x="12380" y="360219"/>
                    <a:pt x="22771" y="284019"/>
                  </a:cubicBezTo>
                  <a:cubicBezTo>
                    <a:pt x="33162" y="207819"/>
                    <a:pt x="15843" y="140854"/>
                    <a:pt x="64334" y="96982"/>
                  </a:cubicBezTo>
                  <a:cubicBezTo>
                    <a:pt x="112825" y="53110"/>
                    <a:pt x="234052" y="36947"/>
                    <a:pt x="313716" y="20783"/>
                  </a:cubicBezTo>
                  <a:cubicBezTo>
                    <a:pt x="393380" y="4619"/>
                    <a:pt x="467848" y="9236"/>
                    <a:pt x="542316"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47" name="Freeform: Shape 246"/>
            <p:cNvSpPr/>
            <p:nvPr/>
          </p:nvSpPr>
          <p:spPr bwMode="auto">
            <a:xfrm>
              <a:off x="311727" y="6767945"/>
              <a:ext cx="1717964" cy="55419"/>
            </a:xfrm>
            <a:custGeom>
              <a:avLst/>
              <a:gdLst>
                <a:gd name="connsiteX0" fmla="*/ 0 w 1717964"/>
                <a:gd name="connsiteY0" fmla="*/ 0 h 55419"/>
                <a:gd name="connsiteX1" fmla="*/ 1717964 w 1717964"/>
                <a:gd name="connsiteY1" fmla="*/ 55419 h 55419"/>
              </a:gdLst>
              <a:ahLst/>
              <a:cxnLst>
                <a:cxn ang="0">
                  <a:pos x="connsiteX0" y="connsiteY0"/>
                </a:cxn>
                <a:cxn ang="0">
                  <a:pos x="connsiteX1" y="connsiteY1"/>
                </a:cxn>
              </a:cxnLst>
              <a:rect l="l" t="t" r="r" b="b"/>
              <a:pathLst>
                <a:path w="1717964" h="55419">
                  <a:moveTo>
                    <a:pt x="0" y="0"/>
                  </a:moveTo>
                  <a:lnTo>
                    <a:pt x="1717964" y="55419"/>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48" name="Freeform: Shape 247"/>
            <p:cNvSpPr/>
            <p:nvPr/>
          </p:nvSpPr>
          <p:spPr bwMode="auto">
            <a:xfrm>
              <a:off x="512618" y="5715000"/>
              <a:ext cx="286013" cy="872900"/>
            </a:xfrm>
            <a:custGeom>
              <a:avLst/>
              <a:gdLst>
                <a:gd name="connsiteX0" fmla="*/ 0 w 286013"/>
                <a:gd name="connsiteY0" fmla="*/ 755073 h 872900"/>
                <a:gd name="connsiteX1" fmla="*/ 131618 w 286013"/>
                <a:gd name="connsiteY1" fmla="*/ 872836 h 872900"/>
                <a:gd name="connsiteX2" fmla="*/ 235527 w 286013"/>
                <a:gd name="connsiteY2" fmla="*/ 741218 h 872900"/>
                <a:gd name="connsiteX3" fmla="*/ 270164 w 286013"/>
                <a:gd name="connsiteY3" fmla="*/ 277091 h 872900"/>
                <a:gd name="connsiteX4" fmla="*/ 284018 w 286013"/>
                <a:gd name="connsiteY4" fmla="*/ 117764 h 872900"/>
                <a:gd name="connsiteX5" fmla="*/ 228600 w 286013"/>
                <a:gd name="connsiteY5" fmla="*/ 41564 h 872900"/>
                <a:gd name="connsiteX6" fmla="*/ 166255 w 286013"/>
                <a:gd name="connsiteY6" fmla="*/ 0 h 87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013" h="872900">
                  <a:moveTo>
                    <a:pt x="0" y="755073"/>
                  </a:moveTo>
                  <a:cubicBezTo>
                    <a:pt x="46181" y="815109"/>
                    <a:pt x="92363" y="875145"/>
                    <a:pt x="131618" y="872836"/>
                  </a:cubicBezTo>
                  <a:cubicBezTo>
                    <a:pt x="170873" y="870527"/>
                    <a:pt x="212436" y="840509"/>
                    <a:pt x="235527" y="741218"/>
                  </a:cubicBezTo>
                  <a:cubicBezTo>
                    <a:pt x="258618" y="641927"/>
                    <a:pt x="262082" y="381000"/>
                    <a:pt x="270164" y="277091"/>
                  </a:cubicBezTo>
                  <a:cubicBezTo>
                    <a:pt x="278246" y="173182"/>
                    <a:pt x="290945" y="157018"/>
                    <a:pt x="284018" y="117764"/>
                  </a:cubicBezTo>
                  <a:cubicBezTo>
                    <a:pt x="277091" y="78510"/>
                    <a:pt x="248227" y="61191"/>
                    <a:pt x="228600" y="41564"/>
                  </a:cubicBezTo>
                  <a:cubicBezTo>
                    <a:pt x="208973" y="21937"/>
                    <a:pt x="187614" y="10968"/>
                    <a:pt x="166255" y="0"/>
                  </a:cubicBezTo>
                </a:path>
              </a:pathLst>
            </a:custGeom>
            <a:noFill/>
            <a:ln w="19050"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49" name="Freeform: Shape 248"/>
            <p:cNvSpPr/>
            <p:nvPr/>
          </p:nvSpPr>
          <p:spPr bwMode="auto">
            <a:xfrm>
              <a:off x="678873" y="7412182"/>
              <a:ext cx="117763" cy="547254"/>
            </a:xfrm>
            <a:custGeom>
              <a:avLst/>
              <a:gdLst>
                <a:gd name="connsiteX0" fmla="*/ 0 w 117763"/>
                <a:gd name="connsiteY0" fmla="*/ 0 h 547254"/>
                <a:gd name="connsiteX1" fmla="*/ 117763 w 117763"/>
                <a:gd name="connsiteY1" fmla="*/ 547254 h 547254"/>
              </a:gdLst>
              <a:ahLst/>
              <a:cxnLst>
                <a:cxn ang="0">
                  <a:pos x="connsiteX0" y="connsiteY0"/>
                </a:cxn>
                <a:cxn ang="0">
                  <a:pos x="connsiteX1" y="connsiteY1"/>
                </a:cxn>
              </a:cxnLst>
              <a:rect l="l" t="t" r="r" b="b"/>
              <a:pathLst>
                <a:path w="117763" h="547254">
                  <a:moveTo>
                    <a:pt x="0" y="0"/>
                  </a:moveTo>
                  <a:lnTo>
                    <a:pt x="117763" y="547254"/>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50" name="Freeform: Shape 249"/>
            <p:cNvSpPr/>
            <p:nvPr/>
          </p:nvSpPr>
          <p:spPr bwMode="auto">
            <a:xfrm>
              <a:off x="6220691" y="4696691"/>
              <a:ext cx="2798618" cy="102233"/>
            </a:xfrm>
            <a:custGeom>
              <a:avLst/>
              <a:gdLst>
                <a:gd name="connsiteX0" fmla="*/ 0 w 2798618"/>
                <a:gd name="connsiteY0" fmla="*/ 0 h 102233"/>
                <a:gd name="connsiteX1" fmla="*/ 491836 w 2798618"/>
                <a:gd name="connsiteY1" fmla="*/ 96982 h 102233"/>
                <a:gd name="connsiteX2" fmla="*/ 1260764 w 2798618"/>
                <a:gd name="connsiteY2" fmla="*/ 90054 h 102233"/>
                <a:gd name="connsiteX3" fmla="*/ 2410691 w 2798618"/>
                <a:gd name="connsiteY3" fmla="*/ 62345 h 102233"/>
                <a:gd name="connsiteX4" fmla="*/ 2798618 w 2798618"/>
                <a:gd name="connsiteY4" fmla="*/ 41564 h 102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618" h="102233">
                  <a:moveTo>
                    <a:pt x="0" y="0"/>
                  </a:moveTo>
                  <a:cubicBezTo>
                    <a:pt x="140854" y="40986"/>
                    <a:pt x="281709" y="81973"/>
                    <a:pt x="491836" y="96982"/>
                  </a:cubicBezTo>
                  <a:cubicBezTo>
                    <a:pt x="701963" y="111991"/>
                    <a:pt x="1260764" y="90054"/>
                    <a:pt x="1260764" y="90054"/>
                  </a:cubicBezTo>
                  <a:lnTo>
                    <a:pt x="2410691" y="62345"/>
                  </a:lnTo>
                  <a:cubicBezTo>
                    <a:pt x="2667000" y="54263"/>
                    <a:pt x="2732809" y="47913"/>
                    <a:pt x="2798618" y="41564"/>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51" name="Freeform: Shape 250"/>
            <p:cNvSpPr/>
            <p:nvPr/>
          </p:nvSpPr>
          <p:spPr bwMode="auto">
            <a:xfrm>
              <a:off x="8811491" y="4585855"/>
              <a:ext cx="2244436" cy="83127"/>
            </a:xfrm>
            <a:custGeom>
              <a:avLst/>
              <a:gdLst>
                <a:gd name="connsiteX0" fmla="*/ 0 w 2244436"/>
                <a:gd name="connsiteY0" fmla="*/ 83127 h 83127"/>
                <a:gd name="connsiteX1" fmla="*/ 2244436 w 2244436"/>
                <a:gd name="connsiteY1" fmla="*/ 0 h 83127"/>
              </a:gdLst>
              <a:ahLst/>
              <a:cxnLst>
                <a:cxn ang="0">
                  <a:pos x="connsiteX0" y="connsiteY0"/>
                </a:cxn>
                <a:cxn ang="0">
                  <a:pos x="connsiteX1" y="connsiteY1"/>
                </a:cxn>
              </a:cxnLst>
              <a:rect l="l" t="t" r="r" b="b"/>
              <a:pathLst>
                <a:path w="2244436" h="83127">
                  <a:moveTo>
                    <a:pt x="0" y="83127"/>
                  </a:moveTo>
                  <a:lnTo>
                    <a:pt x="2244436" y="0"/>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52" name="Freeform: Shape 251"/>
            <p:cNvSpPr/>
            <p:nvPr/>
          </p:nvSpPr>
          <p:spPr bwMode="auto">
            <a:xfrm>
              <a:off x="8742218" y="2944413"/>
              <a:ext cx="5867400" cy="1627185"/>
            </a:xfrm>
            <a:custGeom>
              <a:avLst/>
              <a:gdLst>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52054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3124 h 1630811"/>
                <a:gd name="connsiteX1" fmla="*/ 3131127 w 5867400"/>
                <a:gd name="connsiteY1" fmla="*/ 1613179 h 1630811"/>
                <a:gd name="connsiteX2" fmla="*/ 2957946 w 5867400"/>
                <a:gd name="connsiteY2" fmla="*/ 1620106 h 1630811"/>
                <a:gd name="connsiteX3" fmla="*/ 2999509 w 5867400"/>
                <a:gd name="connsiteY3" fmla="*/ 1495415 h 1630811"/>
                <a:gd name="connsiteX4" fmla="*/ 3096491 w 5867400"/>
                <a:gd name="connsiteY4" fmla="*/ 1252961 h 1630811"/>
                <a:gd name="connsiteX5" fmla="*/ 3435927 w 5867400"/>
                <a:gd name="connsiteY5" fmla="*/ 151524 h 1630811"/>
                <a:gd name="connsiteX6" fmla="*/ 3477491 w 5867400"/>
                <a:gd name="connsiteY6" fmla="*/ 12979 h 1630811"/>
                <a:gd name="connsiteX7" fmla="*/ 3290455 w 5867400"/>
                <a:gd name="connsiteY7" fmla="*/ 12978 h 1630811"/>
                <a:gd name="connsiteX8" fmla="*/ 2244437 w 5867400"/>
                <a:gd name="connsiteY8" fmla="*/ 75324 h 1630811"/>
                <a:gd name="connsiteX9" fmla="*/ 1461655 w 5867400"/>
                <a:gd name="connsiteY9" fmla="*/ 227724 h 1630811"/>
                <a:gd name="connsiteX10" fmla="*/ 852054 w 5867400"/>
                <a:gd name="connsiteY10" fmla="*/ 463251 h 1630811"/>
                <a:gd name="connsiteX11" fmla="*/ 228600 w 5867400"/>
                <a:gd name="connsiteY11" fmla="*/ 830397 h 1630811"/>
                <a:gd name="connsiteX12" fmla="*/ 0 w 5867400"/>
                <a:gd name="connsiteY12" fmla="*/ 968942 h 1630811"/>
                <a:gd name="connsiteX0" fmla="*/ 5867400 w 5867400"/>
                <a:gd name="connsiteY0" fmla="*/ 1536065 h 1643752"/>
                <a:gd name="connsiteX1" fmla="*/ 3131127 w 5867400"/>
                <a:gd name="connsiteY1" fmla="*/ 1626120 h 1643752"/>
                <a:gd name="connsiteX2" fmla="*/ 2957946 w 5867400"/>
                <a:gd name="connsiteY2" fmla="*/ 1633047 h 1643752"/>
                <a:gd name="connsiteX3" fmla="*/ 2999509 w 5867400"/>
                <a:gd name="connsiteY3" fmla="*/ 1508356 h 1643752"/>
                <a:gd name="connsiteX4" fmla="*/ 3096491 w 5867400"/>
                <a:gd name="connsiteY4" fmla="*/ 1265902 h 1643752"/>
                <a:gd name="connsiteX5" fmla="*/ 3435927 w 5867400"/>
                <a:gd name="connsiteY5" fmla="*/ 164465 h 1643752"/>
                <a:gd name="connsiteX6" fmla="*/ 3477491 w 5867400"/>
                <a:gd name="connsiteY6" fmla="*/ 25920 h 1643752"/>
                <a:gd name="connsiteX7" fmla="*/ 3290455 w 5867400"/>
                <a:gd name="connsiteY7" fmla="*/ 5137 h 1643752"/>
                <a:gd name="connsiteX8" fmla="*/ 2244437 w 5867400"/>
                <a:gd name="connsiteY8" fmla="*/ 88265 h 1643752"/>
                <a:gd name="connsiteX9" fmla="*/ 1461655 w 5867400"/>
                <a:gd name="connsiteY9" fmla="*/ 240665 h 1643752"/>
                <a:gd name="connsiteX10" fmla="*/ 852054 w 5867400"/>
                <a:gd name="connsiteY10" fmla="*/ 476192 h 1643752"/>
                <a:gd name="connsiteX11" fmla="*/ 228600 w 5867400"/>
                <a:gd name="connsiteY11" fmla="*/ 843338 h 1643752"/>
                <a:gd name="connsiteX12" fmla="*/ 0 w 5867400"/>
                <a:gd name="connsiteY12" fmla="*/ 981883 h 1643752"/>
                <a:gd name="connsiteX0" fmla="*/ 5867400 w 5867400"/>
                <a:gd name="connsiteY0" fmla="*/ 1523125 h 1630812"/>
                <a:gd name="connsiteX1" fmla="*/ 3131127 w 5867400"/>
                <a:gd name="connsiteY1" fmla="*/ 1613180 h 1630812"/>
                <a:gd name="connsiteX2" fmla="*/ 2957946 w 5867400"/>
                <a:gd name="connsiteY2" fmla="*/ 1620107 h 1630812"/>
                <a:gd name="connsiteX3" fmla="*/ 2999509 w 5867400"/>
                <a:gd name="connsiteY3" fmla="*/ 1495416 h 1630812"/>
                <a:gd name="connsiteX4" fmla="*/ 3096491 w 5867400"/>
                <a:gd name="connsiteY4" fmla="*/ 1252962 h 1630812"/>
                <a:gd name="connsiteX5" fmla="*/ 3435927 w 5867400"/>
                <a:gd name="connsiteY5" fmla="*/ 151525 h 1630812"/>
                <a:gd name="connsiteX6" fmla="*/ 3477491 w 5867400"/>
                <a:gd name="connsiteY6" fmla="*/ 12980 h 1630812"/>
                <a:gd name="connsiteX7" fmla="*/ 3290455 w 5867400"/>
                <a:gd name="connsiteY7" fmla="*/ 12979 h 1630812"/>
                <a:gd name="connsiteX8" fmla="*/ 2244437 w 5867400"/>
                <a:gd name="connsiteY8" fmla="*/ 75325 h 1630812"/>
                <a:gd name="connsiteX9" fmla="*/ 1461655 w 5867400"/>
                <a:gd name="connsiteY9" fmla="*/ 227725 h 1630812"/>
                <a:gd name="connsiteX10" fmla="*/ 852054 w 5867400"/>
                <a:gd name="connsiteY10" fmla="*/ 463252 h 1630812"/>
                <a:gd name="connsiteX11" fmla="*/ 228600 w 5867400"/>
                <a:gd name="connsiteY11" fmla="*/ 830398 h 1630812"/>
                <a:gd name="connsiteX12" fmla="*/ 0 w 5867400"/>
                <a:gd name="connsiteY12" fmla="*/ 968943 h 1630812"/>
                <a:gd name="connsiteX0" fmla="*/ 5867400 w 5867400"/>
                <a:gd name="connsiteY0" fmla="*/ 1518398 h 1626085"/>
                <a:gd name="connsiteX1" fmla="*/ 3131127 w 5867400"/>
                <a:gd name="connsiteY1" fmla="*/ 1608453 h 1626085"/>
                <a:gd name="connsiteX2" fmla="*/ 2957946 w 5867400"/>
                <a:gd name="connsiteY2" fmla="*/ 1615380 h 1626085"/>
                <a:gd name="connsiteX3" fmla="*/ 2999509 w 5867400"/>
                <a:gd name="connsiteY3" fmla="*/ 1490689 h 1626085"/>
                <a:gd name="connsiteX4" fmla="*/ 3096491 w 5867400"/>
                <a:gd name="connsiteY4" fmla="*/ 1248235 h 1626085"/>
                <a:gd name="connsiteX5" fmla="*/ 3435927 w 5867400"/>
                <a:gd name="connsiteY5" fmla="*/ 146798 h 1626085"/>
                <a:gd name="connsiteX6" fmla="*/ 3477491 w 5867400"/>
                <a:gd name="connsiteY6" fmla="*/ 8253 h 1626085"/>
                <a:gd name="connsiteX7" fmla="*/ 3290455 w 5867400"/>
                <a:gd name="connsiteY7" fmla="*/ 8252 h 1626085"/>
                <a:gd name="connsiteX8" fmla="*/ 2244437 w 5867400"/>
                <a:gd name="connsiteY8" fmla="*/ 70598 h 1626085"/>
                <a:gd name="connsiteX9" fmla="*/ 1461655 w 5867400"/>
                <a:gd name="connsiteY9" fmla="*/ 222998 h 1626085"/>
                <a:gd name="connsiteX10" fmla="*/ 852054 w 5867400"/>
                <a:gd name="connsiteY10" fmla="*/ 458525 h 1626085"/>
                <a:gd name="connsiteX11" fmla="*/ 228600 w 5867400"/>
                <a:gd name="connsiteY11" fmla="*/ 825671 h 1626085"/>
                <a:gd name="connsiteX12" fmla="*/ 0 w 5867400"/>
                <a:gd name="connsiteY12" fmla="*/ 964216 h 1626085"/>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96491 w 5867400"/>
                <a:gd name="connsiteY4" fmla="*/ 1250173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89564 w 5867400"/>
                <a:gd name="connsiteY4" fmla="*/ 1208609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30893 h 1638580"/>
                <a:gd name="connsiteX1" fmla="*/ 3131127 w 5867400"/>
                <a:gd name="connsiteY1" fmla="*/ 1620948 h 1638580"/>
                <a:gd name="connsiteX2" fmla="*/ 2957946 w 5867400"/>
                <a:gd name="connsiteY2" fmla="*/ 1627875 h 1638580"/>
                <a:gd name="connsiteX3" fmla="*/ 2999509 w 5867400"/>
                <a:gd name="connsiteY3" fmla="*/ 1503184 h 1638580"/>
                <a:gd name="connsiteX4" fmla="*/ 3089564 w 5867400"/>
                <a:gd name="connsiteY4" fmla="*/ 1219166 h 1638580"/>
                <a:gd name="connsiteX5" fmla="*/ 3435927 w 5867400"/>
                <a:gd name="connsiteY5" fmla="*/ 159293 h 1638580"/>
                <a:gd name="connsiteX6" fmla="*/ 3463636 w 5867400"/>
                <a:gd name="connsiteY6" fmla="*/ 13821 h 1638580"/>
                <a:gd name="connsiteX7" fmla="*/ 3290455 w 5867400"/>
                <a:gd name="connsiteY7" fmla="*/ 13819 h 1638580"/>
                <a:gd name="connsiteX8" fmla="*/ 2244437 w 5867400"/>
                <a:gd name="connsiteY8" fmla="*/ 83093 h 1638580"/>
                <a:gd name="connsiteX9" fmla="*/ 1461655 w 5867400"/>
                <a:gd name="connsiteY9" fmla="*/ 235493 h 1638580"/>
                <a:gd name="connsiteX10" fmla="*/ 852054 w 5867400"/>
                <a:gd name="connsiteY10" fmla="*/ 471020 h 1638580"/>
                <a:gd name="connsiteX11" fmla="*/ 228600 w 5867400"/>
                <a:gd name="connsiteY11" fmla="*/ 838166 h 1638580"/>
                <a:gd name="connsiteX12" fmla="*/ 0 w 5867400"/>
                <a:gd name="connsiteY12" fmla="*/ 976711 h 1638580"/>
                <a:gd name="connsiteX0" fmla="*/ 5867400 w 5867400"/>
                <a:gd name="connsiteY0" fmla="*/ 1539905 h 1647592"/>
                <a:gd name="connsiteX1" fmla="*/ 3131127 w 5867400"/>
                <a:gd name="connsiteY1" fmla="*/ 1629960 h 1647592"/>
                <a:gd name="connsiteX2" fmla="*/ 2957946 w 5867400"/>
                <a:gd name="connsiteY2" fmla="*/ 1636887 h 1647592"/>
                <a:gd name="connsiteX3" fmla="*/ 2999509 w 5867400"/>
                <a:gd name="connsiteY3" fmla="*/ 1512196 h 1647592"/>
                <a:gd name="connsiteX4" fmla="*/ 3089564 w 5867400"/>
                <a:gd name="connsiteY4" fmla="*/ 1228178 h 1647592"/>
                <a:gd name="connsiteX5" fmla="*/ 3435927 w 5867400"/>
                <a:gd name="connsiteY5" fmla="*/ 168305 h 1647592"/>
                <a:gd name="connsiteX6" fmla="*/ 3463636 w 5867400"/>
                <a:gd name="connsiteY6" fmla="*/ 22833 h 1647592"/>
                <a:gd name="connsiteX7" fmla="*/ 3290455 w 5867400"/>
                <a:gd name="connsiteY7" fmla="*/ 22831 h 1647592"/>
                <a:gd name="connsiteX8" fmla="*/ 2244437 w 5867400"/>
                <a:gd name="connsiteY8" fmla="*/ 92105 h 1647592"/>
                <a:gd name="connsiteX9" fmla="*/ 1461655 w 5867400"/>
                <a:gd name="connsiteY9" fmla="*/ 244505 h 1647592"/>
                <a:gd name="connsiteX10" fmla="*/ 852054 w 5867400"/>
                <a:gd name="connsiteY10" fmla="*/ 480032 h 1647592"/>
                <a:gd name="connsiteX11" fmla="*/ 228600 w 5867400"/>
                <a:gd name="connsiteY11" fmla="*/ 847178 h 1647592"/>
                <a:gd name="connsiteX12" fmla="*/ 0 w 5867400"/>
                <a:gd name="connsiteY12" fmla="*/ 985723 h 1647592"/>
                <a:gd name="connsiteX0" fmla="*/ 5867400 w 5867400"/>
                <a:gd name="connsiteY0" fmla="*/ 1530604 h 1638291"/>
                <a:gd name="connsiteX1" fmla="*/ 3131127 w 5867400"/>
                <a:gd name="connsiteY1" fmla="*/ 1620659 h 1638291"/>
                <a:gd name="connsiteX2" fmla="*/ 2957946 w 5867400"/>
                <a:gd name="connsiteY2" fmla="*/ 1627586 h 1638291"/>
                <a:gd name="connsiteX3" fmla="*/ 2999509 w 5867400"/>
                <a:gd name="connsiteY3" fmla="*/ 1502895 h 1638291"/>
                <a:gd name="connsiteX4" fmla="*/ 3089564 w 5867400"/>
                <a:gd name="connsiteY4" fmla="*/ 1218877 h 1638291"/>
                <a:gd name="connsiteX5" fmla="*/ 3435927 w 5867400"/>
                <a:gd name="connsiteY5" fmla="*/ 159004 h 1638291"/>
                <a:gd name="connsiteX6" fmla="*/ 3470563 w 5867400"/>
                <a:gd name="connsiteY6" fmla="*/ 27387 h 1638291"/>
                <a:gd name="connsiteX7" fmla="*/ 3290455 w 5867400"/>
                <a:gd name="connsiteY7" fmla="*/ 13530 h 1638291"/>
                <a:gd name="connsiteX8" fmla="*/ 2244437 w 5867400"/>
                <a:gd name="connsiteY8" fmla="*/ 82804 h 1638291"/>
                <a:gd name="connsiteX9" fmla="*/ 1461655 w 5867400"/>
                <a:gd name="connsiteY9" fmla="*/ 235204 h 1638291"/>
                <a:gd name="connsiteX10" fmla="*/ 852054 w 5867400"/>
                <a:gd name="connsiteY10" fmla="*/ 470731 h 1638291"/>
                <a:gd name="connsiteX11" fmla="*/ 228600 w 5867400"/>
                <a:gd name="connsiteY11" fmla="*/ 837877 h 1638291"/>
                <a:gd name="connsiteX12" fmla="*/ 0 w 5867400"/>
                <a:gd name="connsiteY12" fmla="*/ 976422 h 1638291"/>
                <a:gd name="connsiteX0" fmla="*/ 5867400 w 5867400"/>
                <a:gd name="connsiteY0" fmla="*/ 1530604 h 1659202"/>
                <a:gd name="connsiteX1" fmla="*/ 3131127 w 5867400"/>
                <a:gd name="connsiteY1" fmla="*/ 1620659 h 1659202"/>
                <a:gd name="connsiteX2" fmla="*/ 2957946 w 5867400"/>
                <a:gd name="connsiteY2" fmla="*/ 1627586 h 1659202"/>
                <a:gd name="connsiteX3" fmla="*/ 3089564 w 5867400"/>
                <a:gd name="connsiteY3" fmla="*/ 1218877 h 1659202"/>
                <a:gd name="connsiteX4" fmla="*/ 3435927 w 5867400"/>
                <a:gd name="connsiteY4" fmla="*/ 159004 h 1659202"/>
                <a:gd name="connsiteX5" fmla="*/ 3470563 w 5867400"/>
                <a:gd name="connsiteY5" fmla="*/ 27387 h 1659202"/>
                <a:gd name="connsiteX6" fmla="*/ 3290455 w 5867400"/>
                <a:gd name="connsiteY6" fmla="*/ 13530 h 1659202"/>
                <a:gd name="connsiteX7" fmla="*/ 2244437 w 5867400"/>
                <a:gd name="connsiteY7" fmla="*/ 82804 h 1659202"/>
                <a:gd name="connsiteX8" fmla="*/ 1461655 w 5867400"/>
                <a:gd name="connsiteY8" fmla="*/ 235204 h 1659202"/>
                <a:gd name="connsiteX9" fmla="*/ 852054 w 5867400"/>
                <a:gd name="connsiteY9" fmla="*/ 470731 h 1659202"/>
                <a:gd name="connsiteX10" fmla="*/ 228600 w 5867400"/>
                <a:gd name="connsiteY10" fmla="*/ 837877 h 1659202"/>
                <a:gd name="connsiteX11" fmla="*/ 0 w 5867400"/>
                <a:gd name="connsiteY11" fmla="*/ 976422 h 1659202"/>
                <a:gd name="connsiteX0" fmla="*/ 5867400 w 5867400"/>
                <a:gd name="connsiteY0" fmla="*/ 1530604 h 1665349"/>
                <a:gd name="connsiteX1" fmla="*/ 3131127 w 5867400"/>
                <a:gd name="connsiteY1" fmla="*/ 1620659 h 1665349"/>
                <a:gd name="connsiteX2" fmla="*/ 2957946 w 5867400"/>
                <a:gd name="connsiteY2" fmla="*/ 1627586 h 1665349"/>
                <a:gd name="connsiteX3" fmla="*/ 3089564 w 5867400"/>
                <a:gd name="connsiteY3" fmla="*/ 1218877 h 1665349"/>
                <a:gd name="connsiteX4" fmla="*/ 3435927 w 5867400"/>
                <a:gd name="connsiteY4" fmla="*/ 159004 h 1665349"/>
                <a:gd name="connsiteX5" fmla="*/ 3470563 w 5867400"/>
                <a:gd name="connsiteY5" fmla="*/ 27387 h 1665349"/>
                <a:gd name="connsiteX6" fmla="*/ 3290455 w 5867400"/>
                <a:gd name="connsiteY6" fmla="*/ 13530 h 1665349"/>
                <a:gd name="connsiteX7" fmla="*/ 2244437 w 5867400"/>
                <a:gd name="connsiteY7" fmla="*/ 82804 h 1665349"/>
                <a:gd name="connsiteX8" fmla="*/ 1461655 w 5867400"/>
                <a:gd name="connsiteY8" fmla="*/ 235204 h 1665349"/>
                <a:gd name="connsiteX9" fmla="*/ 852054 w 5867400"/>
                <a:gd name="connsiteY9" fmla="*/ 470731 h 1665349"/>
                <a:gd name="connsiteX10" fmla="*/ 228600 w 5867400"/>
                <a:gd name="connsiteY10" fmla="*/ 837877 h 1665349"/>
                <a:gd name="connsiteX11" fmla="*/ 0 w 5867400"/>
                <a:gd name="connsiteY11" fmla="*/ 976422 h 1665349"/>
                <a:gd name="connsiteX0" fmla="*/ 5867400 w 5867400"/>
                <a:gd name="connsiteY0" fmla="*/ 1530604 h 1650866"/>
                <a:gd name="connsiteX1" fmla="*/ 3789218 w 5867400"/>
                <a:gd name="connsiteY1" fmla="*/ 1592950 h 1650866"/>
                <a:gd name="connsiteX2" fmla="*/ 2957946 w 5867400"/>
                <a:gd name="connsiteY2" fmla="*/ 1627586 h 1650866"/>
                <a:gd name="connsiteX3" fmla="*/ 3089564 w 5867400"/>
                <a:gd name="connsiteY3" fmla="*/ 1218877 h 1650866"/>
                <a:gd name="connsiteX4" fmla="*/ 3435927 w 5867400"/>
                <a:gd name="connsiteY4" fmla="*/ 159004 h 1650866"/>
                <a:gd name="connsiteX5" fmla="*/ 3470563 w 5867400"/>
                <a:gd name="connsiteY5" fmla="*/ 27387 h 1650866"/>
                <a:gd name="connsiteX6" fmla="*/ 3290455 w 5867400"/>
                <a:gd name="connsiteY6" fmla="*/ 13530 h 1650866"/>
                <a:gd name="connsiteX7" fmla="*/ 2244437 w 5867400"/>
                <a:gd name="connsiteY7" fmla="*/ 82804 h 1650866"/>
                <a:gd name="connsiteX8" fmla="*/ 1461655 w 5867400"/>
                <a:gd name="connsiteY8" fmla="*/ 235204 h 1650866"/>
                <a:gd name="connsiteX9" fmla="*/ 852054 w 5867400"/>
                <a:gd name="connsiteY9" fmla="*/ 470731 h 1650866"/>
                <a:gd name="connsiteX10" fmla="*/ 228600 w 5867400"/>
                <a:gd name="connsiteY10" fmla="*/ 837877 h 1650866"/>
                <a:gd name="connsiteX11" fmla="*/ 0 w 5867400"/>
                <a:gd name="connsiteY11" fmla="*/ 976422 h 1650866"/>
                <a:gd name="connsiteX0" fmla="*/ 5867400 w 5867400"/>
                <a:gd name="connsiteY0" fmla="*/ 1530604 h 1639086"/>
                <a:gd name="connsiteX1" fmla="*/ 3789218 w 5867400"/>
                <a:gd name="connsiteY1" fmla="*/ 1592950 h 1639086"/>
                <a:gd name="connsiteX2" fmla="*/ 2957946 w 5867400"/>
                <a:gd name="connsiteY2" fmla="*/ 1627586 h 1639086"/>
                <a:gd name="connsiteX3" fmla="*/ 3089564 w 5867400"/>
                <a:gd name="connsiteY3" fmla="*/ 1218877 h 1639086"/>
                <a:gd name="connsiteX4" fmla="*/ 3435927 w 5867400"/>
                <a:gd name="connsiteY4" fmla="*/ 159004 h 1639086"/>
                <a:gd name="connsiteX5" fmla="*/ 3470563 w 5867400"/>
                <a:gd name="connsiteY5" fmla="*/ 27387 h 1639086"/>
                <a:gd name="connsiteX6" fmla="*/ 3290455 w 5867400"/>
                <a:gd name="connsiteY6" fmla="*/ 13530 h 1639086"/>
                <a:gd name="connsiteX7" fmla="*/ 2244437 w 5867400"/>
                <a:gd name="connsiteY7" fmla="*/ 82804 h 1639086"/>
                <a:gd name="connsiteX8" fmla="*/ 1461655 w 5867400"/>
                <a:gd name="connsiteY8" fmla="*/ 235204 h 1639086"/>
                <a:gd name="connsiteX9" fmla="*/ 852054 w 5867400"/>
                <a:gd name="connsiteY9" fmla="*/ 470731 h 1639086"/>
                <a:gd name="connsiteX10" fmla="*/ 228600 w 5867400"/>
                <a:gd name="connsiteY10" fmla="*/ 837877 h 1639086"/>
                <a:gd name="connsiteX11" fmla="*/ 0 w 5867400"/>
                <a:gd name="connsiteY11" fmla="*/ 976422 h 1639086"/>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28600 w 5867400"/>
                <a:gd name="connsiteY10" fmla="*/ 837877 h 1627185"/>
                <a:gd name="connsiteX11" fmla="*/ 0 w 5867400"/>
                <a:gd name="connsiteY11" fmla="*/ 976422 h 1627185"/>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37066 w 5867400"/>
                <a:gd name="connsiteY10" fmla="*/ 812477 h 1627185"/>
                <a:gd name="connsiteX11" fmla="*/ 0 w 5867400"/>
                <a:gd name="connsiteY11" fmla="*/ 976422 h 1627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7400" h="1627185">
                  <a:moveTo>
                    <a:pt x="5867400" y="1530604"/>
                  </a:moveTo>
                  <a:lnTo>
                    <a:pt x="3789218" y="1592950"/>
                  </a:lnTo>
                  <a:cubicBezTo>
                    <a:pt x="3304309" y="1606805"/>
                    <a:pt x="2936010" y="1648368"/>
                    <a:pt x="2957946" y="1613732"/>
                  </a:cubicBezTo>
                  <a:cubicBezTo>
                    <a:pt x="2979882" y="1579096"/>
                    <a:pt x="3009901" y="1461332"/>
                    <a:pt x="3089564" y="1218877"/>
                  </a:cubicBezTo>
                  <a:cubicBezTo>
                    <a:pt x="3169227" y="976422"/>
                    <a:pt x="3372427" y="357586"/>
                    <a:pt x="3435927" y="159004"/>
                  </a:cubicBezTo>
                  <a:cubicBezTo>
                    <a:pt x="3499427" y="-39578"/>
                    <a:pt x="3453244" y="72415"/>
                    <a:pt x="3470563" y="27387"/>
                  </a:cubicBezTo>
                  <a:cubicBezTo>
                    <a:pt x="3487882" y="-17641"/>
                    <a:pt x="3494809" y="4294"/>
                    <a:pt x="3290455" y="13530"/>
                  </a:cubicBezTo>
                  <a:cubicBezTo>
                    <a:pt x="3086101" y="22766"/>
                    <a:pt x="2549237" y="45858"/>
                    <a:pt x="2244437" y="82804"/>
                  </a:cubicBezTo>
                  <a:cubicBezTo>
                    <a:pt x="1939637" y="119750"/>
                    <a:pt x="1693719" y="170550"/>
                    <a:pt x="1461655" y="235204"/>
                  </a:cubicBezTo>
                  <a:cubicBezTo>
                    <a:pt x="1229591" y="299858"/>
                    <a:pt x="1056152" y="374519"/>
                    <a:pt x="852054" y="470731"/>
                  </a:cubicBezTo>
                  <a:cubicBezTo>
                    <a:pt x="647956" y="566943"/>
                    <a:pt x="379075" y="728195"/>
                    <a:pt x="237066" y="812477"/>
                  </a:cubicBezTo>
                  <a:cubicBezTo>
                    <a:pt x="95057" y="896759"/>
                    <a:pt x="40409" y="949290"/>
                    <a:pt x="0" y="976422"/>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53" name="Freeform: Shape 252"/>
            <p:cNvSpPr/>
            <p:nvPr/>
          </p:nvSpPr>
          <p:spPr bwMode="auto">
            <a:xfrm>
              <a:off x="7543800" y="3858491"/>
              <a:ext cx="1219200" cy="907473"/>
            </a:xfrm>
            <a:custGeom>
              <a:avLst/>
              <a:gdLst>
                <a:gd name="connsiteX0" fmla="*/ 0 w 1219200"/>
                <a:gd name="connsiteY0" fmla="*/ 907473 h 907473"/>
                <a:gd name="connsiteX1" fmla="*/ 1219200 w 1219200"/>
                <a:gd name="connsiteY1" fmla="*/ 0 h 907473"/>
                <a:gd name="connsiteX2" fmla="*/ 1184564 w 1219200"/>
                <a:gd name="connsiteY2" fmla="*/ 221673 h 907473"/>
              </a:gdLst>
              <a:ahLst/>
              <a:cxnLst>
                <a:cxn ang="0">
                  <a:pos x="connsiteX0" y="connsiteY0"/>
                </a:cxn>
                <a:cxn ang="0">
                  <a:pos x="connsiteX1" y="connsiteY1"/>
                </a:cxn>
                <a:cxn ang="0">
                  <a:pos x="connsiteX2" y="connsiteY2"/>
                </a:cxn>
              </a:cxnLst>
              <a:rect l="l" t="t" r="r" b="b"/>
              <a:pathLst>
                <a:path w="1219200" h="907473">
                  <a:moveTo>
                    <a:pt x="0" y="907473"/>
                  </a:moveTo>
                  <a:lnTo>
                    <a:pt x="1219200" y="0"/>
                  </a:lnTo>
                  <a:lnTo>
                    <a:pt x="1184564" y="221673"/>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54" name="Freeform: Shape 253"/>
            <p:cNvSpPr/>
            <p:nvPr/>
          </p:nvSpPr>
          <p:spPr bwMode="auto">
            <a:xfrm>
              <a:off x="7017327" y="2637233"/>
              <a:ext cx="11367655" cy="2149512"/>
            </a:xfrm>
            <a:custGeom>
              <a:avLst/>
              <a:gdLst>
                <a:gd name="connsiteX0" fmla="*/ 0 w 11367655"/>
                <a:gd name="connsiteY0" fmla="*/ 2149512 h 2149512"/>
                <a:gd name="connsiteX1" fmla="*/ 623455 w 11367655"/>
                <a:gd name="connsiteY1" fmla="*/ 1699240 h 2149512"/>
                <a:gd name="connsiteX2" fmla="*/ 1537855 w 11367655"/>
                <a:gd name="connsiteY2" fmla="*/ 1082712 h 2149512"/>
                <a:gd name="connsiteX3" fmla="*/ 2348346 w 11367655"/>
                <a:gd name="connsiteY3" fmla="*/ 563167 h 2149512"/>
                <a:gd name="connsiteX4" fmla="*/ 2479964 w 11367655"/>
                <a:gd name="connsiteY4" fmla="*/ 486967 h 2149512"/>
                <a:gd name="connsiteX5" fmla="*/ 2528455 w 11367655"/>
                <a:gd name="connsiteY5" fmla="*/ 431549 h 2149512"/>
                <a:gd name="connsiteX6" fmla="*/ 2750128 w 11367655"/>
                <a:gd name="connsiteY6" fmla="*/ 355349 h 2149512"/>
                <a:gd name="connsiteX7" fmla="*/ 3449782 w 11367655"/>
                <a:gd name="connsiteY7" fmla="*/ 189094 h 2149512"/>
                <a:gd name="connsiteX8" fmla="*/ 4301837 w 11367655"/>
                <a:gd name="connsiteY8" fmla="*/ 78258 h 2149512"/>
                <a:gd name="connsiteX9" fmla="*/ 5368637 w 11367655"/>
                <a:gd name="connsiteY9" fmla="*/ 15912 h 2149512"/>
                <a:gd name="connsiteX10" fmla="*/ 6497782 w 11367655"/>
                <a:gd name="connsiteY10" fmla="*/ 2058 h 2149512"/>
                <a:gd name="connsiteX11" fmla="*/ 7904018 w 11367655"/>
                <a:gd name="connsiteY11" fmla="*/ 50549 h 2149512"/>
                <a:gd name="connsiteX12" fmla="*/ 9033164 w 11367655"/>
                <a:gd name="connsiteY12" fmla="*/ 119822 h 2149512"/>
                <a:gd name="connsiteX13" fmla="*/ 10280073 w 11367655"/>
                <a:gd name="connsiteY13" fmla="*/ 279149 h 2149512"/>
                <a:gd name="connsiteX14" fmla="*/ 11069782 w 11367655"/>
                <a:gd name="connsiteY14" fmla="*/ 438476 h 2149512"/>
                <a:gd name="connsiteX15" fmla="*/ 11367655 w 11367655"/>
                <a:gd name="connsiteY15" fmla="*/ 514676 h 214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67655" h="2149512">
                  <a:moveTo>
                    <a:pt x="0" y="2149512"/>
                  </a:moveTo>
                  <a:cubicBezTo>
                    <a:pt x="183573" y="2013276"/>
                    <a:pt x="367146" y="1877040"/>
                    <a:pt x="623455" y="1699240"/>
                  </a:cubicBezTo>
                  <a:cubicBezTo>
                    <a:pt x="879764" y="1521440"/>
                    <a:pt x="1250373" y="1272057"/>
                    <a:pt x="1537855" y="1082712"/>
                  </a:cubicBezTo>
                  <a:cubicBezTo>
                    <a:pt x="1825337" y="893366"/>
                    <a:pt x="2191328" y="662458"/>
                    <a:pt x="2348346" y="563167"/>
                  </a:cubicBezTo>
                  <a:cubicBezTo>
                    <a:pt x="2505364" y="463876"/>
                    <a:pt x="2449946" y="508903"/>
                    <a:pt x="2479964" y="486967"/>
                  </a:cubicBezTo>
                  <a:cubicBezTo>
                    <a:pt x="2509982" y="465031"/>
                    <a:pt x="2483428" y="453485"/>
                    <a:pt x="2528455" y="431549"/>
                  </a:cubicBezTo>
                  <a:cubicBezTo>
                    <a:pt x="2573482" y="409613"/>
                    <a:pt x="2596573" y="395758"/>
                    <a:pt x="2750128" y="355349"/>
                  </a:cubicBezTo>
                  <a:cubicBezTo>
                    <a:pt x="2903683" y="314940"/>
                    <a:pt x="3191164" y="235276"/>
                    <a:pt x="3449782" y="189094"/>
                  </a:cubicBezTo>
                  <a:cubicBezTo>
                    <a:pt x="3708400" y="142912"/>
                    <a:pt x="3982028" y="107122"/>
                    <a:pt x="4301837" y="78258"/>
                  </a:cubicBezTo>
                  <a:cubicBezTo>
                    <a:pt x="4621646" y="49394"/>
                    <a:pt x="5002646" y="28612"/>
                    <a:pt x="5368637" y="15912"/>
                  </a:cubicBezTo>
                  <a:cubicBezTo>
                    <a:pt x="5734628" y="3212"/>
                    <a:pt x="6075219" y="-3715"/>
                    <a:pt x="6497782" y="2058"/>
                  </a:cubicBezTo>
                  <a:cubicBezTo>
                    <a:pt x="6920345" y="7831"/>
                    <a:pt x="7481454" y="30922"/>
                    <a:pt x="7904018" y="50549"/>
                  </a:cubicBezTo>
                  <a:cubicBezTo>
                    <a:pt x="8326582" y="70176"/>
                    <a:pt x="8637155" y="81722"/>
                    <a:pt x="9033164" y="119822"/>
                  </a:cubicBezTo>
                  <a:cubicBezTo>
                    <a:pt x="9429173" y="157922"/>
                    <a:pt x="9940637" y="226040"/>
                    <a:pt x="10280073" y="279149"/>
                  </a:cubicBezTo>
                  <a:cubicBezTo>
                    <a:pt x="10619509" y="332258"/>
                    <a:pt x="10888519" y="399222"/>
                    <a:pt x="11069782" y="438476"/>
                  </a:cubicBezTo>
                  <a:cubicBezTo>
                    <a:pt x="11251045" y="477730"/>
                    <a:pt x="11309350" y="496203"/>
                    <a:pt x="11367655" y="514676"/>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55" name="Freeform: Shape 254"/>
            <p:cNvSpPr/>
            <p:nvPr/>
          </p:nvSpPr>
          <p:spPr bwMode="auto">
            <a:xfrm>
              <a:off x="6834531" y="2799270"/>
              <a:ext cx="10173904" cy="5049330"/>
            </a:xfrm>
            <a:custGeom>
              <a:avLst/>
              <a:gdLst>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61729 w 10197719"/>
                <a:gd name="connsiteY24" fmla="*/ 275571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67369 w 10197719"/>
                <a:gd name="connsiteY25" fmla="*/ 3525330 h 5049330"/>
                <a:gd name="connsiteX26" fmla="*/ 7826349 w 10197719"/>
                <a:gd name="connsiteY26" fmla="*/ 4317810 h 5049330"/>
                <a:gd name="connsiteX27" fmla="*/ 7498689 w 10197719"/>
                <a:gd name="connsiteY27" fmla="*/ 4790250 h 5049330"/>
                <a:gd name="connsiteX0" fmla="*/ 160629 w 10198278"/>
                <a:gd name="connsiteY0" fmla="*/ 5049330 h 5049330"/>
                <a:gd name="connsiteX1" fmla="*/ 69189 w 10198278"/>
                <a:gd name="connsiteY1" fmla="*/ 4775010 h 5049330"/>
                <a:gd name="connsiteX2" fmla="*/ 8229 w 10198278"/>
                <a:gd name="connsiteY2" fmla="*/ 3883470 h 5049330"/>
                <a:gd name="connsiteX3" fmla="*/ 609 w 10198278"/>
                <a:gd name="connsiteY3" fmla="*/ 2831910 h 5049330"/>
                <a:gd name="connsiteX4" fmla="*/ 8229 w 10198278"/>
                <a:gd name="connsiteY4" fmla="*/ 2466150 h 5049330"/>
                <a:gd name="connsiteX5" fmla="*/ 38709 w 10198278"/>
                <a:gd name="connsiteY5" fmla="*/ 2306130 h 5049330"/>
                <a:gd name="connsiteX6" fmla="*/ 343509 w 10198278"/>
                <a:gd name="connsiteY6" fmla="*/ 2108010 h 5049330"/>
                <a:gd name="connsiteX7" fmla="*/ 526389 w 10198278"/>
                <a:gd name="connsiteY7" fmla="*/ 1963230 h 5049330"/>
                <a:gd name="connsiteX8" fmla="*/ 762609 w 10198278"/>
                <a:gd name="connsiteY8" fmla="*/ 1787970 h 5049330"/>
                <a:gd name="connsiteX9" fmla="*/ 1494129 w 10198278"/>
                <a:gd name="connsiteY9" fmla="*/ 1231710 h 5049330"/>
                <a:gd name="connsiteX10" fmla="*/ 2263749 w 10198278"/>
                <a:gd name="connsiteY10" fmla="*/ 736410 h 5049330"/>
                <a:gd name="connsiteX11" fmla="*/ 2896209 w 10198278"/>
                <a:gd name="connsiteY11" fmla="*/ 393510 h 5049330"/>
                <a:gd name="connsiteX12" fmla="*/ 3810609 w 10198278"/>
                <a:gd name="connsiteY12" fmla="*/ 149670 h 5049330"/>
                <a:gd name="connsiteX13" fmla="*/ 5288889 w 10198278"/>
                <a:gd name="connsiteY13" fmla="*/ 20130 h 5049330"/>
                <a:gd name="connsiteX14" fmla="*/ 6203289 w 10198278"/>
                <a:gd name="connsiteY14" fmla="*/ 4890 h 5049330"/>
                <a:gd name="connsiteX15" fmla="*/ 7399629 w 10198278"/>
                <a:gd name="connsiteY15" fmla="*/ 65850 h 5049330"/>
                <a:gd name="connsiteX16" fmla="*/ 8474049 w 10198278"/>
                <a:gd name="connsiteY16" fmla="*/ 157290 h 5049330"/>
                <a:gd name="connsiteX17" fmla="*/ 9159849 w 10198278"/>
                <a:gd name="connsiteY17" fmla="*/ 302070 h 5049330"/>
                <a:gd name="connsiteX18" fmla="*/ 9723729 w 10198278"/>
                <a:gd name="connsiteY18" fmla="*/ 454470 h 5049330"/>
                <a:gd name="connsiteX19" fmla="*/ 10074249 w 10198278"/>
                <a:gd name="connsiteY19" fmla="*/ 652590 h 5049330"/>
                <a:gd name="connsiteX20" fmla="*/ 10173309 w 10198278"/>
                <a:gd name="connsiteY20" fmla="*/ 896430 h 5049330"/>
                <a:gd name="connsiteX21" fmla="*/ 10180929 w 10198278"/>
                <a:gd name="connsiteY21" fmla="*/ 1071690 h 5049330"/>
                <a:gd name="connsiteX22" fmla="*/ 9967569 w 10198278"/>
                <a:gd name="connsiteY22" fmla="*/ 1475550 h 5049330"/>
                <a:gd name="connsiteX23" fmla="*/ 9472269 w 10198278"/>
                <a:gd name="connsiteY23" fmla="*/ 2077530 h 5049330"/>
                <a:gd name="connsiteX24" fmla="*/ 8954109 w 10198278"/>
                <a:gd name="connsiteY24" fmla="*/ 2740470 h 5049330"/>
                <a:gd name="connsiteX25" fmla="*/ 8367369 w 10198278"/>
                <a:gd name="connsiteY25" fmla="*/ 3525330 h 5049330"/>
                <a:gd name="connsiteX26" fmla="*/ 7826349 w 10198278"/>
                <a:gd name="connsiteY26" fmla="*/ 4317810 h 5049330"/>
                <a:gd name="connsiteX27" fmla="*/ 7498689 w 10198278"/>
                <a:gd name="connsiteY27" fmla="*/ 4790250 h 5049330"/>
                <a:gd name="connsiteX0" fmla="*/ 160629 w 10198948"/>
                <a:gd name="connsiteY0" fmla="*/ 5049330 h 5049330"/>
                <a:gd name="connsiteX1" fmla="*/ 69189 w 10198948"/>
                <a:gd name="connsiteY1" fmla="*/ 4775010 h 5049330"/>
                <a:gd name="connsiteX2" fmla="*/ 8229 w 10198948"/>
                <a:gd name="connsiteY2" fmla="*/ 3883470 h 5049330"/>
                <a:gd name="connsiteX3" fmla="*/ 609 w 10198948"/>
                <a:gd name="connsiteY3" fmla="*/ 2831910 h 5049330"/>
                <a:gd name="connsiteX4" fmla="*/ 8229 w 10198948"/>
                <a:gd name="connsiteY4" fmla="*/ 2466150 h 5049330"/>
                <a:gd name="connsiteX5" fmla="*/ 38709 w 10198948"/>
                <a:gd name="connsiteY5" fmla="*/ 2306130 h 5049330"/>
                <a:gd name="connsiteX6" fmla="*/ 343509 w 10198948"/>
                <a:gd name="connsiteY6" fmla="*/ 2108010 h 5049330"/>
                <a:gd name="connsiteX7" fmla="*/ 526389 w 10198948"/>
                <a:gd name="connsiteY7" fmla="*/ 1963230 h 5049330"/>
                <a:gd name="connsiteX8" fmla="*/ 762609 w 10198948"/>
                <a:gd name="connsiteY8" fmla="*/ 1787970 h 5049330"/>
                <a:gd name="connsiteX9" fmla="*/ 1494129 w 10198948"/>
                <a:gd name="connsiteY9" fmla="*/ 1231710 h 5049330"/>
                <a:gd name="connsiteX10" fmla="*/ 2263749 w 10198948"/>
                <a:gd name="connsiteY10" fmla="*/ 736410 h 5049330"/>
                <a:gd name="connsiteX11" fmla="*/ 2896209 w 10198948"/>
                <a:gd name="connsiteY11" fmla="*/ 393510 h 5049330"/>
                <a:gd name="connsiteX12" fmla="*/ 3810609 w 10198948"/>
                <a:gd name="connsiteY12" fmla="*/ 149670 h 5049330"/>
                <a:gd name="connsiteX13" fmla="*/ 5288889 w 10198948"/>
                <a:gd name="connsiteY13" fmla="*/ 20130 h 5049330"/>
                <a:gd name="connsiteX14" fmla="*/ 6203289 w 10198948"/>
                <a:gd name="connsiteY14" fmla="*/ 4890 h 5049330"/>
                <a:gd name="connsiteX15" fmla="*/ 7399629 w 10198948"/>
                <a:gd name="connsiteY15" fmla="*/ 65850 h 5049330"/>
                <a:gd name="connsiteX16" fmla="*/ 8474049 w 10198948"/>
                <a:gd name="connsiteY16" fmla="*/ 157290 h 5049330"/>
                <a:gd name="connsiteX17" fmla="*/ 9159849 w 10198948"/>
                <a:gd name="connsiteY17" fmla="*/ 302070 h 5049330"/>
                <a:gd name="connsiteX18" fmla="*/ 9723729 w 10198948"/>
                <a:gd name="connsiteY18" fmla="*/ 454470 h 5049330"/>
                <a:gd name="connsiteX19" fmla="*/ 10059009 w 10198948"/>
                <a:gd name="connsiteY19" fmla="*/ 660210 h 5049330"/>
                <a:gd name="connsiteX20" fmla="*/ 10173309 w 10198948"/>
                <a:gd name="connsiteY20" fmla="*/ 896430 h 5049330"/>
                <a:gd name="connsiteX21" fmla="*/ 10180929 w 10198948"/>
                <a:gd name="connsiteY21" fmla="*/ 1071690 h 5049330"/>
                <a:gd name="connsiteX22" fmla="*/ 9967569 w 10198948"/>
                <a:gd name="connsiteY22" fmla="*/ 1475550 h 5049330"/>
                <a:gd name="connsiteX23" fmla="*/ 9472269 w 10198948"/>
                <a:gd name="connsiteY23" fmla="*/ 2077530 h 5049330"/>
                <a:gd name="connsiteX24" fmla="*/ 8954109 w 10198948"/>
                <a:gd name="connsiteY24" fmla="*/ 2740470 h 5049330"/>
                <a:gd name="connsiteX25" fmla="*/ 8367369 w 10198948"/>
                <a:gd name="connsiteY25" fmla="*/ 3525330 h 5049330"/>
                <a:gd name="connsiteX26" fmla="*/ 7826349 w 10198948"/>
                <a:gd name="connsiteY26" fmla="*/ 4317810 h 5049330"/>
                <a:gd name="connsiteX27" fmla="*/ 7498689 w 10198948"/>
                <a:gd name="connsiteY27" fmla="*/ 4790250 h 5049330"/>
                <a:gd name="connsiteX0" fmla="*/ 160629 w 10189028"/>
                <a:gd name="connsiteY0" fmla="*/ 5049330 h 5049330"/>
                <a:gd name="connsiteX1" fmla="*/ 69189 w 10189028"/>
                <a:gd name="connsiteY1" fmla="*/ 4775010 h 5049330"/>
                <a:gd name="connsiteX2" fmla="*/ 8229 w 10189028"/>
                <a:gd name="connsiteY2" fmla="*/ 3883470 h 5049330"/>
                <a:gd name="connsiteX3" fmla="*/ 609 w 10189028"/>
                <a:gd name="connsiteY3" fmla="*/ 2831910 h 5049330"/>
                <a:gd name="connsiteX4" fmla="*/ 8229 w 10189028"/>
                <a:gd name="connsiteY4" fmla="*/ 2466150 h 5049330"/>
                <a:gd name="connsiteX5" fmla="*/ 38709 w 10189028"/>
                <a:gd name="connsiteY5" fmla="*/ 2306130 h 5049330"/>
                <a:gd name="connsiteX6" fmla="*/ 343509 w 10189028"/>
                <a:gd name="connsiteY6" fmla="*/ 2108010 h 5049330"/>
                <a:gd name="connsiteX7" fmla="*/ 526389 w 10189028"/>
                <a:gd name="connsiteY7" fmla="*/ 1963230 h 5049330"/>
                <a:gd name="connsiteX8" fmla="*/ 762609 w 10189028"/>
                <a:gd name="connsiteY8" fmla="*/ 1787970 h 5049330"/>
                <a:gd name="connsiteX9" fmla="*/ 1494129 w 10189028"/>
                <a:gd name="connsiteY9" fmla="*/ 1231710 h 5049330"/>
                <a:gd name="connsiteX10" fmla="*/ 2263749 w 10189028"/>
                <a:gd name="connsiteY10" fmla="*/ 736410 h 5049330"/>
                <a:gd name="connsiteX11" fmla="*/ 2896209 w 10189028"/>
                <a:gd name="connsiteY11" fmla="*/ 393510 h 5049330"/>
                <a:gd name="connsiteX12" fmla="*/ 3810609 w 10189028"/>
                <a:gd name="connsiteY12" fmla="*/ 149670 h 5049330"/>
                <a:gd name="connsiteX13" fmla="*/ 5288889 w 10189028"/>
                <a:gd name="connsiteY13" fmla="*/ 20130 h 5049330"/>
                <a:gd name="connsiteX14" fmla="*/ 6203289 w 10189028"/>
                <a:gd name="connsiteY14" fmla="*/ 4890 h 5049330"/>
                <a:gd name="connsiteX15" fmla="*/ 7399629 w 10189028"/>
                <a:gd name="connsiteY15" fmla="*/ 65850 h 5049330"/>
                <a:gd name="connsiteX16" fmla="*/ 8474049 w 10189028"/>
                <a:gd name="connsiteY16" fmla="*/ 157290 h 5049330"/>
                <a:gd name="connsiteX17" fmla="*/ 9159849 w 10189028"/>
                <a:gd name="connsiteY17" fmla="*/ 302070 h 5049330"/>
                <a:gd name="connsiteX18" fmla="*/ 9723729 w 10189028"/>
                <a:gd name="connsiteY18" fmla="*/ 454470 h 5049330"/>
                <a:gd name="connsiteX19" fmla="*/ 10059009 w 10189028"/>
                <a:gd name="connsiteY19" fmla="*/ 660210 h 5049330"/>
                <a:gd name="connsiteX20" fmla="*/ 10173309 w 10189028"/>
                <a:gd name="connsiteY20" fmla="*/ 896430 h 5049330"/>
                <a:gd name="connsiteX21" fmla="*/ 10165689 w 10189028"/>
                <a:gd name="connsiteY21" fmla="*/ 1071690 h 5049330"/>
                <a:gd name="connsiteX22" fmla="*/ 9967569 w 10189028"/>
                <a:gd name="connsiteY22" fmla="*/ 1475550 h 5049330"/>
                <a:gd name="connsiteX23" fmla="*/ 9472269 w 10189028"/>
                <a:gd name="connsiteY23" fmla="*/ 2077530 h 5049330"/>
                <a:gd name="connsiteX24" fmla="*/ 8954109 w 10189028"/>
                <a:gd name="connsiteY24" fmla="*/ 2740470 h 5049330"/>
                <a:gd name="connsiteX25" fmla="*/ 8367369 w 10189028"/>
                <a:gd name="connsiteY25" fmla="*/ 3525330 h 5049330"/>
                <a:gd name="connsiteX26" fmla="*/ 7826349 w 10189028"/>
                <a:gd name="connsiteY26" fmla="*/ 4317810 h 5049330"/>
                <a:gd name="connsiteX27" fmla="*/ 7498689 w 10189028"/>
                <a:gd name="connsiteY27" fmla="*/ 4790250 h 5049330"/>
                <a:gd name="connsiteX0" fmla="*/ 160629 w 10168501"/>
                <a:gd name="connsiteY0" fmla="*/ 5049330 h 5049330"/>
                <a:gd name="connsiteX1" fmla="*/ 69189 w 10168501"/>
                <a:gd name="connsiteY1" fmla="*/ 4775010 h 5049330"/>
                <a:gd name="connsiteX2" fmla="*/ 8229 w 10168501"/>
                <a:gd name="connsiteY2" fmla="*/ 3883470 h 5049330"/>
                <a:gd name="connsiteX3" fmla="*/ 609 w 10168501"/>
                <a:gd name="connsiteY3" fmla="*/ 2831910 h 5049330"/>
                <a:gd name="connsiteX4" fmla="*/ 8229 w 10168501"/>
                <a:gd name="connsiteY4" fmla="*/ 2466150 h 5049330"/>
                <a:gd name="connsiteX5" fmla="*/ 38709 w 10168501"/>
                <a:gd name="connsiteY5" fmla="*/ 2306130 h 5049330"/>
                <a:gd name="connsiteX6" fmla="*/ 343509 w 10168501"/>
                <a:gd name="connsiteY6" fmla="*/ 2108010 h 5049330"/>
                <a:gd name="connsiteX7" fmla="*/ 526389 w 10168501"/>
                <a:gd name="connsiteY7" fmla="*/ 1963230 h 5049330"/>
                <a:gd name="connsiteX8" fmla="*/ 762609 w 10168501"/>
                <a:gd name="connsiteY8" fmla="*/ 1787970 h 5049330"/>
                <a:gd name="connsiteX9" fmla="*/ 1494129 w 10168501"/>
                <a:gd name="connsiteY9" fmla="*/ 1231710 h 5049330"/>
                <a:gd name="connsiteX10" fmla="*/ 2263749 w 10168501"/>
                <a:gd name="connsiteY10" fmla="*/ 736410 h 5049330"/>
                <a:gd name="connsiteX11" fmla="*/ 2896209 w 10168501"/>
                <a:gd name="connsiteY11" fmla="*/ 393510 h 5049330"/>
                <a:gd name="connsiteX12" fmla="*/ 3810609 w 10168501"/>
                <a:gd name="connsiteY12" fmla="*/ 149670 h 5049330"/>
                <a:gd name="connsiteX13" fmla="*/ 5288889 w 10168501"/>
                <a:gd name="connsiteY13" fmla="*/ 20130 h 5049330"/>
                <a:gd name="connsiteX14" fmla="*/ 6203289 w 10168501"/>
                <a:gd name="connsiteY14" fmla="*/ 4890 h 5049330"/>
                <a:gd name="connsiteX15" fmla="*/ 7399629 w 10168501"/>
                <a:gd name="connsiteY15" fmla="*/ 65850 h 5049330"/>
                <a:gd name="connsiteX16" fmla="*/ 8474049 w 10168501"/>
                <a:gd name="connsiteY16" fmla="*/ 157290 h 5049330"/>
                <a:gd name="connsiteX17" fmla="*/ 9159849 w 10168501"/>
                <a:gd name="connsiteY17" fmla="*/ 302070 h 5049330"/>
                <a:gd name="connsiteX18" fmla="*/ 9723729 w 10168501"/>
                <a:gd name="connsiteY18" fmla="*/ 454470 h 5049330"/>
                <a:gd name="connsiteX19" fmla="*/ 10059009 w 10168501"/>
                <a:gd name="connsiteY19" fmla="*/ 660210 h 5049330"/>
                <a:gd name="connsiteX20" fmla="*/ 10165689 w 10168501"/>
                <a:gd name="connsiteY20" fmla="*/ 1071690 h 5049330"/>
                <a:gd name="connsiteX21" fmla="*/ 9967569 w 10168501"/>
                <a:gd name="connsiteY21" fmla="*/ 1475550 h 5049330"/>
                <a:gd name="connsiteX22" fmla="*/ 9472269 w 10168501"/>
                <a:gd name="connsiteY22" fmla="*/ 2077530 h 5049330"/>
                <a:gd name="connsiteX23" fmla="*/ 8954109 w 10168501"/>
                <a:gd name="connsiteY23" fmla="*/ 2740470 h 5049330"/>
                <a:gd name="connsiteX24" fmla="*/ 8367369 w 10168501"/>
                <a:gd name="connsiteY24" fmla="*/ 3525330 h 5049330"/>
                <a:gd name="connsiteX25" fmla="*/ 7826349 w 10168501"/>
                <a:gd name="connsiteY25" fmla="*/ 4317810 h 5049330"/>
                <a:gd name="connsiteX26" fmla="*/ 7498689 w 10168501"/>
                <a:gd name="connsiteY26" fmla="*/ 4790250 h 5049330"/>
                <a:gd name="connsiteX0" fmla="*/ 160629 w 10181816"/>
                <a:gd name="connsiteY0" fmla="*/ 5049330 h 5049330"/>
                <a:gd name="connsiteX1" fmla="*/ 69189 w 10181816"/>
                <a:gd name="connsiteY1" fmla="*/ 4775010 h 5049330"/>
                <a:gd name="connsiteX2" fmla="*/ 8229 w 10181816"/>
                <a:gd name="connsiteY2" fmla="*/ 3883470 h 5049330"/>
                <a:gd name="connsiteX3" fmla="*/ 609 w 10181816"/>
                <a:gd name="connsiteY3" fmla="*/ 2831910 h 5049330"/>
                <a:gd name="connsiteX4" fmla="*/ 8229 w 10181816"/>
                <a:gd name="connsiteY4" fmla="*/ 2466150 h 5049330"/>
                <a:gd name="connsiteX5" fmla="*/ 38709 w 10181816"/>
                <a:gd name="connsiteY5" fmla="*/ 2306130 h 5049330"/>
                <a:gd name="connsiteX6" fmla="*/ 343509 w 10181816"/>
                <a:gd name="connsiteY6" fmla="*/ 2108010 h 5049330"/>
                <a:gd name="connsiteX7" fmla="*/ 526389 w 10181816"/>
                <a:gd name="connsiteY7" fmla="*/ 1963230 h 5049330"/>
                <a:gd name="connsiteX8" fmla="*/ 762609 w 10181816"/>
                <a:gd name="connsiteY8" fmla="*/ 1787970 h 5049330"/>
                <a:gd name="connsiteX9" fmla="*/ 1494129 w 10181816"/>
                <a:gd name="connsiteY9" fmla="*/ 1231710 h 5049330"/>
                <a:gd name="connsiteX10" fmla="*/ 2263749 w 10181816"/>
                <a:gd name="connsiteY10" fmla="*/ 736410 h 5049330"/>
                <a:gd name="connsiteX11" fmla="*/ 2896209 w 10181816"/>
                <a:gd name="connsiteY11" fmla="*/ 393510 h 5049330"/>
                <a:gd name="connsiteX12" fmla="*/ 3810609 w 10181816"/>
                <a:gd name="connsiteY12" fmla="*/ 149670 h 5049330"/>
                <a:gd name="connsiteX13" fmla="*/ 5288889 w 10181816"/>
                <a:gd name="connsiteY13" fmla="*/ 20130 h 5049330"/>
                <a:gd name="connsiteX14" fmla="*/ 6203289 w 10181816"/>
                <a:gd name="connsiteY14" fmla="*/ 4890 h 5049330"/>
                <a:gd name="connsiteX15" fmla="*/ 7399629 w 10181816"/>
                <a:gd name="connsiteY15" fmla="*/ 65850 h 5049330"/>
                <a:gd name="connsiteX16" fmla="*/ 8474049 w 10181816"/>
                <a:gd name="connsiteY16" fmla="*/ 157290 h 5049330"/>
                <a:gd name="connsiteX17" fmla="*/ 9159849 w 10181816"/>
                <a:gd name="connsiteY17" fmla="*/ 302070 h 5049330"/>
                <a:gd name="connsiteX18" fmla="*/ 9723729 w 10181816"/>
                <a:gd name="connsiteY18" fmla="*/ 454470 h 5049330"/>
                <a:gd name="connsiteX19" fmla="*/ 10119969 w 10181816"/>
                <a:gd name="connsiteY19" fmla="*/ 713550 h 5049330"/>
                <a:gd name="connsiteX20" fmla="*/ 10165689 w 10181816"/>
                <a:gd name="connsiteY20" fmla="*/ 1071690 h 5049330"/>
                <a:gd name="connsiteX21" fmla="*/ 9967569 w 10181816"/>
                <a:gd name="connsiteY21" fmla="*/ 1475550 h 5049330"/>
                <a:gd name="connsiteX22" fmla="*/ 9472269 w 10181816"/>
                <a:gd name="connsiteY22" fmla="*/ 2077530 h 5049330"/>
                <a:gd name="connsiteX23" fmla="*/ 8954109 w 10181816"/>
                <a:gd name="connsiteY23" fmla="*/ 2740470 h 5049330"/>
                <a:gd name="connsiteX24" fmla="*/ 8367369 w 10181816"/>
                <a:gd name="connsiteY24" fmla="*/ 3525330 h 5049330"/>
                <a:gd name="connsiteX25" fmla="*/ 7826349 w 10181816"/>
                <a:gd name="connsiteY25" fmla="*/ 4317810 h 5049330"/>
                <a:gd name="connsiteX26" fmla="*/ 7498689 w 10181816"/>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5447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7733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3904"/>
                <a:gd name="connsiteY0" fmla="*/ 5049330 h 5049330"/>
                <a:gd name="connsiteX1" fmla="*/ 69189 w 10173904"/>
                <a:gd name="connsiteY1" fmla="*/ 4775010 h 5049330"/>
                <a:gd name="connsiteX2" fmla="*/ 8229 w 10173904"/>
                <a:gd name="connsiteY2" fmla="*/ 3883470 h 5049330"/>
                <a:gd name="connsiteX3" fmla="*/ 609 w 10173904"/>
                <a:gd name="connsiteY3" fmla="*/ 2831910 h 5049330"/>
                <a:gd name="connsiteX4" fmla="*/ 8229 w 10173904"/>
                <a:gd name="connsiteY4" fmla="*/ 2466150 h 5049330"/>
                <a:gd name="connsiteX5" fmla="*/ 38709 w 10173904"/>
                <a:gd name="connsiteY5" fmla="*/ 2306130 h 5049330"/>
                <a:gd name="connsiteX6" fmla="*/ 343509 w 10173904"/>
                <a:gd name="connsiteY6" fmla="*/ 2108010 h 5049330"/>
                <a:gd name="connsiteX7" fmla="*/ 526389 w 10173904"/>
                <a:gd name="connsiteY7" fmla="*/ 1963230 h 5049330"/>
                <a:gd name="connsiteX8" fmla="*/ 762609 w 10173904"/>
                <a:gd name="connsiteY8" fmla="*/ 1787970 h 5049330"/>
                <a:gd name="connsiteX9" fmla="*/ 1494129 w 10173904"/>
                <a:gd name="connsiteY9" fmla="*/ 1231710 h 5049330"/>
                <a:gd name="connsiteX10" fmla="*/ 2263749 w 10173904"/>
                <a:gd name="connsiteY10" fmla="*/ 736410 h 5049330"/>
                <a:gd name="connsiteX11" fmla="*/ 2896209 w 10173904"/>
                <a:gd name="connsiteY11" fmla="*/ 393510 h 5049330"/>
                <a:gd name="connsiteX12" fmla="*/ 3810609 w 10173904"/>
                <a:gd name="connsiteY12" fmla="*/ 149670 h 5049330"/>
                <a:gd name="connsiteX13" fmla="*/ 5288889 w 10173904"/>
                <a:gd name="connsiteY13" fmla="*/ 20130 h 5049330"/>
                <a:gd name="connsiteX14" fmla="*/ 6203289 w 10173904"/>
                <a:gd name="connsiteY14" fmla="*/ 4890 h 5049330"/>
                <a:gd name="connsiteX15" fmla="*/ 7399629 w 10173904"/>
                <a:gd name="connsiteY15" fmla="*/ 65850 h 5049330"/>
                <a:gd name="connsiteX16" fmla="*/ 8474049 w 10173904"/>
                <a:gd name="connsiteY16" fmla="*/ 157290 h 5049330"/>
                <a:gd name="connsiteX17" fmla="*/ 9159849 w 10173904"/>
                <a:gd name="connsiteY17" fmla="*/ 302070 h 5049330"/>
                <a:gd name="connsiteX18" fmla="*/ 9746589 w 10173904"/>
                <a:gd name="connsiteY18" fmla="*/ 469710 h 5049330"/>
                <a:gd name="connsiteX19" fmla="*/ 10097109 w 10173904"/>
                <a:gd name="connsiteY19" fmla="*/ 721170 h 5049330"/>
                <a:gd name="connsiteX20" fmla="*/ 10165689 w 10173904"/>
                <a:gd name="connsiteY20" fmla="*/ 1071690 h 5049330"/>
                <a:gd name="connsiteX21" fmla="*/ 9967569 w 10173904"/>
                <a:gd name="connsiteY21" fmla="*/ 1475550 h 5049330"/>
                <a:gd name="connsiteX22" fmla="*/ 9472269 w 10173904"/>
                <a:gd name="connsiteY22" fmla="*/ 2077530 h 5049330"/>
                <a:gd name="connsiteX23" fmla="*/ 8954109 w 10173904"/>
                <a:gd name="connsiteY23" fmla="*/ 2740470 h 5049330"/>
                <a:gd name="connsiteX24" fmla="*/ 8367369 w 10173904"/>
                <a:gd name="connsiteY24" fmla="*/ 3525330 h 5049330"/>
                <a:gd name="connsiteX25" fmla="*/ 7826349 w 10173904"/>
                <a:gd name="connsiteY25" fmla="*/ 4317810 h 5049330"/>
                <a:gd name="connsiteX26" fmla="*/ 7498689 w 10173904"/>
                <a:gd name="connsiteY26" fmla="*/ 4790250 h 504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173904" h="5049330">
                  <a:moveTo>
                    <a:pt x="160629" y="5049330"/>
                  </a:moveTo>
                  <a:cubicBezTo>
                    <a:pt x="127609" y="5009325"/>
                    <a:pt x="94589" y="4969320"/>
                    <a:pt x="69189" y="4775010"/>
                  </a:cubicBezTo>
                  <a:cubicBezTo>
                    <a:pt x="43789" y="4580700"/>
                    <a:pt x="19659" y="4207320"/>
                    <a:pt x="8229" y="3883470"/>
                  </a:cubicBezTo>
                  <a:cubicBezTo>
                    <a:pt x="-3201" y="3559620"/>
                    <a:pt x="609" y="3068130"/>
                    <a:pt x="609" y="2831910"/>
                  </a:cubicBezTo>
                  <a:cubicBezTo>
                    <a:pt x="609" y="2595690"/>
                    <a:pt x="1879" y="2553780"/>
                    <a:pt x="8229" y="2466150"/>
                  </a:cubicBezTo>
                  <a:cubicBezTo>
                    <a:pt x="14579" y="2378520"/>
                    <a:pt x="-17171" y="2365820"/>
                    <a:pt x="38709" y="2306130"/>
                  </a:cubicBezTo>
                  <a:cubicBezTo>
                    <a:pt x="94589" y="2246440"/>
                    <a:pt x="262229" y="2165160"/>
                    <a:pt x="343509" y="2108010"/>
                  </a:cubicBezTo>
                  <a:cubicBezTo>
                    <a:pt x="424789" y="2050860"/>
                    <a:pt x="456539" y="2016570"/>
                    <a:pt x="526389" y="1963230"/>
                  </a:cubicBezTo>
                  <a:cubicBezTo>
                    <a:pt x="596239" y="1909890"/>
                    <a:pt x="762609" y="1787970"/>
                    <a:pt x="762609" y="1787970"/>
                  </a:cubicBezTo>
                  <a:cubicBezTo>
                    <a:pt x="923899" y="1666050"/>
                    <a:pt x="1243939" y="1406970"/>
                    <a:pt x="1494129" y="1231710"/>
                  </a:cubicBezTo>
                  <a:cubicBezTo>
                    <a:pt x="1744319" y="1056450"/>
                    <a:pt x="2030069" y="876110"/>
                    <a:pt x="2263749" y="736410"/>
                  </a:cubicBezTo>
                  <a:cubicBezTo>
                    <a:pt x="2497429" y="596710"/>
                    <a:pt x="2638399" y="491300"/>
                    <a:pt x="2896209" y="393510"/>
                  </a:cubicBezTo>
                  <a:cubicBezTo>
                    <a:pt x="3154019" y="295720"/>
                    <a:pt x="3411829" y="211900"/>
                    <a:pt x="3810609" y="149670"/>
                  </a:cubicBezTo>
                  <a:cubicBezTo>
                    <a:pt x="4209389" y="87440"/>
                    <a:pt x="4890109" y="44260"/>
                    <a:pt x="5288889" y="20130"/>
                  </a:cubicBezTo>
                  <a:cubicBezTo>
                    <a:pt x="5687669" y="-4000"/>
                    <a:pt x="5851499" y="-2730"/>
                    <a:pt x="6203289" y="4890"/>
                  </a:cubicBezTo>
                  <a:cubicBezTo>
                    <a:pt x="6555079" y="12510"/>
                    <a:pt x="7021169" y="40450"/>
                    <a:pt x="7399629" y="65850"/>
                  </a:cubicBezTo>
                  <a:cubicBezTo>
                    <a:pt x="7778089" y="91250"/>
                    <a:pt x="8180679" y="117920"/>
                    <a:pt x="8474049" y="157290"/>
                  </a:cubicBezTo>
                  <a:cubicBezTo>
                    <a:pt x="8767419" y="196660"/>
                    <a:pt x="8947759" y="250000"/>
                    <a:pt x="9159849" y="302070"/>
                  </a:cubicBezTo>
                  <a:cubicBezTo>
                    <a:pt x="9371939" y="354140"/>
                    <a:pt x="9590379" y="399860"/>
                    <a:pt x="9746589" y="469710"/>
                  </a:cubicBezTo>
                  <a:cubicBezTo>
                    <a:pt x="9902799" y="539560"/>
                    <a:pt x="10027259" y="620840"/>
                    <a:pt x="10097109" y="721170"/>
                  </a:cubicBezTo>
                  <a:cubicBezTo>
                    <a:pt x="10166959" y="821500"/>
                    <a:pt x="10187279" y="945960"/>
                    <a:pt x="10165689" y="1071690"/>
                  </a:cubicBezTo>
                  <a:cubicBezTo>
                    <a:pt x="10144099" y="1197420"/>
                    <a:pt x="10083139" y="1307910"/>
                    <a:pt x="9967569" y="1475550"/>
                  </a:cubicBezTo>
                  <a:cubicBezTo>
                    <a:pt x="9851999" y="1643190"/>
                    <a:pt x="9641179" y="1866710"/>
                    <a:pt x="9472269" y="2077530"/>
                  </a:cubicBezTo>
                  <a:cubicBezTo>
                    <a:pt x="9303359" y="2288350"/>
                    <a:pt x="9138259" y="2499170"/>
                    <a:pt x="8954109" y="2740470"/>
                  </a:cubicBezTo>
                  <a:cubicBezTo>
                    <a:pt x="8769959" y="2981770"/>
                    <a:pt x="8555329" y="3262440"/>
                    <a:pt x="8367369" y="3525330"/>
                  </a:cubicBezTo>
                  <a:cubicBezTo>
                    <a:pt x="8179409" y="3788220"/>
                    <a:pt x="7971129" y="4106990"/>
                    <a:pt x="7826349" y="4317810"/>
                  </a:cubicBezTo>
                  <a:cubicBezTo>
                    <a:pt x="7681569" y="4528630"/>
                    <a:pt x="7592034" y="4660075"/>
                    <a:pt x="7498689" y="479025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56" name="Freeform: Shape 255"/>
            <p:cNvSpPr/>
            <p:nvPr/>
          </p:nvSpPr>
          <p:spPr bwMode="auto">
            <a:xfrm>
              <a:off x="15339060" y="4419600"/>
              <a:ext cx="1341120" cy="30480"/>
            </a:xfrm>
            <a:custGeom>
              <a:avLst/>
              <a:gdLst>
                <a:gd name="connsiteX0" fmla="*/ 0 w 1341120"/>
                <a:gd name="connsiteY0" fmla="*/ 30480 h 30480"/>
                <a:gd name="connsiteX1" fmla="*/ 1341120 w 1341120"/>
                <a:gd name="connsiteY1" fmla="*/ 0 h 30480"/>
              </a:gdLst>
              <a:ahLst/>
              <a:cxnLst>
                <a:cxn ang="0">
                  <a:pos x="connsiteX0" y="connsiteY0"/>
                </a:cxn>
                <a:cxn ang="0">
                  <a:pos x="connsiteX1" y="connsiteY1"/>
                </a:cxn>
              </a:cxnLst>
              <a:rect l="l" t="t" r="r" b="b"/>
              <a:pathLst>
                <a:path w="1341120" h="30480">
                  <a:moveTo>
                    <a:pt x="0" y="30480"/>
                  </a:moveTo>
                  <a:lnTo>
                    <a:pt x="1341120" y="0"/>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57" name="Freeform: Shape 256"/>
            <p:cNvSpPr/>
            <p:nvPr/>
          </p:nvSpPr>
          <p:spPr bwMode="auto">
            <a:xfrm>
              <a:off x="12806680" y="2926080"/>
              <a:ext cx="4049769" cy="1468120"/>
            </a:xfrm>
            <a:custGeom>
              <a:avLst/>
              <a:gdLst>
                <a:gd name="connsiteX0" fmla="*/ 0 w 4054145"/>
                <a:gd name="connsiteY0" fmla="*/ 0 h 1468120"/>
                <a:gd name="connsiteX1" fmla="*/ 772160 w 4054145"/>
                <a:gd name="connsiteY1" fmla="*/ 30480 h 1468120"/>
                <a:gd name="connsiteX2" fmla="*/ 1945640 w 4054145"/>
                <a:gd name="connsiteY2" fmla="*/ 111760 h 1468120"/>
                <a:gd name="connsiteX3" fmla="*/ 3058160 w 4054145"/>
                <a:gd name="connsiteY3" fmla="*/ 294640 h 1468120"/>
                <a:gd name="connsiteX4" fmla="*/ 3825240 w 4054145"/>
                <a:gd name="connsiteY4" fmla="*/ 533400 h 1468120"/>
                <a:gd name="connsiteX5" fmla="*/ 4043680 w 4054145"/>
                <a:gd name="connsiteY5" fmla="*/ 711200 h 1468120"/>
                <a:gd name="connsiteX6" fmla="*/ 3987800 w 4054145"/>
                <a:gd name="connsiteY6" fmla="*/ 1071880 h 1468120"/>
                <a:gd name="connsiteX7" fmla="*/ 3713480 w 4054145"/>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7431"/>
                <a:gd name="connsiteY0" fmla="*/ 0 h 1468120"/>
                <a:gd name="connsiteX1" fmla="*/ 772160 w 4047431"/>
                <a:gd name="connsiteY1" fmla="*/ 30480 h 1468120"/>
                <a:gd name="connsiteX2" fmla="*/ 1945640 w 4047431"/>
                <a:gd name="connsiteY2" fmla="*/ 111760 h 1468120"/>
                <a:gd name="connsiteX3" fmla="*/ 3058160 w 4047431"/>
                <a:gd name="connsiteY3" fmla="*/ 294640 h 1468120"/>
                <a:gd name="connsiteX4" fmla="*/ 3825240 w 4047431"/>
                <a:gd name="connsiteY4" fmla="*/ 533400 h 1468120"/>
                <a:gd name="connsiteX5" fmla="*/ 4038600 w 4047431"/>
                <a:gd name="connsiteY5" fmla="*/ 751840 h 1468120"/>
                <a:gd name="connsiteX6" fmla="*/ 3977640 w 4047431"/>
                <a:gd name="connsiteY6" fmla="*/ 1066800 h 1468120"/>
                <a:gd name="connsiteX7" fmla="*/ 3713480 w 4047431"/>
                <a:gd name="connsiteY7" fmla="*/ 1468120 h 1468120"/>
                <a:gd name="connsiteX0" fmla="*/ 0 w 4049769"/>
                <a:gd name="connsiteY0" fmla="*/ 0 h 1468120"/>
                <a:gd name="connsiteX1" fmla="*/ 772160 w 4049769"/>
                <a:gd name="connsiteY1" fmla="*/ 30480 h 1468120"/>
                <a:gd name="connsiteX2" fmla="*/ 1945640 w 4049769"/>
                <a:gd name="connsiteY2" fmla="*/ 111760 h 1468120"/>
                <a:gd name="connsiteX3" fmla="*/ 3058160 w 4049769"/>
                <a:gd name="connsiteY3" fmla="*/ 294640 h 1468120"/>
                <a:gd name="connsiteX4" fmla="*/ 3825240 w 4049769"/>
                <a:gd name="connsiteY4" fmla="*/ 533400 h 1468120"/>
                <a:gd name="connsiteX5" fmla="*/ 4038600 w 4049769"/>
                <a:gd name="connsiteY5" fmla="*/ 751840 h 1468120"/>
                <a:gd name="connsiteX6" fmla="*/ 3977640 w 4049769"/>
                <a:gd name="connsiteY6" fmla="*/ 1066800 h 1468120"/>
                <a:gd name="connsiteX7" fmla="*/ 3713480 w 4049769"/>
                <a:gd name="connsiteY7"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9769" h="1468120">
                  <a:moveTo>
                    <a:pt x="0" y="0"/>
                  </a:moveTo>
                  <a:cubicBezTo>
                    <a:pt x="223943" y="5926"/>
                    <a:pt x="447887" y="11853"/>
                    <a:pt x="772160" y="30480"/>
                  </a:cubicBezTo>
                  <a:cubicBezTo>
                    <a:pt x="1096433" y="49107"/>
                    <a:pt x="1564640" y="67733"/>
                    <a:pt x="1945640" y="111760"/>
                  </a:cubicBezTo>
                  <a:cubicBezTo>
                    <a:pt x="2326640" y="155787"/>
                    <a:pt x="2744893" y="224367"/>
                    <a:pt x="3058160" y="294640"/>
                  </a:cubicBezTo>
                  <a:cubicBezTo>
                    <a:pt x="3371427" y="364913"/>
                    <a:pt x="3666913" y="436880"/>
                    <a:pt x="3825240" y="533400"/>
                  </a:cubicBezTo>
                  <a:cubicBezTo>
                    <a:pt x="3983567" y="629920"/>
                    <a:pt x="4013200" y="662940"/>
                    <a:pt x="4038600" y="751840"/>
                  </a:cubicBezTo>
                  <a:cubicBezTo>
                    <a:pt x="4064000" y="840740"/>
                    <a:pt x="4047067" y="952500"/>
                    <a:pt x="3977640" y="1066800"/>
                  </a:cubicBezTo>
                  <a:cubicBezTo>
                    <a:pt x="3908213" y="1181100"/>
                    <a:pt x="3823123" y="1333076"/>
                    <a:pt x="3713480" y="146812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58" name="Freeform: Shape 257"/>
            <p:cNvSpPr/>
            <p:nvPr/>
          </p:nvSpPr>
          <p:spPr bwMode="auto">
            <a:xfrm>
              <a:off x="12522200" y="2915920"/>
              <a:ext cx="289560" cy="1615440"/>
            </a:xfrm>
            <a:custGeom>
              <a:avLst/>
              <a:gdLst>
                <a:gd name="connsiteX0" fmla="*/ 289560 w 289560"/>
                <a:gd name="connsiteY0" fmla="*/ 0 h 1615440"/>
                <a:gd name="connsiteX1" fmla="*/ 0 w 289560"/>
                <a:gd name="connsiteY1" fmla="*/ 1615440 h 1615440"/>
              </a:gdLst>
              <a:ahLst/>
              <a:cxnLst>
                <a:cxn ang="0">
                  <a:pos x="connsiteX0" y="connsiteY0"/>
                </a:cxn>
                <a:cxn ang="0">
                  <a:pos x="connsiteX1" y="connsiteY1"/>
                </a:cxn>
              </a:cxnLst>
              <a:rect l="l" t="t" r="r" b="b"/>
              <a:pathLst>
                <a:path w="289560" h="1615440">
                  <a:moveTo>
                    <a:pt x="289560" y="0"/>
                  </a:moveTo>
                  <a:lnTo>
                    <a:pt x="0" y="1615440"/>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59" name="Freeform: Shape 258"/>
            <p:cNvSpPr/>
            <p:nvPr/>
          </p:nvSpPr>
          <p:spPr bwMode="auto">
            <a:xfrm>
              <a:off x="11677495" y="2812473"/>
              <a:ext cx="874723" cy="4959927"/>
            </a:xfrm>
            <a:custGeom>
              <a:avLst/>
              <a:gdLst>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1995054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73381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723" h="4959927">
                  <a:moveTo>
                    <a:pt x="874723" y="0"/>
                  </a:moveTo>
                  <a:cubicBezTo>
                    <a:pt x="718859" y="615373"/>
                    <a:pt x="562996" y="1228436"/>
                    <a:pt x="486796" y="1524000"/>
                  </a:cubicBezTo>
                  <a:cubicBezTo>
                    <a:pt x="410596" y="1819564"/>
                    <a:pt x="456778" y="1691408"/>
                    <a:pt x="417523" y="1773381"/>
                  </a:cubicBezTo>
                  <a:cubicBezTo>
                    <a:pt x="378268" y="1855354"/>
                    <a:pt x="292833" y="1914236"/>
                    <a:pt x="251269" y="2015836"/>
                  </a:cubicBezTo>
                  <a:cubicBezTo>
                    <a:pt x="209705" y="2117436"/>
                    <a:pt x="200468" y="2102428"/>
                    <a:pt x="168141" y="2382982"/>
                  </a:cubicBezTo>
                  <a:cubicBezTo>
                    <a:pt x="135814" y="2663536"/>
                    <a:pt x="85014" y="3336636"/>
                    <a:pt x="57305" y="3699163"/>
                  </a:cubicBezTo>
                  <a:cubicBezTo>
                    <a:pt x="29596" y="4061690"/>
                    <a:pt x="8814" y="4371109"/>
                    <a:pt x="1887" y="4558145"/>
                  </a:cubicBezTo>
                  <a:cubicBezTo>
                    <a:pt x="-5040" y="4745182"/>
                    <a:pt x="8814" y="4754418"/>
                    <a:pt x="15741" y="4821382"/>
                  </a:cubicBezTo>
                  <a:cubicBezTo>
                    <a:pt x="22668" y="4888346"/>
                    <a:pt x="33059" y="4924136"/>
                    <a:pt x="43450" y="4959927"/>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60" name="Freeform: Shape 259"/>
            <p:cNvSpPr/>
            <p:nvPr/>
          </p:nvSpPr>
          <p:spPr bwMode="auto">
            <a:xfrm>
              <a:off x="18109050" y="2998351"/>
              <a:ext cx="637311" cy="401783"/>
            </a:xfrm>
            <a:custGeom>
              <a:avLst/>
              <a:gdLst>
                <a:gd name="connsiteX0" fmla="*/ 540327 w 637309"/>
                <a:gd name="connsiteY0" fmla="*/ 0 h 401782"/>
                <a:gd name="connsiteX1" fmla="*/ 0 w 637309"/>
                <a:gd name="connsiteY1" fmla="*/ 401782 h 401782"/>
                <a:gd name="connsiteX2" fmla="*/ 637309 w 637309"/>
                <a:gd name="connsiteY2" fmla="*/ 48491 h 401782"/>
              </a:gdLst>
              <a:ahLst/>
              <a:cxnLst>
                <a:cxn ang="0">
                  <a:pos x="connsiteX0" y="connsiteY0"/>
                </a:cxn>
                <a:cxn ang="0">
                  <a:pos x="connsiteX1" y="connsiteY1"/>
                </a:cxn>
                <a:cxn ang="0">
                  <a:pos x="connsiteX2" y="connsiteY2"/>
                </a:cxn>
              </a:cxnLst>
              <a:rect l="l" t="t" r="r" b="b"/>
              <a:pathLst>
                <a:path w="637309" h="401782">
                  <a:moveTo>
                    <a:pt x="540327" y="0"/>
                  </a:moveTo>
                  <a:lnTo>
                    <a:pt x="0" y="401782"/>
                  </a:lnTo>
                  <a:lnTo>
                    <a:pt x="637309" y="48491"/>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61" name="Freeform: Shape 260"/>
            <p:cNvSpPr/>
            <p:nvPr/>
          </p:nvSpPr>
          <p:spPr bwMode="auto">
            <a:xfrm>
              <a:off x="9237510" y="3006438"/>
              <a:ext cx="193964" cy="138546"/>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62" name="Freeform: Shape 261"/>
            <p:cNvSpPr/>
            <p:nvPr/>
          </p:nvSpPr>
          <p:spPr bwMode="auto">
            <a:xfrm>
              <a:off x="6359236" y="4648200"/>
              <a:ext cx="789709" cy="70138"/>
            </a:xfrm>
            <a:custGeom>
              <a:avLst/>
              <a:gdLst>
                <a:gd name="connsiteX0" fmla="*/ 0 w 789709"/>
                <a:gd name="connsiteY0" fmla="*/ 0 h 70138"/>
                <a:gd name="connsiteX1" fmla="*/ 263237 w 789709"/>
                <a:gd name="connsiteY1" fmla="*/ 48491 h 70138"/>
                <a:gd name="connsiteX2" fmla="*/ 505691 w 789709"/>
                <a:gd name="connsiteY2" fmla="*/ 69273 h 70138"/>
                <a:gd name="connsiteX3" fmla="*/ 651164 w 789709"/>
                <a:gd name="connsiteY3" fmla="*/ 62345 h 70138"/>
                <a:gd name="connsiteX4" fmla="*/ 789709 w 789709"/>
                <a:gd name="connsiteY4" fmla="*/ 27709 h 7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709" h="70138">
                  <a:moveTo>
                    <a:pt x="0" y="0"/>
                  </a:moveTo>
                  <a:cubicBezTo>
                    <a:pt x="89477" y="18473"/>
                    <a:pt x="178955" y="36946"/>
                    <a:pt x="263237" y="48491"/>
                  </a:cubicBezTo>
                  <a:cubicBezTo>
                    <a:pt x="347519" y="60037"/>
                    <a:pt x="441037" y="66964"/>
                    <a:pt x="505691" y="69273"/>
                  </a:cubicBezTo>
                  <a:cubicBezTo>
                    <a:pt x="570345" y="71582"/>
                    <a:pt x="603828" y="69272"/>
                    <a:pt x="651164" y="62345"/>
                  </a:cubicBezTo>
                  <a:cubicBezTo>
                    <a:pt x="698500" y="55418"/>
                    <a:pt x="744104" y="41563"/>
                    <a:pt x="789709" y="27709"/>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63" name="Freeform: Shape 262"/>
            <p:cNvSpPr/>
            <p:nvPr/>
          </p:nvSpPr>
          <p:spPr bwMode="auto">
            <a:xfrm>
              <a:off x="10456095" y="2446097"/>
              <a:ext cx="2443893" cy="296940"/>
            </a:xfrm>
            <a:custGeom>
              <a:avLst/>
              <a:gdLst>
                <a:gd name="connsiteX0" fmla="*/ 80711 w 2509424"/>
                <a:gd name="connsiteY0" fmla="*/ 124691 h 264113"/>
                <a:gd name="connsiteX1" fmla="*/ 4511 w 2509424"/>
                <a:gd name="connsiteY1" fmla="*/ 235527 h 264113"/>
                <a:gd name="connsiteX2" fmla="*/ 198474 w 2509424"/>
                <a:gd name="connsiteY2" fmla="*/ 256309 h 264113"/>
                <a:gd name="connsiteX3" fmla="*/ 1154438 w 2509424"/>
                <a:gd name="connsiteY3" fmla="*/ 124691 h 264113"/>
                <a:gd name="connsiteX4" fmla="*/ 1909511 w 2509424"/>
                <a:gd name="connsiteY4" fmla="*/ 83127 h 264113"/>
                <a:gd name="connsiteX5" fmla="*/ 2456765 w 2509424"/>
                <a:gd name="connsiteY5" fmla="*/ 69272 h 264113"/>
                <a:gd name="connsiteX6" fmla="*/ 2456765 w 2509424"/>
                <a:gd name="connsiteY6" fmla="*/ 0 h 264113"/>
                <a:gd name="connsiteX0" fmla="*/ 81678 w 2510391"/>
                <a:gd name="connsiteY0" fmla="*/ 124691 h 251670"/>
                <a:gd name="connsiteX1" fmla="*/ 5478 w 2510391"/>
                <a:gd name="connsiteY1" fmla="*/ 235527 h 251670"/>
                <a:gd name="connsiteX2" fmla="*/ 216374 w 2510391"/>
                <a:gd name="connsiteY2" fmla="*/ 239376 h 251670"/>
                <a:gd name="connsiteX3" fmla="*/ 1155405 w 2510391"/>
                <a:gd name="connsiteY3" fmla="*/ 124691 h 251670"/>
                <a:gd name="connsiteX4" fmla="*/ 1910478 w 2510391"/>
                <a:gd name="connsiteY4" fmla="*/ 83127 h 251670"/>
                <a:gd name="connsiteX5" fmla="*/ 2457732 w 2510391"/>
                <a:gd name="connsiteY5" fmla="*/ 69272 h 251670"/>
                <a:gd name="connsiteX6" fmla="*/ 2457732 w 2510391"/>
                <a:gd name="connsiteY6" fmla="*/ 0 h 251670"/>
                <a:gd name="connsiteX0" fmla="*/ 66366 w 2495079"/>
                <a:gd name="connsiteY0" fmla="*/ 124691 h 265591"/>
                <a:gd name="connsiteX1" fmla="*/ 7099 w 2495079"/>
                <a:gd name="connsiteY1" fmla="*/ 256693 h 265591"/>
                <a:gd name="connsiteX2" fmla="*/ 201062 w 2495079"/>
                <a:gd name="connsiteY2" fmla="*/ 239376 h 265591"/>
                <a:gd name="connsiteX3" fmla="*/ 1140093 w 2495079"/>
                <a:gd name="connsiteY3" fmla="*/ 124691 h 265591"/>
                <a:gd name="connsiteX4" fmla="*/ 1895166 w 2495079"/>
                <a:gd name="connsiteY4" fmla="*/ 83127 h 265591"/>
                <a:gd name="connsiteX5" fmla="*/ 2442420 w 2495079"/>
                <a:gd name="connsiteY5" fmla="*/ 69272 h 265591"/>
                <a:gd name="connsiteX6" fmla="*/ 2442420 w 2495079"/>
                <a:gd name="connsiteY6" fmla="*/ 0 h 265591"/>
                <a:gd name="connsiteX0" fmla="*/ 81678 w 2510391"/>
                <a:gd name="connsiteY0" fmla="*/ 124691 h 259298"/>
                <a:gd name="connsiteX1" fmla="*/ 5478 w 2510391"/>
                <a:gd name="connsiteY1" fmla="*/ 248227 h 259298"/>
                <a:gd name="connsiteX2" fmla="*/ 216374 w 2510391"/>
                <a:gd name="connsiteY2" fmla="*/ 239376 h 259298"/>
                <a:gd name="connsiteX3" fmla="*/ 1155405 w 2510391"/>
                <a:gd name="connsiteY3" fmla="*/ 124691 h 259298"/>
                <a:gd name="connsiteX4" fmla="*/ 1910478 w 2510391"/>
                <a:gd name="connsiteY4" fmla="*/ 83127 h 259298"/>
                <a:gd name="connsiteX5" fmla="*/ 2457732 w 2510391"/>
                <a:gd name="connsiteY5" fmla="*/ 69272 h 259298"/>
                <a:gd name="connsiteX6" fmla="*/ 2457732 w 2510391"/>
                <a:gd name="connsiteY6" fmla="*/ 0 h 259298"/>
                <a:gd name="connsiteX0" fmla="*/ 88022 w 2516735"/>
                <a:gd name="connsiteY0" fmla="*/ 124691 h 266697"/>
                <a:gd name="connsiteX1" fmla="*/ 11822 w 2516735"/>
                <a:gd name="connsiteY1" fmla="*/ 248227 h 266697"/>
                <a:gd name="connsiteX2" fmla="*/ 222718 w 2516735"/>
                <a:gd name="connsiteY2" fmla="*/ 239376 h 266697"/>
                <a:gd name="connsiteX3" fmla="*/ 1161749 w 2516735"/>
                <a:gd name="connsiteY3" fmla="*/ 124691 h 266697"/>
                <a:gd name="connsiteX4" fmla="*/ 1916822 w 2516735"/>
                <a:gd name="connsiteY4" fmla="*/ 83127 h 266697"/>
                <a:gd name="connsiteX5" fmla="*/ 2464076 w 2516735"/>
                <a:gd name="connsiteY5" fmla="*/ 69272 h 266697"/>
                <a:gd name="connsiteX6" fmla="*/ 2464076 w 2516735"/>
                <a:gd name="connsiteY6" fmla="*/ 0 h 266697"/>
                <a:gd name="connsiteX0" fmla="*/ 73359 w 2502072"/>
                <a:gd name="connsiteY0" fmla="*/ 124691 h 263667"/>
                <a:gd name="connsiteX1" fmla="*/ 14092 w 2502072"/>
                <a:gd name="connsiteY1" fmla="*/ 243993 h 263667"/>
                <a:gd name="connsiteX2" fmla="*/ 208055 w 2502072"/>
                <a:gd name="connsiteY2" fmla="*/ 239376 h 263667"/>
                <a:gd name="connsiteX3" fmla="*/ 1147086 w 2502072"/>
                <a:gd name="connsiteY3" fmla="*/ 124691 h 263667"/>
                <a:gd name="connsiteX4" fmla="*/ 1902159 w 2502072"/>
                <a:gd name="connsiteY4" fmla="*/ 83127 h 263667"/>
                <a:gd name="connsiteX5" fmla="*/ 2449413 w 2502072"/>
                <a:gd name="connsiteY5" fmla="*/ 69272 h 263667"/>
                <a:gd name="connsiteX6" fmla="*/ 2449413 w 2502072"/>
                <a:gd name="connsiteY6" fmla="*/ 0 h 263667"/>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83127 h 263073"/>
                <a:gd name="connsiteX5" fmla="*/ 2449413 w 2502072"/>
                <a:gd name="connsiteY5" fmla="*/ 69272 h 263073"/>
                <a:gd name="connsiteX6" fmla="*/ 2449413 w 2502072"/>
                <a:gd name="connsiteY6" fmla="*/ 0 h 263073"/>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95827 h 263073"/>
                <a:gd name="connsiteX5" fmla="*/ 2449413 w 2502072"/>
                <a:gd name="connsiteY5" fmla="*/ 69272 h 263073"/>
                <a:gd name="connsiteX6" fmla="*/ 2449413 w 2502072"/>
                <a:gd name="connsiteY6" fmla="*/ 0 h 263073"/>
                <a:gd name="connsiteX0" fmla="*/ 73359 w 2471318"/>
                <a:gd name="connsiteY0" fmla="*/ 124691 h 263073"/>
                <a:gd name="connsiteX1" fmla="*/ 14092 w 2471318"/>
                <a:gd name="connsiteY1" fmla="*/ 243993 h 263073"/>
                <a:gd name="connsiteX2" fmla="*/ 208055 w 2471318"/>
                <a:gd name="connsiteY2" fmla="*/ 239376 h 263073"/>
                <a:gd name="connsiteX3" fmla="*/ 1155553 w 2471318"/>
                <a:gd name="connsiteY3" fmla="*/ 137391 h 263073"/>
                <a:gd name="connsiteX4" fmla="*/ 1902159 w 2471318"/>
                <a:gd name="connsiteY4" fmla="*/ 95827 h 263073"/>
                <a:gd name="connsiteX5" fmla="*/ 2377446 w 2471318"/>
                <a:gd name="connsiteY5" fmla="*/ 86205 h 263073"/>
                <a:gd name="connsiteX6" fmla="*/ 2449413 w 2471318"/>
                <a:gd name="connsiteY6" fmla="*/ 0 h 263073"/>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3893" h="296940">
                  <a:moveTo>
                    <a:pt x="73359" y="158558"/>
                  </a:moveTo>
                  <a:cubicBezTo>
                    <a:pt x="25445" y="203008"/>
                    <a:pt x="-25290" y="241813"/>
                    <a:pt x="14092" y="277860"/>
                  </a:cubicBezTo>
                  <a:cubicBezTo>
                    <a:pt x="53474" y="313907"/>
                    <a:pt x="17811" y="291010"/>
                    <a:pt x="208055" y="273243"/>
                  </a:cubicBezTo>
                  <a:cubicBezTo>
                    <a:pt x="398299" y="255476"/>
                    <a:pt x="873202" y="195183"/>
                    <a:pt x="1155553" y="171258"/>
                  </a:cubicBezTo>
                  <a:cubicBezTo>
                    <a:pt x="1437904" y="147333"/>
                    <a:pt x="1698510" y="138225"/>
                    <a:pt x="1902159" y="129694"/>
                  </a:cubicBezTo>
                  <a:cubicBezTo>
                    <a:pt x="2105808" y="121163"/>
                    <a:pt x="2292587" y="124755"/>
                    <a:pt x="2377446" y="120072"/>
                  </a:cubicBezTo>
                  <a:cubicBezTo>
                    <a:pt x="2462305" y="115389"/>
                    <a:pt x="2456916" y="27709"/>
                    <a:pt x="2411312"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64" name="Freeform: Shape 263"/>
            <p:cNvSpPr/>
            <p:nvPr/>
          </p:nvSpPr>
          <p:spPr bwMode="auto">
            <a:xfrm>
              <a:off x="9389918" y="2915920"/>
              <a:ext cx="193964" cy="138546"/>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65" name="Freeform: Shape 264"/>
            <p:cNvSpPr/>
            <p:nvPr/>
          </p:nvSpPr>
          <p:spPr bwMode="auto">
            <a:xfrm>
              <a:off x="9455520" y="2879373"/>
              <a:ext cx="193964" cy="138546"/>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66" name="Freeform: Shape 265"/>
            <p:cNvSpPr/>
            <p:nvPr/>
          </p:nvSpPr>
          <p:spPr bwMode="auto">
            <a:xfrm>
              <a:off x="7984924" y="4511675"/>
              <a:ext cx="132149" cy="256117"/>
            </a:xfrm>
            <a:custGeom>
              <a:avLst/>
              <a:gdLst>
                <a:gd name="connsiteX0" fmla="*/ 120135 w 120135"/>
                <a:gd name="connsiteY0" fmla="*/ 0 h 211667"/>
                <a:gd name="connsiteX1" fmla="*/ 5835 w 120135"/>
                <a:gd name="connsiteY1" fmla="*/ 97367 h 211667"/>
                <a:gd name="connsiteX2" fmla="*/ 27002 w 120135"/>
                <a:gd name="connsiteY2" fmla="*/ 182034 h 211667"/>
                <a:gd name="connsiteX3" fmla="*/ 115902 w 120135"/>
                <a:gd name="connsiteY3" fmla="*/ 211667 h 211667"/>
              </a:gdLst>
              <a:ahLst/>
              <a:cxnLst>
                <a:cxn ang="0">
                  <a:pos x="connsiteX0" y="connsiteY0"/>
                </a:cxn>
                <a:cxn ang="0">
                  <a:pos x="connsiteX1" y="connsiteY1"/>
                </a:cxn>
                <a:cxn ang="0">
                  <a:pos x="connsiteX2" y="connsiteY2"/>
                </a:cxn>
                <a:cxn ang="0">
                  <a:pos x="connsiteX3" y="connsiteY3"/>
                </a:cxn>
              </a:cxnLst>
              <a:rect l="l" t="t" r="r" b="b"/>
              <a:pathLst>
                <a:path w="120135" h="211667">
                  <a:moveTo>
                    <a:pt x="120135" y="0"/>
                  </a:moveTo>
                  <a:cubicBezTo>
                    <a:pt x="70746" y="33514"/>
                    <a:pt x="21357" y="67028"/>
                    <a:pt x="5835" y="97367"/>
                  </a:cubicBezTo>
                  <a:cubicBezTo>
                    <a:pt x="-9687" y="127706"/>
                    <a:pt x="8658" y="162984"/>
                    <a:pt x="27002" y="182034"/>
                  </a:cubicBezTo>
                  <a:cubicBezTo>
                    <a:pt x="45346" y="201084"/>
                    <a:pt x="80624" y="206375"/>
                    <a:pt x="115902" y="211667"/>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67" name="Freeform: Shape 266"/>
            <p:cNvSpPr/>
            <p:nvPr/>
          </p:nvSpPr>
          <p:spPr bwMode="auto">
            <a:xfrm>
              <a:off x="8093107" y="4089159"/>
              <a:ext cx="855714" cy="639776"/>
            </a:xfrm>
            <a:custGeom>
              <a:avLst/>
              <a:gdLst>
                <a:gd name="connsiteX0" fmla="*/ 1026 w 880224"/>
                <a:gd name="connsiteY0" fmla="*/ 224608 h 639520"/>
                <a:gd name="connsiteX1" fmla="*/ 30660 w 880224"/>
                <a:gd name="connsiteY1" fmla="*/ 423574 h 639520"/>
                <a:gd name="connsiteX2" fmla="*/ 204226 w 880224"/>
                <a:gd name="connsiteY2" fmla="*/ 597141 h 639520"/>
                <a:gd name="connsiteX3" fmla="*/ 403193 w 880224"/>
                <a:gd name="connsiteY3" fmla="*/ 639474 h 639520"/>
                <a:gd name="connsiteX4" fmla="*/ 712226 w 880224"/>
                <a:gd name="connsiteY4" fmla="*/ 592908 h 639520"/>
                <a:gd name="connsiteX5" fmla="*/ 873093 w 880224"/>
                <a:gd name="connsiteY5" fmla="*/ 398174 h 639520"/>
                <a:gd name="connsiteX6" fmla="*/ 839226 w 880224"/>
                <a:gd name="connsiteY6" fmla="*/ 190741 h 639520"/>
                <a:gd name="connsiteX7" fmla="*/ 724926 w 880224"/>
                <a:gd name="connsiteY7" fmla="*/ 51041 h 639520"/>
                <a:gd name="connsiteX8" fmla="*/ 564060 w 880224"/>
                <a:gd name="connsiteY8" fmla="*/ 241 h 639520"/>
                <a:gd name="connsiteX9" fmla="*/ 382026 w 880224"/>
                <a:gd name="connsiteY9" fmla="*/ 34108 h 639520"/>
                <a:gd name="connsiteX10" fmla="*/ 255026 w 880224"/>
                <a:gd name="connsiteY10" fmla="*/ 84908 h 639520"/>
                <a:gd name="connsiteX0" fmla="*/ 1026 w 866038"/>
                <a:gd name="connsiteY0" fmla="*/ 224608 h 639520"/>
                <a:gd name="connsiteX1" fmla="*/ 30660 w 866038"/>
                <a:gd name="connsiteY1" fmla="*/ 423574 h 639520"/>
                <a:gd name="connsiteX2" fmla="*/ 204226 w 866038"/>
                <a:gd name="connsiteY2" fmla="*/ 597141 h 639520"/>
                <a:gd name="connsiteX3" fmla="*/ 403193 w 866038"/>
                <a:gd name="connsiteY3" fmla="*/ 639474 h 639520"/>
                <a:gd name="connsiteX4" fmla="*/ 712226 w 866038"/>
                <a:gd name="connsiteY4" fmla="*/ 592908 h 639520"/>
                <a:gd name="connsiteX5" fmla="*/ 856159 w 866038"/>
                <a:gd name="connsiteY5" fmla="*/ 398174 h 639520"/>
                <a:gd name="connsiteX6" fmla="*/ 839226 w 866038"/>
                <a:gd name="connsiteY6" fmla="*/ 190741 h 639520"/>
                <a:gd name="connsiteX7" fmla="*/ 724926 w 866038"/>
                <a:gd name="connsiteY7" fmla="*/ 51041 h 639520"/>
                <a:gd name="connsiteX8" fmla="*/ 564060 w 866038"/>
                <a:gd name="connsiteY8" fmla="*/ 241 h 639520"/>
                <a:gd name="connsiteX9" fmla="*/ 382026 w 866038"/>
                <a:gd name="connsiteY9" fmla="*/ 34108 h 639520"/>
                <a:gd name="connsiteX10" fmla="*/ 255026 w 866038"/>
                <a:gd name="connsiteY10" fmla="*/ 84908 h 639520"/>
                <a:gd name="connsiteX0" fmla="*/ 1026 w 862652"/>
                <a:gd name="connsiteY0" fmla="*/ 224608 h 639520"/>
                <a:gd name="connsiteX1" fmla="*/ 30660 w 862652"/>
                <a:gd name="connsiteY1" fmla="*/ 423574 h 639520"/>
                <a:gd name="connsiteX2" fmla="*/ 204226 w 862652"/>
                <a:gd name="connsiteY2" fmla="*/ 597141 h 639520"/>
                <a:gd name="connsiteX3" fmla="*/ 403193 w 862652"/>
                <a:gd name="connsiteY3" fmla="*/ 639474 h 639520"/>
                <a:gd name="connsiteX4" fmla="*/ 712226 w 862652"/>
                <a:gd name="connsiteY4" fmla="*/ 592908 h 639520"/>
                <a:gd name="connsiteX5" fmla="*/ 856159 w 862652"/>
                <a:gd name="connsiteY5" fmla="*/ 398174 h 639520"/>
                <a:gd name="connsiteX6" fmla="*/ 826526 w 862652"/>
                <a:gd name="connsiteY6" fmla="*/ 194974 h 639520"/>
                <a:gd name="connsiteX7" fmla="*/ 724926 w 862652"/>
                <a:gd name="connsiteY7" fmla="*/ 51041 h 639520"/>
                <a:gd name="connsiteX8" fmla="*/ 564060 w 862652"/>
                <a:gd name="connsiteY8" fmla="*/ 241 h 639520"/>
                <a:gd name="connsiteX9" fmla="*/ 382026 w 862652"/>
                <a:gd name="connsiteY9" fmla="*/ 34108 h 639520"/>
                <a:gd name="connsiteX10" fmla="*/ 255026 w 862652"/>
                <a:gd name="connsiteY10" fmla="*/ 84908 h 639520"/>
                <a:gd name="connsiteX0" fmla="*/ 1026 w 855405"/>
                <a:gd name="connsiteY0" fmla="*/ 224608 h 639520"/>
                <a:gd name="connsiteX1" fmla="*/ 30660 w 855405"/>
                <a:gd name="connsiteY1" fmla="*/ 423574 h 639520"/>
                <a:gd name="connsiteX2" fmla="*/ 204226 w 855405"/>
                <a:gd name="connsiteY2" fmla="*/ 597141 h 639520"/>
                <a:gd name="connsiteX3" fmla="*/ 403193 w 855405"/>
                <a:gd name="connsiteY3" fmla="*/ 639474 h 639520"/>
                <a:gd name="connsiteX4" fmla="*/ 712226 w 855405"/>
                <a:gd name="connsiteY4" fmla="*/ 592908 h 639520"/>
                <a:gd name="connsiteX5" fmla="*/ 847692 w 855405"/>
                <a:gd name="connsiteY5" fmla="*/ 398174 h 639520"/>
                <a:gd name="connsiteX6" fmla="*/ 826526 w 855405"/>
                <a:gd name="connsiteY6" fmla="*/ 194974 h 639520"/>
                <a:gd name="connsiteX7" fmla="*/ 724926 w 855405"/>
                <a:gd name="connsiteY7" fmla="*/ 51041 h 639520"/>
                <a:gd name="connsiteX8" fmla="*/ 564060 w 855405"/>
                <a:gd name="connsiteY8" fmla="*/ 241 h 639520"/>
                <a:gd name="connsiteX9" fmla="*/ 382026 w 855405"/>
                <a:gd name="connsiteY9" fmla="*/ 34108 h 639520"/>
                <a:gd name="connsiteX10" fmla="*/ 255026 w 855405"/>
                <a:gd name="connsiteY10" fmla="*/ 84908 h 639520"/>
                <a:gd name="connsiteX0" fmla="*/ 1026 w 855714"/>
                <a:gd name="connsiteY0" fmla="*/ 224608 h 639776"/>
                <a:gd name="connsiteX1" fmla="*/ 30660 w 855714"/>
                <a:gd name="connsiteY1" fmla="*/ 423574 h 639776"/>
                <a:gd name="connsiteX2" fmla="*/ 204226 w 855714"/>
                <a:gd name="connsiteY2" fmla="*/ 597141 h 639776"/>
                <a:gd name="connsiteX3" fmla="*/ 403193 w 855714"/>
                <a:gd name="connsiteY3" fmla="*/ 639474 h 639776"/>
                <a:gd name="connsiteX4" fmla="*/ 707993 w 855714"/>
                <a:gd name="connsiteY4" fmla="*/ 584441 h 639776"/>
                <a:gd name="connsiteX5" fmla="*/ 847692 w 855714"/>
                <a:gd name="connsiteY5" fmla="*/ 398174 h 639776"/>
                <a:gd name="connsiteX6" fmla="*/ 826526 w 855714"/>
                <a:gd name="connsiteY6" fmla="*/ 194974 h 639776"/>
                <a:gd name="connsiteX7" fmla="*/ 724926 w 855714"/>
                <a:gd name="connsiteY7" fmla="*/ 51041 h 639776"/>
                <a:gd name="connsiteX8" fmla="*/ 564060 w 855714"/>
                <a:gd name="connsiteY8" fmla="*/ 241 h 639776"/>
                <a:gd name="connsiteX9" fmla="*/ 382026 w 855714"/>
                <a:gd name="connsiteY9" fmla="*/ 34108 h 639776"/>
                <a:gd name="connsiteX10" fmla="*/ 255026 w 855714"/>
                <a:gd name="connsiteY10" fmla="*/ 84908 h 63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5714" h="639776">
                  <a:moveTo>
                    <a:pt x="1026" y="224608"/>
                  </a:moveTo>
                  <a:cubicBezTo>
                    <a:pt x="-1091" y="293046"/>
                    <a:pt x="-3207" y="361485"/>
                    <a:pt x="30660" y="423574"/>
                  </a:cubicBezTo>
                  <a:cubicBezTo>
                    <a:pt x="64527" y="485663"/>
                    <a:pt x="142137" y="561158"/>
                    <a:pt x="204226" y="597141"/>
                  </a:cubicBezTo>
                  <a:cubicBezTo>
                    <a:pt x="266315" y="633124"/>
                    <a:pt x="319232" y="641591"/>
                    <a:pt x="403193" y="639474"/>
                  </a:cubicBezTo>
                  <a:cubicBezTo>
                    <a:pt x="487154" y="637357"/>
                    <a:pt x="633910" y="624658"/>
                    <a:pt x="707993" y="584441"/>
                  </a:cubicBezTo>
                  <a:cubicBezTo>
                    <a:pt x="782076" y="544224"/>
                    <a:pt x="827937" y="463085"/>
                    <a:pt x="847692" y="398174"/>
                  </a:cubicBezTo>
                  <a:cubicBezTo>
                    <a:pt x="867447" y="333263"/>
                    <a:pt x="846987" y="252830"/>
                    <a:pt x="826526" y="194974"/>
                  </a:cubicBezTo>
                  <a:cubicBezTo>
                    <a:pt x="806065" y="137118"/>
                    <a:pt x="768670" y="83496"/>
                    <a:pt x="724926" y="51041"/>
                  </a:cubicBezTo>
                  <a:cubicBezTo>
                    <a:pt x="681182" y="18586"/>
                    <a:pt x="621210" y="3063"/>
                    <a:pt x="564060" y="241"/>
                  </a:cubicBezTo>
                  <a:cubicBezTo>
                    <a:pt x="506910" y="-2581"/>
                    <a:pt x="433532" y="19997"/>
                    <a:pt x="382026" y="34108"/>
                  </a:cubicBezTo>
                  <a:cubicBezTo>
                    <a:pt x="330520" y="48219"/>
                    <a:pt x="292773" y="66563"/>
                    <a:pt x="255026" y="84908"/>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68" name="Freeform: Shape 267"/>
            <p:cNvSpPr/>
            <p:nvPr/>
          </p:nvSpPr>
          <p:spPr bwMode="auto">
            <a:xfrm>
              <a:off x="8094133" y="4305300"/>
              <a:ext cx="651934" cy="8466"/>
            </a:xfrm>
            <a:custGeom>
              <a:avLst/>
              <a:gdLst>
                <a:gd name="connsiteX0" fmla="*/ 0 w 651934"/>
                <a:gd name="connsiteY0" fmla="*/ 8466 h 8466"/>
                <a:gd name="connsiteX1" fmla="*/ 651934 w 651934"/>
                <a:gd name="connsiteY1" fmla="*/ 0 h 8466"/>
              </a:gdLst>
              <a:ahLst/>
              <a:cxnLst>
                <a:cxn ang="0">
                  <a:pos x="connsiteX0" y="connsiteY0"/>
                </a:cxn>
                <a:cxn ang="0">
                  <a:pos x="connsiteX1" y="connsiteY1"/>
                </a:cxn>
              </a:cxnLst>
              <a:rect l="l" t="t" r="r" b="b"/>
              <a:pathLst>
                <a:path w="651934" h="8466">
                  <a:moveTo>
                    <a:pt x="0" y="8466"/>
                  </a:moveTo>
                  <a:lnTo>
                    <a:pt x="651934" y="0"/>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69" name="Freeform: Shape 268"/>
            <p:cNvSpPr/>
            <p:nvPr/>
          </p:nvSpPr>
          <p:spPr bwMode="auto">
            <a:xfrm>
              <a:off x="8593667" y="4064001"/>
              <a:ext cx="404624" cy="677332"/>
            </a:xfrm>
            <a:custGeom>
              <a:avLst/>
              <a:gdLst>
                <a:gd name="connsiteX0" fmla="*/ 80434 w 469130"/>
                <a:gd name="connsiteY0" fmla="*/ 669259 h 669259"/>
                <a:gd name="connsiteX1" fmla="*/ 393700 w 469130"/>
                <a:gd name="connsiteY1" fmla="*/ 550726 h 669259"/>
                <a:gd name="connsiteX2" fmla="*/ 465667 w 469130"/>
                <a:gd name="connsiteY2" fmla="*/ 364459 h 669259"/>
                <a:gd name="connsiteX3" fmla="*/ 444500 w 469130"/>
                <a:gd name="connsiteY3" fmla="*/ 203593 h 669259"/>
                <a:gd name="connsiteX4" fmla="*/ 330200 w 469130"/>
                <a:gd name="connsiteY4" fmla="*/ 59659 h 669259"/>
                <a:gd name="connsiteX5" fmla="*/ 169334 w 469130"/>
                <a:gd name="connsiteY5" fmla="*/ 393 h 669259"/>
                <a:gd name="connsiteX6" fmla="*/ 0 w 469130"/>
                <a:gd name="connsiteY6" fmla="*/ 38493 h 669259"/>
                <a:gd name="connsiteX0" fmla="*/ 118534 w 507230"/>
                <a:gd name="connsiteY0" fmla="*/ 669873 h 669873"/>
                <a:gd name="connsiteX1" fmla="*/ 431800 w 507230"/>
                <a:gd name="connsiteY1" fmla="*/ 551340 h 669873"/>
                <a:gd name="connsiteX2" fmla="*/ 503767 w 507230"/>
                <a:gd name="connsiteY2" fmla="*/ 365073 h 669873"/>
                <a:gd name="connsiteX3" fmla="*/ 482600 w 507230"/>
                <a:gd name="connsiteY3" fmla="*/ 204207 h 669873"/>
                <a:gd name="connsiteX4" fmla="*/ 368300 w 507230"/>
                <a:gd name="connsiteY4" fmla="*/ 60273 h 669873"/>
                <a:gd name="connsiteX5" fmla="*/ 207434 w 507230"/>
                <a:gd name="connsiteY5" fmla="*/ 1007 h 669873"/>
                <a:gd name="connsiteX6" fmla="*/ 0 w 507230"/>
                <a:gd name="connsiteY6" fmla="*/ 30641 h 669873"/>
                <a:gd name="connsiteX0" fmla="*/ 0 w 388696"/>
                <a:gd name="connsiteY0" fmla="*/ 678024 h 678024"/>
                <a:gd name="connsiteX1" fmla="*/ 313266 w 388696"/>
                <a:gd name="connsiteY1" fmla="*/ 559491 h 678024"/>
                <a:gd name="connsiteX2" fmla="*/ 385233 w 388696"/>
                <a:gd name="connsiteY2" fmla="*/ 373224 h 678024"/>
                <a:gd name="connsiteX3" fmla="*/ 364066 w 388696"/>
                <a:gd name="connsiteY3" fmla="*/ 212358 h 678024"/>
                <a:gd name="connsiteX4" fmla="*/ 249766 w 388696"/>
                <a:gd name="connsiteY4" fmla="*/ 68424 h 678024"/>
                <a:gd name="connsiteX5" fmla="*/ 88900 w 388696"/>
                <a:gd name="connsiteY5" fmla="*/ 9158 h 678024"/>
                <a:gd name="connsiteX6" fmla="*/ 122766 w 388696"/>
                <a:gd name="connsiteY6" fmla="*/ 13392 h 678024"/>
                <a:gd name="connsiteX0" fmla="*/ 0 w 388696"/>
                <a:gd name="connsiteY0" fmla="*/ 668866 h 668866"/>
                <a:gd name="connsiteX1" fmla="*/ 313266 w 388696"/>
                <a:gd name="connsiteY1" fmla="*/ 550333 h 668866"/>
                <a:gd name="connsiteX2" fmla="*/ 385233 w 388696"/>
                <a:gd name="connsiteY2" fmla="*/ 364066 h 668866"/>
                <a:gd name="connsiteX3" fmla="*/ 364066 w 388696"/>
                <a:gd name="connsiteY3" fmla="*/ 203200 h 668866"/>
                <a:gd name="connsiteX4" fmla="*/ 249766 w 388696"/>
                <a:gd name="connsiteY4" fmla="*/ 59266 h 668866"/>
                <a:gd name="connsiteX5" fmla="*/ 88900 w 388696"/>
                <a:gd name="connsiteY5" fmla="*/ 0 h 668866"/>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67266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404062"/>
                <a:gd name="connsiteY0" fmla="*/ 677332 h 677332"/>
                <a:gd name="connsiteX1" fmla="*/ 313266 w 404062"/>
                <a:gd name="connsiteY1" fmla="*/ 567266 h 677332"/>
                <a:gd name="connsiteX2" fmla="*/ 402166 w 404062"/>
                <a:gd name="connsiteY2" fmla="*/ 372532 h 677332"/>
                <a:gd name="connsiteX3" fmla="*/ 364066 w 404062"/>
                <a:gd name="connsiteY3" fmla="*/ 211666 h 677332"/>
                <a:gd name="connsiteX4" fmla="*/ 249766 w 404062"/>
                <a:gd name="connsiteY4" fmla="*/ 67732 h 677332"/>
                <a:gd name="connsiteX5" fmla="*/ 114300 w 404062"/>
                <a:gd name="connsiteY5" fmla="*/ 0 h 677332"/>
                <a:gd name="connsiteX0" fmla="*/ 0 w 404624"/>
                <a:gd name="connsiteY0" fmla="*/ 677332 h 677332"/>
                <a:gd name="connsiteX1" fmla="*/ 313266 w 404624"/>
                <a:gd name="connsiteY1" fmla="*/ 567266 h 677332"/>
                <a:gd name="connsiteX2" fmla="*/ 402166 w 404624"/>
                <a:gd name="connsiteY2" fmla="*/ 372532 h 677332"/>
                <a:gd name="connsiteX3" fmla="*/ 368300 w 404624"/>
                <a:gd name="connsiteY3" fmla="*/ 194733 h 677332"/>
                <a:gd name="connsiteX4" fmla="*/ 249766 w 404624"/>
                <a:gd name="connsiteY4" fmla="*/ 67732 h 677332"/>
                <a:gd name="connsiteX5" fmla="*/ 114300 w 404624"/>
                <a:gd name="connsiteY5" fmla="*/ 0 h 67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624" h="677332">
                  <a:moveTo>
                    <a:pt x="0" y="677332"/>
                  </a:moveTo>
                  <a:cubicBezTo>
                    <a:pt x="179563" y="651932"/>
                    <a:pt x="246238" y="618066"/>
                    <a:pt x="313266" y="567266"/>
                  </a:cubicBezTo>
                  <a:cubicBezTo>
                    <a:pt x="380294" y="516466"/>
                    <a:pt x="392994" y="434621"/>
                    <a:pt x="402166" y="372532"/>
                  </a:cubicBezTo>
                  <a:cubicBezTo>
                    <a:pt x="411338" y="310443"/>
                    <a:pt x="393700" y="245533"/>
                    <a:pt x="368300" y="194733"/>
                  </a:cubicBezTo>
                  <a:cubicBezTo>
                    <a:pt x="342900" y="143933"/>
                    <a:pt x="292099" y="100187"/>
                    <a:pt x="249766" y="67732"/>
                  </a:cubicBezTo>
                  <a:cubicBezTo>
                    <a:pt x="207433" y="35277"/>
                    <a:pt x="135467" y="9172"/>
                    <a:pt x="114300"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70" name="Freeform: Shape 269"/>
            <p:cNvSpPr/>
            <p:nvPr/>
          </p:nvSpPr>
          <p:spPr bwMode="auto">
            <a:xfrm>
              <a:off x="18277840" y="6233160"/>
              <a:ext cx="2316480" cy="289560"/>
            </a:xfrm>
            <a:custGeom>
              <a:avLst/>
              <a:gdLst>
                <a:gd name="connsiteX0" fmla="*/ 0 w 2316480"/>
                <a:gd name="connsiteY0" fmla="*/ 289560 h 289560"/>
                <a:gd name="connsiteX1" fmla="*/ 2316480 w 2316480"/>
                <a:gd name="connsiteY1" fmla="*/ 0 h 289560"/>
              </a:gdLst>
              <a:ahLst/>
              <a:cxnLst>
                <a:cxn ang="0">
                  <a:pos x="connsiteX0" y="connsiteY0"/>
                </a:cxn>
                <a:cxn ang="0">
                  <a:pos x="connsiteX1" y="connsiteY1"/>
                </a:cxn>
              </a:cxnLst>
              <a:rect l="l" t="t" r="r" b="b"/>
              <a:pathLst>
                <a:path w="2316480" h="289560">
                  <a:moveTo>
                    <a:pt x="0" y="289560"/>
                  </a:moveTo>
                  <a:lnTo>
                    <a:pt x="2316480" y="0"/>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71" name="Freeform: Shape 270"/>
            <p:cNvSpPr/>
            <p:nvPr/>
          </p:nvSpPr>
          <p:spPr bwMode="auto">
            <a:xfrm>
              <a:off x="19161760" y="5262880"/>
              <a:ext cx="701040" cy="5080"/>
            </a:xfrm>
            <a:custGeom>
              <a:avLst/>
              <a:gdLst>
                <a:gd name="connsiteX0" fmla="*/ 0 w 701040"/>
                <a:gd name="connsiteY0" fmla="*/ 0 h 5080"/>
                <a:gd name="connsiteX1" fmla="*/ 701040 w 701040"/>
                <a:gd name="connsiteY1" fmla="*/ 5080 h 5080"/>
              </a:gdLst>
              <a:ahLst/>
              <a:cxnLst>
                <a:cxn ang="0">
                  <a:pos x="connsiteX0" y="connsiteY0"/>
                </a:cxn>
                <a:cxn ang="0">
                  <a:pos x="connsiteX1" y="connsiteY1"/>
                </a:cxn>
              </a:cxnLst>
              <a:rect l="l" t="t" r="r" b="b"/>
              <a:pathLst>
                <a:path w="701040" h="5080">
                  <a:moveTo>
                    <a:pt x="0" y="0"/>
                  </a:moveTo>
                  <a:lnTo>
                    <a:pt x="701040" y="5080"/>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72" name="Freeform: Shape 271"/>
            <p:cNvSpPr/>
            <p:nvPr/>
          </p:nvSpPr>
          <p:spPr bwMode="auto">
            <a:xfrm>
              <a:off x="19004508" y="4872176"/>
              <a:ext cx="812802" cy="5081"/>
            </a:xfrm>
            <a:custGeom>
              <a:avLst/>
              <a:gdLst>
                <a:gd name="connsiteX0" fmla="*/ 0 w 812800"/>
                <a:gd name="connsiteY0" fmla="*/ 0 h 5080"/>
                <a:gd name="connsiteX1" fmla="*/ 812800 w 812800"/>
                <a:gd name="connsiteY1" fmla="*/ 5080 h 5080"/>
              </a:gdLst>
              <a:ahLst/>
              <a:cxnLst>
                <a:cxn ang="0">
                  <a:pos x="connsiteX0" y="connsiteY0"/>
                </a:cxn>
                <a:cxn ang="0">
                  <a:pos x="connsiteX1" y="connsiteY1"/>
                </a:cxn>
              </a:cxnLst>
              <a:rect l="l" t="t" r="r" b="b"/>
              <a:pathLst>
                <a:path w="812800" h="5080">
                  <a:moveTo>
                    <a:pt x="0" y="0"/>
                  </a:moveTo>
                  <a:lnTo>
                    <a:pt x="812800" y="5080"/>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73" name="Freeform: Shape 272"/>
            <p:cNvSpPr/>
            <p:nvPr/>
          </p:nvSpPr>
          <p:spPr bwMode="auto">
            <a:xfrm>
              <a:off x="19639280" y="4902200"/>
              <a:ext cx="55880" cy="370840"/>
            </a:xfrm>
            <a:custGeom>
              <a:avLst/>
              <a:gdLst>
                <a:gd name="connsiteX0" fmla="*/ 0 w 55880"/>
                <a:gd name="connsiteY0" fmla="*/ 0 h 370840"/>
                <a:gd name="connsiteX1" fmla="*/ 55880 w 55880"/>
                <a:gd name="connsiteY1" fmla="*/ 370840 h 370840"/>
              </a:gdLst>
              <a:ahLst/>
              <a:cxnLst>
                <a:cxn ang="0">
                  <a:pos x="connsiteX0" y="connsiteY0"/>
                </a:cxn>
                <a:cxn ang="0">
                  <a:pos x="connsiteX1" y="connsiteY1"/>
                </a:cxn>
              </a:cxnLst>
              <a:rect l="l" t="t" r="r" b="b"/>
              <a:pathLst>
                <a:path w="55880" h="370840">
                  <a:moveTo>
                    <a:pt x="0" y="0"/>
                  </a:moveTo>
                  <a:lnTo>
                    <a:pt x="55880" y="370840"/>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74" name="Freeform: Shape 273"/>
            <p:cNvSpPr/>
            <p:nvPr/>
          </p:nvSpPr>
          <p:spPr bwMode="auto">
            <a:xfrm>
              <a:off x="18993697" y="4531360"/>
              <a:ext cx="498263" cy="736600"/>
            </a:xfrm>
            <a:custGeom>
              <a:avLst/>
              <a:gdLst>
                <a:gd name="connsiteX0" fmla="*/ 501021 w 501021"/>
                <a:gd name="connsiteY0" fmla="*/ 0 h 726440"/>
                <a:gd name="connsiteX1" fmla="*/ 257181 w 501021"/>
                <a:gd name="connsiteY1" fmla="*/ 71120 h 726440"/>
                <a:gd name="connsiteX2" fmla="*/ 43821 w 501021"/>
                <a:gd name="connsiteY2" fmla="*/ 254000 h 726440"/>
                <a:gd name="connsiteX3" fmla="*/ 3181 w 501021"/>
                <a:gd name="connsiteY3" fmla="*/ 401320 h 726440"/>
                <a:gd name="connsiteX4" fmla="*/ 94621 w 501021"/>
                <a:gd name="connsiteY4" fmla="*/ 640080 h 726440"/>
                <a:gd name="connsiteX5" fmla="*/ 160661 w 501021"/>
                <a:gd name="connsiteY5" fmla="*/ 726440 h 726440"/>
                <a:gd name="connsiteX0" fmla="*/ 498263 w 498263"/>
                <a:gd name="connsiteY0" fmla="*/ 0 h 726440"/>
                <a:gd name="connsiteX1" fmla="*/ 254423 w 498263"/>
                <a:gd name="connsiteY1" fmla="*/ 71120 h 726440"/>
                <a:gd name="connsiteX2" fmla="*/ 66463 w 498263"/>
                <a:gd name="connsiteY2" fmla="*/ 238760 h 726440"/>
                <a:gd name="connsiteX3" fmla="*/ 423 w 498263"/>
                <a:gd name="connsiteY3" fmla="*/ 401320 h 726440"/>
                <a:gd name="connsiteX4" fmla="*/ 91863 w 498263"/>
                <a:gd name="connsiteY4" fmla="*/ 640080 h 726440"/>
                <a:gd name="connsiteX5" fmla="*/ 157903 w 498263"/>
                <a:gd name="connsiteY5" fmla="*/ 726440 h 726440"/>
                <a:gd name="connsiteX0" fmla="*/ 498263 w 498263"/>
                <a:gd name="connsiteY0" fmla="*/ 0 h 736600"/>
                <a:gd name="connsiteX1" fmla="*/ 254423 w 498263"/>
                <a:gd name="connsiteY1" fmla="*/ 7112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 name="connsiteX0" fmla="*/ 498263 w 498263"/>
                <a:gd name="connsiteY0" fmla="*/ 0 h 736600"/>
                <a:gd name="connsiteX1" fmla="*/ 254423 w 498263"/>
                <a:gd name="connsiteY1" fmla="*/ 8636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263" h="736600">
                  <a:moveTo>
                    <a:pt x="498263" y="0"/>
                  </a:moveTo>
                  <a:cubicBezTo>
                    <a:pt x="414443" y="14393"/>
                    <a:pt x="326390" y="46567"/>
                    <a:pt x="254423" y="86360"/>
                  </a:cubicBezTo>
                  <a:cubicBezTo>
                    <a:pt x="182456" y="126153"/>
                    <a:pt x="108796" y="186267"/>
                    <a:pt x="66463" y="238760"/>
                  </a:cubicBezTo>
                  <a:cubicBezTo>
                    <a:pt x="24130" y="291253"/>
                    <a:pt x="-3810" y="334433"/>
                    <a:pt x="423" y="401320"/>
                  </a:cubicBezTo>
                  <a:cubicBezTo>
                    <a:pt x="4656" y="468207"/>
                    <a:pt x="63076" y="584200"/>
                    <a:pt x="91863" y="640080"/>
                  </a:cubicBezTo>
                  <a:cubicBezTo>
                    <a:pt x="120650" y="695960"/>
                    <a:pt x="153246" y="720513"/>
                    <a:pt x="173143" y="73660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75" name="Freeform: Shape 274"/>
            <p:cNvSpPr/>
            <p:nvPr/>
          </p:nvSpPr>
          <p:spPr bwMode="auto">
            <a:xfrm>
              <a:off x="19823919" y="4724400"/>
              <a:ext cx="399561" cy="1371600"/>
            </a:xfrm>
            <a:custGeom>
              <a:avLst/>
              <a:gdLst>
                <a:gd name="connsiteX0" fmla="*/ 399561 w 399561"/>
                <a:gd name="connsiteY0" fmla="*/ 1371600 h 1371600"/>
                <a:gd name="connsiteX1" fmla="*/ 242081 w 399561"/>
                <a:gd name="connsiteY1" fmla="*/ 1178560 h 1371600"/>
                <a:gd name="connsiteX2" fmla="*/ 64281 w 399561"/>
                <a:gd name="connsiteY2" fmla="*/ 660400 h 1371600"/>
                <a:gd name="connsiteX3" fmla="*/ 3321 w 399561"/>
                <a:gd name="connsiteY3" fmla="*/ 208280 h 1371600"/>
                <a:gd name="connsiteX4" fmla="*/ 13481 w 399561"/>
                <a:gd name="connsiteY4" fmla="*/ 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61" h="1371600">
                  <a:moveTo>
                    <a:pt x="399561" y="1371600"/>
                  </a:moveTo>
                  <a:cubicBezTo>
                    <a:pt x="348761" y="1334346"/>
                    <a:pt x="297961" y="1297093"/>
                    <a:pt x="242081" y="1178560"/>
                  </a:cubicBezTo>
                  <a:cubicBezTo>
                    <a:pt x="186201" y="1060027"/>
                    <a:pt x="104074" y="822113"/>
                    <a:pt x="64281" y="660400"/>
                  </a:cubicBezTo>
                  <a:cubicBezTo>
                    <a:pt x="24488" y="498687"/>
                    <a:pt x="11788" y="318347"/>
                    <a:pt x="3321" y="208280"/>
                  </a:cubicBezTo>
                  <a:cubicBezTo>
                    <a:pt x="-5146" y="98213"/>
                    <a:pt x="4167" y="49106"/>
                    <a:pt x="13481"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76" name="Freeform: Shape 275"/>
            <p:cNvSpPr/>
            <p:nvPr/>
          </p:nvSpPr>
          <p:spPr bwMode="auto">
            <a:xfrm>
              <a:off x="19558000" y="4531360"/>
              <a:ext cx="665480" cy="208280"/>
            </a:xfrm>
            <a:custGeom>
              <a:avLst/>
              <a:gdLst>
                <a:gd name="connsiteX0" fmla="*/ 0 w 665480"/>
                <a:gd name="connsiteY0" fmla="*/ 0 h 208280"/>
                <a:gd name="connsiteX1" fmla="*/ 289560 w 665480"/>
                <a:gd name="connsiteY1" fmla="*/ 208280 h 208280"/>
                <a:gd name="connsiteX2" fmla="*/ 665480 w 665480"/>
                <a:gd name="connsiteY2" fmla="*/ 137160 h 208280"/>
              </a:gdLst>
              <a:ahLst/>
              <a:cxnLst>
                <a:cxn ang="0">
                  <a:pos x="connsiteX0" y="connsiteY0"/>
                </a:cxn>
                <a:cxn ang="0">
                  <a:pos x="connsiteX1" y="connsiteY1"/>
                </a:cxn>
                <a:cxn ang="0">
                  <a:pos x="connsiteX2" y="connsiteY2"/>
                </a:cxn>
              </a:cxnLst>
              <a:rect l="l" t="t" r="r" b="b"/>
              <a:pathLst>
                <a:path w="665480" h="208280">
                  <a:moveTo>
                    <a:pt x="0" y="0"/>
                  </a:moveTo>
                  <a:lnTo>
                    <a:pt x="289560" y="208280"/>
                  </a:lnTo>
                  <a:lnTo>
                    <a:pt x="665480" y="137160"/>
                  </a:ln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77" name="Freeform: Shape 276"/>
            <p:cNvSpPr/>
            <p:nvPr/>
          </p:nvSpPr>
          <p:spPr bwMode="auto">
            <a:xfrm>
              <a:off x="18948941" y="6263640"/>
              <a:ext cx="1670779" cy="390426"/>
            </a:xfrm>
            <a:custGeom>
              <a:avLst/>
              <a:gdLst>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55880 h 390426"/>
                <a:gd name="connsiteX9" fmla="*/ 1635219 w 1670779"/>
                <a:gd name="connsiteY9" fmla="*/ 0 h 390426"/>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30480 h 390426"/>
                <a:gd name="connsiteX9" fmla="*/ 1635219 w 1670779"/>
                <a:gd name="connsiteY9" fmla="*/ 0 h 390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0779" h="390426">
                  <a:moveTo>
                    <a:pt x="1670779" y="177800"/>
                  </a:moveTo>
                  <a:cubicBezTo>
                    <a:pt x="1661889" y="193463"/>
                    <a:pt x="1652999" y="209127"/>
                    <a:pt x="1538699" y="233680"/>
                  </a:cubicBezTo>
                  <a:cubicBezTo>
                    <a:pt x="1424399" y="258233"/>
                    <a:pt x="1176325" y="299720"/>
                    <a:pt x="984979" y="325120"/>
                  </a:cubicBezTo>
                  <a:cubicBezTo>
                    <a:pt x="793633" y="350520"/>
                    <a:pt x="526932" y="378460"/>
                    <a:pt x="390619" y="386080"/>
                  </a:cubicBezTo>
                  <a:cubicBezTo>
                    <a:pt x="254306" y="393700"/>
                    <a:pt x="230599" y="392853"/>
                    <a:pt x="167099" y="370840"/>
                  </a:cubicBezTo>
                  <a:cubicBezTo>
                    <a:pt x="103599" y="348827"/>
                    <a:pt x="23166" y="281940"/>
                    <a:pt x="9619" y="254000"/>
                  </a:cubicBezTo>
                  <a:cubicBezTo>
                    <a:pt x="-3928" y="226060"/>
                    <a:pt x="-19168" y="226060"/>
                    <a:pt x="85819" y="203200"/>
                  </a:cubicBezTo>
                  <a:cubicBezTo>
                    <a:pt x="190806" y="180340"/>
                    <a:pt x="438032" y="145627"/>
                    <a:pt x="639539" y="116840"/>
                  </a:cubicBezTo>
                  <a:cubicBezTo>
                    <a:pt x="841046" y="88053"/>
                    <a:pt x="1128912" y="49953"/>
                    <a:pt x="1294859" y="30480"/>
                  </a:cubicBezTo>
                  <a:cubicBezTo>
                    <a:pt x="1460806" y="11007"/>
                    <a:pt x="1548012" y="18203"/>
                    <a:pt x="1635219" y="0"/>
                  </a:cubicBezTo>
                </a:path>
              </a:pathLst>
            </a:custGeom>
            <a:noFill/>
            <a:ln w="9525" cap="rnd" cmpd="sng" algn="ctr">
              <a:solidFill>
                <a:srgbClr val="0072C6"/>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sp>
        <p:nvSpPr>
          <p:cNvPr id="71" name="Title 3"/>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921" kern="0">
              <a:solidFill>
                <a:srgbClr val="0072C6"/>
              </a:solidFill>
              <a:cs typeface="Segoe UI Light" panose="020B0502040204020203" pitchFamily="34" charset="0"/>
            </a:endParaRPr>
          </a:p>
        </p:txBody>
      </p:sp>
      <p:sp>
        <p:nvSpPr>
          <p:cNvPr id="3" name="Title 2"/>
          <p:cNvSpPr>
            <a:spLocks noGrp="1"/>
          </p:cNvSpPr>
          <p:nvPr>
            <p:ph type="title"/>
          </p:nvPr>
        </p:nvSpPr>
        <p:spPr/>
        <p:txBody>
          <a:bodyPr/>
          <a:lstStyle/>
          <a:p>
            <a:r>
              <a:rPr lang="en-US"/>
              <a:t>Introducing the Microsoft Connected Vehicle Platform</a:t>
            </a:r>
          </a:p>
        </p:txBody>
      </p:sp>
      <p:sp>
        <p:nvSpPr>
          <p:cNvPr id="47" name="Rectangle 46"/>
          <p:cNvSpPr/>
          <p:nvPr/>
        </p:nvSpPr>
        <p:spPr>
          <a:xfrm>
            <a:off x="948564" y="4777211"/>
            <a:ext cx="10088329" cy="1938992"/>
          </a:xfrm>
          <a:prstGeom prst="rect">
            <a:avLst/>
          </a:prstGeom>
        </p:spPr>
        <p:txBody>
          <a:bodyPr wrap="square">
            <a:spAutoFit/>
          </a:bodyPr>
          <a:lstStyle/>
          <a:p>
            <a:pPr defTabSz="914225"/>
            <a:r>
              <a:rPr lang="en-US" sz="2400">
                <a:solidFill>
                  <a:srgbClr val="505050"/>
                </a:solidFill>
              </a:rPr>
              <a:t>Microsoft Connected Vehicle Platform consists of a set of services, that enable automotive OEMs and Tier One suppliers to build global scalable connected vehicle solutions, deliver unique experiences for their customers and digitally transform their businesses. </a:t>
            </a:r>
          </a:p>
          <a:p>
            <a:pPr defTabSz="914225"/>
            <a:endParaRPr lang="en-US" sz="2400">
              <a:solidFill>
                <a:srgbClr val="505050"/>
              </a:solidFill>
            </a:endParaRPr>
          </a:p>
        </p:txBody>
      </p:sp>
      <p:cxnSp>
        <p:nvCxnSpPr>
          <p:cNvPr id="153" name="Straight Connector 152"/>
          <p:cNvCxnSpPr/>
          <p:nvPr/>
        </p:nvCxnSpPr>
        <p:spPr bwMode="auto">
          <a:xfrm flipV="1">
            <a:off x="948565" y="6489865"/>
            <a:ext cx="10088329" cy="53981"/>
          </a:xfrm>
          <a:prstGeom prst="line">
            <a:avLst/>
          </a:prstGeom>
          <a:noFill/>
          <a:ln w="3175" cap="flat" cmpd="sng" algn="ctr">
            <a:solidFill>
              <a:schemeClr val="bg1">
                <a:lumMod val="65000"/>
              </a:schemeClr>
            </a:solidFill>
            <a:prstDash val="solid"/>
            <a:round/>
            <a:headEnd type="none" w="med" len="med"/>
            <a:tailEnd type="none" w="med" len="med"/>
          </a:ln>
          <a:effectLst/>
        </p:spPr>
      </p:cxnSp>
      <p:cxnSp>
        <p:nvCxnSpPr>
          <p:cNvPr id="139" name="Straight Connector 138"/>
          <p:cNvCxnSpPr/>
          <p:nvPr/>
        </p:nvCxnSpPr>
        <p:spPr bwMode="auto">
          <a:xfrm flipV="1">
            <a:off x="948564" y="4533808"/>
            <a:ext cx="10088329" cy="53981"/>
          </a:xfrm>
          <a:prstGeom prst="line">
            <a:avLst/>
          </a:prstGeom>
          <a:noFill/>
          <a:ln w="3175" cap="flat" cmpd="sng" algn="ctr">
            <a:solidFill>
              <a:schemeClr val="bg1">
                <a:lumMod val="65000"/>
              </a:schemeClr>
            </a:solidFill>
            <a:prstDash val="solid"/>
            <a:round/>
            <a:headEnd type="none" w="med" len="med"/>
            <a:tailEnd type="none" w="med" len="med"/>
          </a:ln>
          <a:effectLst/>
        </p:spPr>
      </p:cxnSp>
    </p:spTree>
    <p:extLst>
      <p:ext uri="{BB962C8B-B14F-4D97-AF65-F5344CB8AC3E}">
        <p14:creationId xmlns:p14="http://schemas.microsoft.com/office/powerpoint/2010/main" val="189204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3307073" y="4292600"/>
            <a:ext cx="8492289" cy="1971023"/>
            <a:chOff x="3307073" y="4292600"/>
            <a:chExt cx="8492289" cy="1971023"/>
          </a:xfrm>
        </p:grpSpPr>
        <p:sp>
          <p:nvSpPr>
            <p:cNvPr id="74" name="Rectangle 73"/>
            <p:cNvSpPr>
              <a:spLocks/>
            </p:cNvSpPr>
            <p:nvPr/>
          </p:nvSpPr>
          <p:spPr bwMode="auto">
            <a:xfrm>
              <a:off x="3307073" y="4292600"/>
              <a:ext cx="8492289" cy="1971023"/>
            </a:xfrm>
            <a:prstGeom prst="rect">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16" kern="0">
                <a:solidFill>
                  <a:srgbClr val="505050"/>
                </a:solidFill>
                <a:ea typeface="Calibri" charset="0"/>
                <a:cs typeface="Calibri" charset="0"/>
              </a:endParaRPr>
            </a:p>
            <a:p>
              <a:pPr algn="ctr" defTabSz="914102" fontAlgn="base">
                <a:lnSpc>
                  <a:spcPct val="90000"/>
                </a:lnSpc>
                <a:spcBef>
                  <a:spcPct val="0"/>
                </a:spcBef>
                <a:spcAft>
                  <a:spcPct val="0"/>
                </a:spcAft>
                <a:defRPr/>
              </a:pPr>
              <a:endParaRPr lang="en-US" sz="1216" kern="0">
                <a:solidFill>
                  <a:srgbClr val="505050"/>
                </a:solidFill>
                <a:ea typeface="Calibri" charset="0"/>
                <a:cs typeface="Calibri" charset="0"/>
              </a:endParaRPr>
            </a:p>
            <a:p>
              <a:pPr algn="ctr" defTabSz="914102" fontAlgn="base">
                <a:lnSpc>
                  <a:spcPct val="90000"/>
                </a:lnSpc>
                <a:spcBef>
                  <a:spcPct val="0"/>
                </a:spcBef>
                <a:spcAft>
                  <a:spcPct val="0"/>
                </a:spcAft>
                <a:defRPr/>
              </a:pPr>
              <a:endParaRPr lang="en-US" sz="1216" kern="0">
                <a:solidFill>
                  <a:srgbClr val="505050"/>
                </a:solidFill>
                <a:ea typeface="Calibri" charset="0"/>
                <a:cs typeface="Calibri" charset="0"/>
              </a:endParaRPr>
            </a:p>
            <a:p>
              <a:pPr algn="ctr" defTabSz="914102" fontAlgn="base">
                <a:lnSpc>
                  <a:spcPct val="90000"/>
                </a:lnSpc>
                <a:spcBef>
                  <a:spcPct val="0"/>
                </a:spcBef>
                <a:spcAft>
                  <a:spcPct val="0"/>
                </a:spcAft>
                <a:defRPr/>
              </a:pPr>
              <a:endParaRPr lang="en-US" sz="1216" kern="0">
                <a:solidFill>
                  <a:srgbClr val="505050"/>
                </a:solidFill>
                <a:ea typeface="Calibri" charset="0"/>
                <a:cs typeface="Calibri" charset="0"/>
              </a:endParaRPr>
            </a:p>
            <a:p>
              <a:pPr algn="ctr" defTabSz="914102" fontAlgn="base">
                <a:lnSpc>
                  <a:spcPct val="90000"/>
                </a:lnSpc>
                <a:spcBef>
                  <a:spcPct val="0"/>
                </a:spcBef>
                <a:spcAft>
                  <a:spcPct val="0"/>
                </a:spcAft>
                <a:defRPr/>
              </a:pPr>
              <a:endParaRPr lang="en-US" sz="1216" kern="0">
                <a:solidFill>
                  <a:srgbClr val="505050"/>
                </a:solidFill>
                <a:ea typeface="Calibri" charset="0"/>
                <a:cs typeface="Calibri" charset="0"/>
              </a:endParaRPr>
            </a:p>
          </p:txBody>
        </p:sp>
        <p:sp>
          <p:nvSpPr>
            <p:cNvPr id="11" name="Rectangle 10"/>
            <p:cNvSpPr/>
            <p:nvPr/>
          </p:nvSpPr>
          <p:spPr>
            <a:xfrm>
              <a:off x="4711337" y="5543883"/>
              <a:ext cx="5651863" cy="599651"/>
            </a:xfrm>
            <a:prstGeom prst="rect">
              <a:avLst/>
            </a:prstGeom>
            <a:solidFill>
              <a:schemeClr val="tx2"/>
            </a:solidFill>
            <a:ln>
              <a:solidFill>
                <a:schemeClr val="accent3"/>
              </a:solidFill>
            </a:ln>
          </p:spPr>
          <p:txBody>
            <a:bodyPr wrap="square">
              <a:spAutoFit/>
            </a:bodyPr>
            <a:lstStyle/>
            <a:p>
              <a:pPr algn="ctr" defTabSz="914102" fontAlgn="base">
                <a:lnSpc>
                  <a:spcPct val="90000"/>
                </a:lnSpc>
                <a:spcBef>
                  <a:spcPct val="0"/>
                </a:spcBef>
                <a:spcAft>
                  <a:spcPts val="500"/>
                </a:spcAft>
                <a:defRPr/>
              </a:pPr>
              <a:r>
                <a:rPr lang="en-US" b="1" kern="0">
                  <a:solidFill>
                    <a:srgbClr val="FFFFFF"/>
                  </a:solidFill>
                  <a:ea typeface="Calibri" charset="0"/>
                  <a:cs typeface="Calibri" charset="0"/>
                </a:rPr>
                <a:t>Additional Azure Services</a:t>
              </a:r>
            </a:p>
            <a:p>
              <a:pPr algn="ctr" defTabSz="914102" fontAlgn="base">
                <a:lnSpc>
                  <a:spcPct val="90000"/>
                </a:lnSpc>
                <a:spcBef>
                  <a:spcPct val="0"/>
                </a:spcBef>
                <a:spcAft>
                  <a:spcPts val="500"/>
                </a:spcAft>
                <a:defRPr/>
              </a:pPr>
              <a:r>
                <a:rPr lang="en-US" sz="1400" kern="0">
                  <a:solidFill>
                    <a:srgbClr val="FFFFFF"/>
                  </a:solidFill>
                  <a:latin typeface="Segoe UI Light"/>
                  <a:ea typeface="Calibri" charset="0"/>
                  <a:cs typeface="Calibri" charset="0"/>
                </a:rPr>
                <a:t>Storage | Compute | Networking | Etc.</a:t>
              </a:r>
            </a:p>
          </p:txBody>
        </p:sp>
      </p:grpSp>
      <p:sp>
        <p:nvSpPr>
          <p:cNvPr id="98" name="TextBox 97"/>
          <p:cNvSpPr txBox="1"/>
          <p:nvPr/>
        </p:nvSpPr>
        <p:spPr>
          <a:xfrm>
            <a:off x="348925" y="1162871"/>
            <a:ext cx="2813962" cy="1477806"/>
          </a:xfrm>
          <a:prstGeom prst="rect">
            <a:avLst/>
          </a:prstGeom>
          <a:noFill/>
        </p:spPr>
        <p:txBody>
          <a:bodyPr wrap="square" rIns="91440" rtlCol="0" anchor="ctr">
            <a:noAutofit/>
          </a:bodyPr>
          <a:lstStyle/>
          <a:p>
            <a:pPr>
              <a:lnSpc>
                <a:spcPct val="90000"/>
              </a:lnSpc>
              <a:defRPr/>
            </a:pPr>
            <a:r>
              <a:rPr lang="en-US" sz="1600" b="1" kern="0">
                <a:solidFill>
                  <a:srgbClr val="002050"/>
                </a:solidFill>
                <a:ea typeface="Calibri" charset="0"/>
                <a:cs typeface="Calibri" charset="0"/>
              </a:rPr>
              <a:t>PURPOSE BUILT</a:t>
            </a:r>
            <a:endParaRPr lang="en-US" sz="1400" b="1" kern="0">
              <a:solidFill>
                <a:srgbClr val="002050"/>
              </a:solidFill>
              <a:ea typeface="Calibri" charset="0"/>
              <a:cs typeface="Calibri" charset="0"/>
            </a:endParaRPr>
          </a:p>
          <a:p>
            <a:pPr>
              <a:lnSpc>
                <a:spcPct val="90000"/>
              </a:lnSpc>
              <a:defRPr/>
            </a:pPr>
            <a:endParaRPr lang="en-US" sz="1400" b="1" kern="0">
              <a:solidFill>
                <a:srgbClr val="505050"/>
              </a:solidFill>
              <a:ea typeface="Calibri" charset="0"/>
              <a:cs typeface="Calibri" charset="0"/>
            </a:endParaRPr>
          </a:p>
          <a:p>
            <a:pPr>
              <a:lnSpc>
                <a:spcPct val="90000"/>
              </a:lnSpc>
              <a:defRPr/>
            </a:pPr>
            <a:r>
              <a:rPr lang="en-US" sz="1400" kern="0">
                <a:solidFill>
                  <a:srgbClr val="505050"/>
                </a:solidFill>
                <a:ea typeface="Calibri" charset="0"/>
                <a:cs typeface="Calibri" charset="0"/>
              </a:rPr>
              <a:t>Customized instances of the platform. Microsoft can customize and operate.</a:t>
            </a:r>
          </a:p>
        </p:txBody>
      </p:sp>
      <p:sp>
        <p:nvSpPr>
          <p:cNvPr id="99" name="TextBox 98"/>
          <p:cNvSpPr txBox="1"/>
          <p:nvPr/>
        </p:nvSpPr>
        <p:spPr>
          <a:xfrm>
            <a:off x="348925" y="2640677"/>
            <a:ext cx="2812564" cy="1387037"/>
          </a:xfrm>
          <a:prstGeom prst="rect">
            <a:avLst/>
          </a:prstGeom>
          <a:noFill/>
        </p:spPr>
        <p:txBody>
          <a:bodyPr wrap="square" rIns="91440" rtlCol="0" anchor="ctr">
            <a:noAutofit/>
          </a:bodyPr>
          <a:lstStyle/>
          <a:p>
            <a:pPr>
              <a:lnSpc>
                <a:spcPct val="90000"/>
              </a:lnSpc>
              <a:defRPr/>
            </a:pPr>
            <a:r>
              <a:rPr lang="en-US" sz="1400" b="1" kern="0">
                <a:solidFill>
                  <a:srgbClr val="002050"/>
                </a:solidFill>
                <a:ea typeface="Calibri" charset="0"/>
                <a:cs typeface="Calibri" charset="0"/>
              </a:rPr>
              <a:t>MICROSOFT CONNECTED VEHICLE PLATFORM</a:t>
            </a:r>
          </a:p>
          <a:p>
            <a:pPr>
              <a:lnSpc>
                <a:spcPct val="90000"/>
              </a:lnSpc>
              <a:defRPr/>
            </a:pPr>
            <a:endParaRPr lang="en-US" sz="1400" b="1" kern="0">
              <a:solidFill>
                <a:srgbClr val="505050"/>
              </a:solidFill>
              <a:ea typeface="Calibri" charset="0"/>
              <a:cs typeface="Calibri" charset="0"/>
            </a:endParaRPr>
          </a:p>
          <a:p>
            <a:pPr>
              <a:lnSpc>
                <a:spcPct val="90000"/>
              </a:lnSpc>
              <a:defRPr/>
            </a:pPr>
            <a:r>
              <a:rPr lang="en-US" sz="1400" kern="0">
                <a:solidFill>
                  <a:srgbClr val="505050"/>
                </a:solidFill>
                <a:ea typeface="Calibri" charset="0"/>
                <a:cs typeface="Calibri" charset="0"/>
              </a:rPr>
              <a:t>Spanning in-car and cloud. </a:t>
            </a:r>
            <a:br>
              <a:rPr lang="en-US" sz="1400" kern="0">
                <a:solidFill>
                  <a:srgbClr val="505050"/>
                </a:solidFill>
                <a:ea typeface="Calibri" charset="0"/>
                <a:cs typeface="Calibri" charset="0"/>
              </a:rPr>
            </a:br>
            <a:r>
              <a:rPr lang="en-US" sz="1400" kern="0">
                <a:solidFill>
                  <a:srgbClr val="505050"/>
                </a:solidFill>
                <a:ea typeface="Calibri" charset="0"/>
                <a:cs typeface="Calibri" charset="0"/>
              </a:rPr>
              <a:t>These pillars support common use cases for connected car.</a:t>
            </a:r>
          </a:p>
        </p:txBody>
      </p:sp>
      <p:sp>
        <p:nvSpPr>
          <p:cNvPr id="100" name="TextBox 99"/>
          <p:cNvSpPr txBox="1"/>
          <p:nvPr/>
        </p:nvSpPr>
        <p:spPr>
          <a:xfrm>
            <a:off x="348925" y="4041638"/>
            <a:ext cx="2813962" cy="2359162"/>
          </a:xfrm>
          <a:prstGeom prst="rect">
            <a:avLst/>
          </a:prstGeom>
          <a:noFill/>
        </p:spPr>
        <p:txBody>
          <a:bodyPr wrap="square" rIns="91440" rtlCol="0" anchor="ctr">
            <a:noAutofit/>
          </a:bodyPr>
          <a:lstStyle/>
          <a:p>
            <a:pPr>
              <a:lnSpc>
                <a:spcPct val="90000"/>
              </a:lnSpc>
              <a:defRPr/>
            </a:pPr>
            <a:r>
              <a:rPr lang="en-US" sz="1600" b="1" kern="0">
                <a:solidFill>
                  <a:srgbClr val="002050"/>
                </a:solidFill>
                <a:ea typeface="Calibri" charset="0"/>
                <a:cs typeface="Calibri" charset="0"/>
              </a:rPr>
              <a:t>COMMON SERVICES</a:t>
            </a:r>
            <a:endParaRPr lang="en-US" sz="1400" b="1" kern="0">
              <a:solidFill>
                <a:srgbClr val="002050"/>
              </a:solidFill>
              <a:ea typeface="Calibri" charset="0"/>
              <a:cs typeface="Calibri" charset="0"/>
            </a:endParaRPr>
          </a:p>
          <a:p>
            <a:pPr>
              <a:lnSpc>
                <a:spcPct val="90000"/>
              </a:lnSpc>
              <a:defRPr/>
            </a:pPr>
            <a:endParaRPr lang="en-US" sz="1400" b="1" kern="0">
              <a:solidFill>
                <a:srgbClr val="505050"/>
              </a:solidFill>
              <a:ea typeface="Calibri" charset="0"/>
              <a:cs typeface="Calibri" charset="0"/>
            </a:endParaRPr>
          </a:p>
          <a:p>
            <a:pPr>
              <a:lnSpc>
                <a:spcPct val="90000"/>
              </a:lnSpc>
              <a:defRPr/>
            </a:pPr>
            <a:r>
              <a:rPr lang="en-US" sz="1400" kern="0">
                <a:solidFill>
                  <a:srgbClr val="505050"/>
                </a:solidFill>
                <a:ea typeface="Calibri" charset="0"/>
                <a:cs typeface="Calibri" charset="0"/>
              </a:rPr>
              <a:t>Azure PaaS Services + Microsoft Productivity Suite </a:t>
            </a:r>
          </a:p>
        </p:txBody>
      </p:sp>
      <p:cxnSp>
        <p:nvCxnSpPr>
          <p:cNvPr id="102" name="Straight Connector 101"/>
          <p:cNvCxnSpPr/>
          <p:nvPr/>
        </p:nvCxnSpPr>
        <p:spPr>
          <a:xfrm flipV="1">
            <a:off x="3162887" y="1162870"/>
            <a:ext cx="0" cy="5237930"/>
          </a:xfrm>
          <a:prstGeom prst="line">
            <a:avLst/>
          </a:prstGeom>
          <a:noFill/>
          <a:ln w="12700" cap="flat" cmpd="sng" algn="ctr">
            <a:solidFill>
              <a:schemeClr val="bg1">
                <a:lumMod val="85000"/>
              </a:schemeClr>
            </a:solidFill>
            <a:prstDash val="solid"/>
            <a:headEnd type="none"/>
            <a:tailEnd type="none"/>
          </a:ln>
          <a:effectLst/>
        </p:spPr>
      </p:cxnSp>
      <p:cxnSp>
        <p:nvCxnSpPr>
          <p:cNvPr id="84" name="Straight Connector 83"/>
          <p:cNvCxnSpPr/>
          <p:nvPr/>
        </p:nvCxnSpPr>
        <p:spPr>
          <a:xfrm flipV="1">
            <a:off x="274638" y="2622396"/>
            <a:ext cx="11637772" cy="18281"/>
          </a:xfrm>
          <a:prstGeom prst="line">
            <a:avLst/>
          </a:prstGeom>
          <a:noFill/>
          <a:ln w="12700" cap="flat" cmpd="sng" algn="ctr">
            <a:solidFill>
              <a:schemeClr val="bg1">
                <a:lumMod val="85000"/>
              </a:schemeClr>
            </a:solidFill>
            <a:prstDash val="solid"/>
            <a:headEnd type="none"/>
            <a:tailEnd type="none"/>
          </a:ln>
          <a:effectLst/>
        </p:spPr>
      </p:cxnSp>
      <p:cxnSp>
        <p:nvCxnSpPr>
          <p:cNvPr id="86" name="Straight Connector 85"/>
          <p:cNvCxnSpPr/>
          <p:nvPr/>
        </p:nvCxnSpPr>
        <p:spPr>
          <a:xfrm flipV="1">
            <a:off x="274638" y="4133784"/>
            <a:ext cx="11650661" cy="26194"/>
          </a:xfrm>
          <a:prstGeom prst="line">
            <a:avLst/>
          </a:prstGeom>
          <a:noFill/>
          <a:ln w="12700" cap="flat" cmpd="sng" algn="ctr">
            <a:solidFill>
              <a:schemeClr val="bg1">
                <a:lumMod val="85000"/>
              </a:schemeClr>
            </a:solidFill>
            <a:prstDash val="solid"/>
            <a:headEnd type="none"/>
            <a:tailEnd type="none"/>
          </a:ln>
          <a:effectLst/>
        </p:spPr>
      </p:cxnSp>
      <p:cxnSp>
        <p:nvCxnSpPr>
          <p:cNvPr id="26" name="Straight Connector 25"/>
          <p:cNvCxnSpPr/>
          <p:nvPr/>
        </p:nvCxnSpPr>
        <p:spPr>
          <a:xfrm flipV="1">
            <a:off x="274638" y="1144588"/>
            <a:ext cx="11637772" cy="18281"/>
          </a:xfrm>
          <a:prstGeom prst="line">
            <a:avLst/>
          </a:prstGeom>
          <a:noFill/>
          <a:ln w="12700" cap="flat" cmpd="sng" algn="ctr">
            <a:solidFill>
              <a:schemeClr val="bg1">
                <a:lumMod val="85000"/>
              </a:schemeClr>
            </a:solidFill>
            <a:prstDash val="solid"/>
            <a:headEnd type="none"/>
            <a:tailEnd type="none"/>
          </a:ln>
          <a:effectLst/>
        </p:spPr>
      </p:cxnSp>
      <p:sp>
        <p:nvSpPr>
          <p:cNvPr id="4" name="Title 3"/>
          <p:cNvSpPr>
            <a:spLocks noGrp="1"/>
          </p:cNvSpPr>
          <p:nvPr>
            <p:ph type="title"/>
          </p:nvPr>
        </p:nvSpPr>
        <p:spPr/>
        <p:txBody>
          <a:bodyPr/>
          <a:lstStyle/>
          <a:p>
            <a:pPr lvl="0"/>
            <a:r>
              <a:rPr lang="en-US"/>
              <a:t>Microsoft Connected Vehicle Platform</a:t>
            </a:r>
          </a:p>
        </p:txBody>
      </p:sp>
      <p:sp>
        <p:nvSpPr>
          <p:cNvPr id="91" name="Rectangle 90"/>
          <p:cNvSpPr>
            <a:spLocks/>
          </p:cNvSpPr>
          <p:nvPr/>
        </p:nvSpPr>
        <p:spPr bwMode="auto">
          <a:xfrm>
            <a:off x="9037874" y="1771510"/>
            <a:ext cx="2761488" cy="683784"/>
          </a:xfrm>
          <a:prstGeom prst="rect">
            <a:avLst/>
          </a:prstGeom>
          <a:solidFill>
            <a:schemeClr val="accent4"/>
          </a:solidFill>
          <a:ln w="12700" cap="flat" cmpd="sng" algn="ctr">
            <a:noFill/>
            <a:prstDash val="solid"/>
            <a:headEnd type="none" w="med" len="med"/>
            <a:tailEnd type="none" w="med" len="med"/>
          </a:ln>
          <a:effectLst/>
        </p:spPr>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00" kern="0">
                <a:solidFill>
                  <a:srgbClr val="FFFFFF"/>
                </a:solidFill>
                <a:latin typeface="Segoe UI "/>
                <a:ea typeface="Calibri" charset="0"/>
                <a:cs typeface="Segoe UI Semibold" panose="020B0702040204020203" pitchFamily="34" charset="0"/>
              </a:rPr>
              <a:t>OEM Specific Customization of Connected Vehicle Solution</a:t>
            </a:r>
          </a:p>
        </p:txBody>
      </p:sp>
      <p:sp>
        <p:nvSpPr>
          <p:cNvPr id="92" name="Rectangle 91"/>
          <p:cNvSpPr>
            <a:spLocks/>
          </p:cNvSpPr>
          <p:nvPr/>
        </p:nvSpPr>
        <p:spPr bwMode="auto">
          <a:xfrm>
            <a:off x="3307073" y="1771510"/>
            <a:ext cx="2761488" cy="683784"/>
          </a:xfrm>
          <a:prstGeom prst="rect">
            <a:avLst/>
          </a:prstGeom>
          <a:solidFill>
            <a:schemeClr val="accent1"/>
          </a:solidFill>
          <a:ln w="12700" cap="flat" cmpd="sng" algn="ctr">
            <a:noFill/>
            <a:prstDash val="solid"/>
            <a:headEnd type="none" w="med" len="med"/>
            <a:tailEnd type="none" w="med" len="med"/>
          </a:ln>
          <a:effectLst/>
        </p:spPr>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00" kern="0">
                <a:solidFill>
                  <a:srgbClr val="FFFFFF"/>
                </a:solidFill>
                <a:latin typeface="Segoe UI "/>
                <a:ea typeface="Calibri" charset="0"/>
                <a:cs typeface="Segoe UI Semibold" panose="020B0702040204020203" pitchFamily="34" charset="0"/>
              </a:rPr>
              <a:t>OEM Specific Customization of Connected Vehicle Solution</a:t>
            </a:r>
          </a:p>
        </p:txBody>
      </p:sp>
      <p:sp>
        <p:nvSpPr>
          <p:cNvPr id="27" name="Rectangle 26"/>
          <p:cNvSpPr>
            <a:spLocks/>
          </p:cNvSpPr>
          <p:nvPr/>
        </p:nvSpPr>
        <p:spPr bwMode="auto">
          <a:xfrm>
            <a:off x="3307073" y="1351604"/>
            <a:ext cx="2761488" cy="317049"/>
          </a:xfrm>
          <a:prstGeom prst="rect">
            <a:avLst/>
          </a:prstGeom>
          <a:solidFill>
            <a:schemeClr val="accent1"/>
          </a:solidFill>
          <a:ln w="12700" cap="flat" cmpd="sng" algn="ctr">
            <a:noFill/>
            <a:prstDash val="solid"/>
            <a:headEnd type="none" w="med" len="med"/>
            <a:tailEnd type="none" w="med" len="med"/>
          </a:ln>
          <a:effectLst/>
        </p:spPr>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00" kern="0">
                <a:solidFill>
                  <a:srgbClr val="FFFFFF"/>
                </a:solidFill>
                <a:latin typeface="Segoe UI "/>
                <a:ea typeface="Calibri" charset="0"/>
                <a:cs typeface="Segoe UI Semibold" panose="020B0702040204020203" pitchFamily="34" charset="0"/>
              </a:rPr>
              <a:t>Managed Services</a:t>
            </a:r>
          </a:p>
        </p:txBody>
      </p:sp>
      <p:sp>
        <p:nvSpPr>
          <p:cNvPr id="28" name="Rectangle 27"/>
          <p:cNvSpPr>
            <a:spLocks/>
          </p:cNvSpPr>
          <p:nvPr/>
        </p:nvSpPr>
        <p:spPr bwMode="auto">
          <a:xfrm>
            <a:off x="6172473" y="1345969"/>
            <a:ext cx="2761488" cy="317049"/>
          </a:xfrm>
          <a:prstGeom prst="rect">
            <a:avLst/>
          </a:prstGeom>
          <a:solidFill>
            <a:schemeClr val="accent2"/>
          </a:solidFill>
          <a:ln w="12700" cap="flat" cmpd="sng" algn="ctr">
            <a:noFill/>
            <a:prstDash val="solid"/>
            <a:headEnd type="none" w="med" len="med"/>
            <a:tailEnd type="none" w="med" len="med"/>
          </a:ln>
          <a:effectLst/>
        </p:spPr>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00" kern="0">
                <a:solidFill>
                  <a:srgbClr val="FFFFFF"/>
                </a:solidFill>
                <a:latin typeface="Segoe UI "/>
                <a:ea typeface="Calibri" charset="0"/>
                <a:cs typeface="Segoe UI Semibold" panose="020B0702040204020203" pitchFamily="34" charset="0"/>
              </a:rPr>
              <a:t>Managed Services</a:t>
            </a:r>
          </a:p>
        </p:txBody>
      </p:sp>
      <p:sp>
        <p:nvSpPr>
          <p:cNvPr id="29" name="Rectangle 28"/>
          <p:cNvSpPr>
            <a:spLocks/>
          </p:cNvSpPr>
          <p:nvPr/>
        </p:nvSpPr>
        <p:spPr bwMode="auto">
          <a:xfrm>
            <a:off x="9037874" y="1342849"/>
            <a:ext cx="2761488" cy="317049"/>
          </a:xfrm>
          <a:prstGeom prst="rect">
            <a:avLst/>
          </a:prstGeom>
          <a:solidFill>
            <a:schemeClr val="accent4"/>
          </a:solidFill>
          <a:ln w="12700" cap="flat" cmpd="sng" algn="ctr">
            <a:noFill/>
            <a:prstDash val="solid"/>
            <a:headEnd type="none" w="med" len="med"/>
            <a:tailEnd type="none" w="med" len="med"/>
          </a:ln>
          <a:effectLst/>
        </p:spPr>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00" kern="0">
                <a:solidFill>
                  <a:srgbClr val="FFFFFF"/>
                </a:solidFill>
                <a:latin typeface="Segoe UI "/>
                <a:ea typeface="Calibri" charset="0"/>
                <a:cs typeface="Segoe UI Semibold" panose="020B0702040204020203" pitchFamily="34" charset="0"/>
              </a:rPr>
              <a:t>Managed Services</a:t>
            </a:r>
          </a:p>
        </p:txBody>
      </p:sp>
      <p:sp>
        <p:nvSpPr>
          <p:cNvPr id="75" name="Rectangle 74"/>
          <p:cNvSpPr>
            <a:spLocks/>
          </p:cNvSpPr>
          <p:nvPr/>
        </p:nvSpPr>
        <p:spPr bwMode="auto">
          <a:xfrm>
            <a:off x="3391621" y="4478393"/>
            <a:ext cx="914400" cy="914400"/>
          </a:xfrm>
          <a:prstGeom prst="rect">
            <a:avLst/>
          </a:prstGeom>
          <a:solidFill>
            <a:schemeClr val="tx2"/>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400" kern="0">
                <a:solidFill>
                  <a:srgbClr val="FFFFFF"/>
                </a:solidFill>
                <a:ea typeface="Calibri" charset="0"/>
                <a:cs typeface="Calibri" charset="0"/>
              </a:rPr>
              <a:t>Azure IoT Suite</a:t>
            </a:r>
          </a:p>
        </p:txBody>
      </p:sp>
      <p:sp>
        <p:nvSpPr>
          <p:cNvPr id="77" name="Rectangle 76"/>
          <p:cNvSpPr>
            <a:spLocks/>
          </p:cNvSpPr>
          <p:nvPr/>
        </p:nvSpPr>
        <p:spPr bwMode="auto">
          <a:xfrm>
            <a:off x="10798820" y="4478393"/>
            <a:ext cx="914400" cy="914400"/>
          </a:xfrm>
          <a:prstGeom prst="rect">
            <a:avLst/>
          </a:prstGeom>
          <a:solidFill>
            <a:schemeClr val="tx2"/>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400" kern="0">
                <a:solidFill>
                  <a:srgbClr val="FFFFFF"/>
                </a:solidFill>
                <a:ea typeface="Calibri" charset="0"/>
                <a:cs typeface="Calibri" charset="0"/>
              </a:rPr>
              <a:t>Office 365</a:t>
            </a:r>
          </a:p>
        </p:txBody>
      </p:sp>
      <p:sp>
        <p:nvSpPr>
          <p:cNvPr id="78" name="Rectangle 77"/>
          <p:cNvSpPr>
            <a:spLocks/>
          </p:cNvSpPr>
          <p:nvPr/>
        </p:nvSpPr>
        <p:spPr bwMode="auto">
          <a:xfrm>
            <a:off x="4402820" y="4478393"/>
            <a:ext cx="1013041" cy="914400"/>
          </a:xfrm>
          <a:prstGeom prst="rect">
            <a:avLst/>
          </a:prstGeom>
          <a:solidFill>
            <a:schemeClr val="tx2"/>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400" kern="0">
                <a:solidFill>
                  <a:srgbClr val="FFFFFF"/>
                </a:solidFill>
                <a:ea typeface="Calibri" charset="0"/>
                <a:cs typeface="Calibri" charset="0"/>
              </a:rPr>
              <a:t>Machine Learning </a:t>
            </a:r>
          </a:p>
          <a:p>
            <a:pPr algn="ctr" defTabSz="914102" fontAlgn="base">
              <a:lnSpc>
                <a:spcPct val="90000"/>
              </a:lnSpc>
              <a:spcBef>
                <a:spcPct val="0"/>
              </a:spcBef>
              <a:spcAft>
                <a:spcPct val="0"/>
              </a:spcAft>
              <a:defRPr/>
            </a:pPr>
            <a:r>
              <a:rPr lang="en-US" sz="1400" kern="0">
                <a:solidFill>
                  <a:srgbClr val="FFFFFF"/>
                </a:solidFill>
                <a:ea typeface="Calibri" charset="0"/>
                <a:cs typeface="Calibri" charset="0"/>
              </a:rPr>
              <a:t>&amp; Analytics</a:t>
            </a:r>
          </a:p>
        </p:txBody>
      </p:sp>
      <p:sp>
        <p:nvSpPr>
          <p:cNvPr id="79" name="Rectangle 78"/>
          <p:cNvSpPr>
            <a:spLocks/>
          </p:cNvSpPr>
          <p:nvPr/>
        </p:nvSpPr>
        <p:spPr bwMode="auto">
          <a:xfrm>
            <a:off x="5512660" y="4478393"/>
            <a:ext cx="1029481" cy="914400"/>
          </a:xfrm>
          <a:prstGeom prst="rect">
            <a:avLst/>
          </a:prstGeom>
          <a:solidFill>
            <a:schemeClr val="tx2"/>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400" kern="0">
                <a:solidFill>
                  <a:srgbClr val="FFFFFF"/>
                </a:solidFill>
                <a:ea typeface="Calibri" charset="0"/>
                <a:cs typeface="Calibri" charset="0"/>
              </a:rPr>
              <a:t>Artificial Intelligence</a:t>
            </a:r>
          </a:p>
        </p:txBody>
      </p:sp>
      <p:sp>
        <p:nvSpPr>
          <p:cNvPr id="80" name="Rectangle 79"/>
          <p:cNvSpPr>
            <a:spLocks/>
          </p:cNvSpPr>
          <p:nvPr/>
        </p:nvSpPr>
        <p:spPr bwMode="auto">
          <a:xfrm>
            <a:off x="6638940" y="4478393"/>
            <a:ext cx="1029481" cy="914400"/>
          </a:xfrm>
          <a:prstGeom prst="rect">
            <a:avLst/>
          </a:prstGeom>
          <a:solidFill>
            <a:schemeClr val="tx2"/>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400" kern="0">
                <a:solidFill>
                  <a:srgbClr val="FFFFFF"/>
                </a:solidFill>
                <a:ea typeface="Calibri" charset="0"/>
                <a:cs typeface="Calibri" charset="0"/>
              </a:rPr>
              <a:t>Mapping &amp; </a:t>
            </a:r>
            <a:br>
              <a:rPr lang="en-US" sz="1400" kern="0">
                <a:solidFill>
                  <a:srgbClr val="FFFFFF"/>
                </a:solidFill>
                <a:ea typeface="Calibri" charset="0"/>
                <a:cs typeface="Calibri" charset="0"/>
              </a:rPr>
            </a:br>
            <a:r>
              <a:rPr lang="en-US" sz="1400" kern="0">
                <a:solidFill>
                  <a:srgbClr val="FFFFFF"/>
                </a:solidFill>
                <a:ea typeface="Calibri" charset="0"/>
                <a:cs typeface="Calibri" charset="0"/>
              </a:rPr>
              <a:t>Location</a:t>
            </a:r>
          </a:p>
        </p:txBody>
      </p:sp>
      <p:sp>
        <p:nvSpPr>
          <p:cNvPr id="81" name="Rectangle 80"/>
          <p:cNvSpPr>
            <a:spLocks/>
          </p:cNvSpPr>
          <p:nvPr/>
        </p:nvSpPr>
        <p:spPr bwMode="auto">
          <a:xfrm>
            <a:off x="8776419" y="4478393"/>
            <a:ext cx="914400" cy="914400"/>
          </a:xfrm>
          <a:prstGeom prst="rect">
            <a:avLst/>
          </a:prstGeom>
          <a:solidFill>
            <a:schemeClr val="tx2"/>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400" kern="0">
                <a:solidFill>
                  <a:srgbClr val="FFFFFF"/>
                </a:solidFill>
                <a:ea typeface="Calibri" charset="0"/>
                <a:cs typeface="Calibri" charset="0"/>
              </a:rPr>
              <a:t>Skype</a:t>
            </a:r>
          </a:p>
        </p:txBody>
      </p:sp>
      <p:sp>
        <p:nvSpPr>
          <p:cNvPr id="82" name="Rectangle 81"/>
          <p:cNvSpPr>
            <a:spLocks/>
          </p:cNvSpPr>
          <p:nvPr/>
        </p:nvSpPr>
        <p:spPr bwMode="auto">
          <a:xfrm>
            <a:off x="9787618" y="4478393"/>
            <a:ext cx="914400" cy="914400"/>
          </a:xfrm>
          <a:prstGeom prst="rect">
            <a:avLst/>
          </a:prstGeom>
          <a:solidFill>
            <a:schemeClr val="tx2"/>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400" kern="0">
                <a:solidFill>
                  <a:srgbClr val="FFFFFF"/>
                </a:solidFill>
                <a:ea typeface="Calibri" charset="0"/>
                <a:cs typeface="Calibri" charset="0"/>
              </a:rPr>
              <a:t>Cortana personal assistant</a:t>
            </a:r>
          </a:p>
        </p:txBody>
      </p:sp>
      <p:sp>
        <p:nvSpPr>
          <p:cNvPr id="30" name="Rectangle 29"/>
          <p:cNvSpPr>
            <a:spLocks/>
          </p:cNvSpPr>
          <p:nvPr/>
        </p:nvSpPr>
        <p:spPr bwMode="auto">
          <a:xfrm>
            <a:off x="7765220" y="4478393"/>
            <a:ext cx="914400" cy="914400"/>
          </a:xfrm>
          <a:prstGeom prst="rect">
            <a:avLst/>
          </a:prstGeom>
          <a:solidFill>
            <a:schemeClr val="tx2"/>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400" kern="0">
                <a:solidFill>
                  <a:srgbClr val="FFFFFF"/>
                </a:solidFill>
                <a:ea typeface="Calibri" charset="0"/>
                <a:cs typeface="Calibri" charset="0"/>
              </a:rPr>
              <a:t>Microsoft Graph</a:t>
            </a:r>
          </a:p>
        </p:txBody>
      </p:sp>
      <p:sp>
        <p:nvSpPr>
          <p:cNvPr id="88" name="Rectangle 87"/>
          <p:cNvSpPr>
            <a:spLocks/>
          </p:cNvSpPr>
          <p:nvPr/>
        </p:nvSpPr>
        <p:spPr bwMode="auto">
          <a:xfrm>
            <a:off x="3307073" y="3097929"/>
            <a:ext cx="1612885" cy="902909"/>
          </a:xfrm>
          <a:prstGeom prst="rect">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89642" tIns="365760"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400" kern="0" dirty="0">
                <a:solidFill>
                  <a:srgbClr val="505050"/>
                </a:solidFill>
                <a:ea typeface="Calibri" charset="0"/>
                <a:cs typeface="Calibri" charset="0"/>
              </a:rPr>
              <a:t>Telematics and Predictive Services</a:t>
            </a:r>
          </a:p>
        </p:txBody>
      </p:sp>
      <p:sp>
        <p:nvSpPr>
          <p:cNvPr id="83" name="Rectangle 82"/>
          <p:cNvSpPr>
            <a:spLocks/>
          </p:cNvSpPr>
          <p:nvPr/>
        </p:nvSpPr>
        <p:spPr bwMode="auto">
          <a:xfrm>
            <a:off x="6845511" y="3095987"/>
            <a:ext cx="1684593" cy="904851"/>
          </a:xfrm>
          <a:prstGeom prst="rect">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89642" tIns="365760"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400" kern="0" dirty="0">
                <a:solidFill>
                  <a:srgbClr val="505050"/>
                </a:solidFill>
                <a:ea typeface="Calibri" charset="0"/>
                <a:cs typeface="Calibri" charset="0"/>
              </a:rPr>
              <a:t>Connected Advanced Driver Assistance Systems</a:t>
            </a:r>
          </a:p>
        </p:txBody>
      </p:sp>
      <p:sp>
        <p:nvSpPr>
          <p:cNvPr id="89" name="Rectangle 88"/>
          <p:cNvSpPr>
            <a:spLocks/>
          </p:cNvSpPr>
          <p:nvPr/>
        </p:nvSpPr>
        <p:spPr bwMode="auto">
          <a:xfrm>
            <a:off x="5019584" y="3097030"/>
            <a:ext cx="1726301" cy="903808"/>
          </a:xfrm>
          <a:prstGeom prst="rect">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89642" tIns="365760"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400" kern="0" dirty="0">
                <a:solidFill>
                  <a:srgbClr val="505050"/>
                </a:solidFill>
                <a:ea typeface="Calibri" charset="0"/>
                <a:cs typeface="Calibri" charset="0"/>
              </a:rPr>
              <a:t>Productivity and Digital Life</a:t>
            </a:r>
          </a:p>
        </p:txBody>
      </p:sp>
      <p:sp>
        <p:nvSpPr>
          <p:cNvPr id="90" name="Rectangle 89"/>
          <p:cNvSpPr>
            <a:spLocks/>
          </p:cNvSpPr>
          <p:nvPr/>
        </p:nvSpPr>
        <p:spPr bwMode="auto">
          <a:xfrm>
            <a:off x="8629730" y="3085294"/>
            <a:ext cx="1509138" cy="915544"/>
          </a:xfrm>
          <a:prstGeom prst="rect">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89642" tIns="365760"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400" kern="0" dirty="0">
                <a:solidFill>
                  <a:srgbClr val="505050"/>
                </a:solidFill>
                <a:ea typeface="Calibri" charset="0"/>
                <a:cs typeface="Calibri" charset="0"/>
              </a:rPr>
              <a:t>Advanced Navigation</a:t>
            </a:r>
          </a:p>
        </p:txBody>
      </p:sp>
      <p:sp>
        <p:nvSpPr>
          <p:cNvPr id="76" name="Rectangle 75"/>
          <p:cNvSpPr>
            <a:spLocks/>
          </p:cNvSpPr>
          <p:nvPr/>
        </p:nvSpPr>
        <p:spPr bwMode="auto">
          <a:xfrm>
            <a:off x="10238493" y="3097932"/>
            <a:ext cx="1560869" cy="902906"/>
          </a:xfrm>
          <a:prstGeom prst="rect">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89642" tIns="365760"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400" kern="0" dirty="0">
                <a:solidFill>
                  <a:srgbClr val="505050"/>
                </a:solidFill>
                <a:ea typeface="Calibri" charset="0"/>
                <a:cs typeface="Calibri" charset="0"/>
              </a:rPr>
              <a:t>Customer Insights and Engagement</a:t>
            </a:r>
          </a:p>
        </p:txBody>
      </p:sp>
      <p:grpSp>
        <p:nvGrpSpPr>
          <p:cNvPr id="113" name="Group 112"/>
          <p:cNvGrpSpPr/>
          <p:nvPr/>
        </p:nvGrpSpPr>
        <p:grpSpPr>
          <a:xfrm>
            <a:off x="4119865" y="1771510"/>
            <a:ext cx="6905412" cy="1037398"/>
            <a:chOff x="4119865" y="1771510"/>
            <a:chExt cx="6905412" cy="1037398"/>
          </a:xfrm>
          <a:solidFill>
            <a:schemeClr val="accent2"/>
          </a:solidFill>
        </p:grpSpPr>
        <p:sp>
          <p:nvSpPr>
            <p:cNvPr id="93" name="Rectangle 92"/>
            <p:cNvSpPr>
              <a:spLocks/>
            </p:cNvSpPr>
            <p:nvPr/>
          </p:nvSpPr>
          <p:spPr bwMode="auto">
            <a:xfrm>
              <a:off x="6172474" y="1771510"/>
              <a:ext cx="2761488" cy="683784"/>
            </a:xfrm>
            <a:prstGeom prst="rect">
              <a:avLst/>
            </a:pr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00" kern="0">
                  <a:solidFill>
                    <a:srgbClr val="FFFFFF"/>
                  </a:solidFill>
                  <a:latin typeface="Segoe UI "/>
                  <a:ea typeface="Calibri" charset="0"/>
                  <a:cs typeface="Segoe UI Semibold" panose="020B0702040204020203" pitchFamily="34" charset="0"/>
                </a:rPr>
                <a:t>OEM Specific Customization of Connected Vehicle Solution</a:t>
              </a:r>
            </a:p>
          </p:txBody>
        </p:sp>
        <p:grpSp>
          <p:nvGrpSpPr>
            <p:cNvPr id="96" name="Group 95"/>
            <p:cNvGrpSpPr/>
            <p:nvPr/>
          </p:nvGrpSpPr>
          <p:grpSpPr>
            <a:xfrm>
              <a:off x="4119865" y="2455294"/>
              <a:ext cx="6905412" cy="353614"/>
              <a:chOff x="4119865" y="2455294"/>
              <a:chExt cx="6905412" cy="353614"/>
            </a:xfrm>
            <a:grpFill/>
          </p:grpSpPr>
          <p:cxnSp>
            <p:nvCxnSpPr>
              <p:cNvPr id="72" name="Connector: Elbow 71"/>
              <p:cNvCxnSpPr>
                <a:stCxn id="41" idx="0"/>
                <a:endCxn id="42" idx="0"/>
              </p:cNvCxnSpPr>
              <p:nvPr/>
            </p:nvCxnSpPr>
            <p:spPr bwMode="auto">
              <a:xfrm rot="16200000" flipV="1">
                <a:off x="7566221" y="-650148"/>
                <a:ext cx="12700" cy="6905412"/>
              </a:xfrm>
              <a:prstGeom prst="bentConnector3">
                <a:avLst>
                  <a:gd name="adj1" fmla="val 1800000"/>
                </a:avLst>
              </a:prstGeom>
              <a:grpFill/>
              <a:ln w="9525" cap="flat" cmpd="sng" algn="ctr">
                <a:solidFill>
                  <a:schemeClr val="tx2"/>
                </a:solidFill>
                <a:prstDash val="solid"/>
                <a:round/>
                <a:headEnd type="none" w="med" len="med"/>
                <a:tailEnd type="none" w="med" len="med"/>
              </a:ln>
              <a:effectLst/>
            </p:spPr>
          </p:cxnSp>
          <p:cxnSp>
            <p:nvCxnSpPr>
              <p:cNvPr id="94" name="Straight Connector 93"/>
              <p:cNvCxnSpPr/>
              <p:nvPr/>
            </p:nvCxnSpPr>
            <p:spPr bwMode="auto">
              <a:xfrm flipV="1">
                <a:off x="7682692" y="2455294"/>
                <a:ext cx="0" cy="341166"/>
              </a:xfrm>
              <a:prstGeom prst="line">
                <a:avLst/>
              </a:prstGeom>
              <a:grpFill/>
              <a:ln w="9525" cap="flat" cmpd="sng" algn="ctr">
                <a:solidFill>
                  <a:schemeClr val="tx2"/>
                </a:solidFill>
                <a:prstDash val="solid"/>
                <a:round/>
                <a:headEnd type="none" w="med" len="med"/>
                <a:tailEnd type="none" w="med" len="med"/>
              </a:ln>
              <a:effectLst/>
            </p:spPr>
          </p:cxnSp>
          <p:cxnSp>
            <p:nvCxnSpPr>
              <p:cNvPr id="101" name="Straight Connector 100"/>
              <p:cNvCxnSpPr/>
              <p:nvPr/>
            </p:nvCxnSpPr>
            <p:spPr bwMode="auto">
              <a:xfrm flipV="1">
                <a:off x="9380705" y="2704617"/>
                <a:ext cx="0" cy="91440"/>
              </a:xfrm>
              <a:prstGeom prst="line">
                <a:avLst/>
              </a:prstGeom>
              <a:grpFill/>
              <a:ln w="9525" cap="flat" cmpd="sng" algn="ctr">
                <a:solidFill>
                  <a:schemeClr val="tx2"/>
                </a:solidFill>
                <a:prstDash val="solid"/>
                <a:round/>
                <a:headEnd type="none" w="med" len="med"/>
                <a:tailEnd type="none" w="med" len="med"/>
              </a:ln>
              <a:effectLst/>
            </p:spPr>
          </p:cxnSp>
          <p:cxnSp>
            <p:nvCxnSpPr>
              <p:cNvPr id="103" name="Straight Connector 102"/>
              <p:cNvCxnSpPr/>
              <p:nvPr/>
            </p:nvCxnSpPr>
            <p:spPr bwMode="auto">
              <a:xfrm flipV="1">
                <a:off x="5882785" y="2704617"/>
                <a:ext cx="0" cy="91440"/>
              </a:xfrm>
              <a:prstGeom prst="line">
                <a:avLst/>
              </a:prstGeom>
              <a:grpFill/>
              <a:ln w="9525" cap="flat" cmpd="sng" algn="ctr">
                <a:solidFill>
                  <a:schemeClr val="tx2"/>
                </a:solidFill>
                <a:prstDash val="solid"/>
                <a:round/>
                <a:headEnd type="none" w="med" len="med"/>
                <a:tailEnd type="none" w="med" len="med"/>
              </a:ln>
              <a:effectLst/>
            </p:spPr>
          </p:cxnSp>
        </p:grpSp>
      </p:grpSp>
      <p:sp>
        <p:nvSpPr>
          <p:cNvPr id="42" name="Oval 41"/>
          <p:cNvSpPr>
            <a:spLocks/>
          </p:cNvSpPr>
          <p:nvPr/>
        </p:nvSpPr>
        <p:spPr bwMode="auto">
          <a:xfrm>
            <a:off x="3839195" y="2802558"/>
            <a:ext cx="548640" cy="548640"/>
          </a:xfrm>
          <a:prstGeom prst="ellipse">
            <a:avLst/>
          </a:prstGeom>
          <a:solidFill>
            <a:schemeClr val="bg1"/>
          </a:solid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000" kern="0">
              <a:solidFill>
                <a:srgbClr val="0072C6"/>
              </a:solidFill>
              <a:ea typeface="Calibri" charset="0"/>
              <a:cs typeface="Calibri" charset="0"/>
            </a:endParaRPr>
          </a:p>
        </p:txBody>
      </p:sp>
      <p:sp>
        <p:nvSpPr>
          <p:cNvPr id="45" name="Oval 44"/>
          <p:cNvSpPr>
            <a:spLocks/>
          </p:cNvSpPr>
          <p:nvPr/>
        </p:nvSpPr>
        <p:spPr bwMode="auto">
          <a:xfrm>
            <a:off x="7413487" y="2801620"/>
            <a:ext cx="548640" cy="548640"/>
          </a:xfrm>
          <a:prstGeom prst="ellipse">
            <a:avLst/>
          </a:prstGeom>
          <a:solidFill>
            <a:schemeClr val="bg1"/>
          </a:solid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000" kern="0">
              <a:solidFill>
                <a:srgbClr val="0072C6"/>
              </a:solidFill>
              <a:ea typeface="Calibri" charset="0"/>
              <a:cs typeface="Calibri" charset="0"/>
            </a:endParaRPr>
          </a:p>
        </p:txBody>
      </p:sp>
      <p:sp>
        <p:nvSpPr>
          <p:cNvPr id="58" name="Freeform 9"/>
          <p:cNvSpPr>
            <a:spLocks noEditPoints="1"/>
          </p:cNvSpPr>
          <p:nvPr/>
        </p:nvSpPr>
        <p:spPr bwMode="auto">
          <a:xfrm>
            <a:off x="7518671" y="2906851"/>
            <a:ext cx="338273" cy="338179"/>
          </a:xfrm>
          <a:custGeom>
            <a:avLst/>
            <a:gdLst>
              <a:gd name="T0" fmla="*/ 1888 w 3626"/>
              <a:gd name="T1" fmla="*/ 22 h 3625"/>
              <a:gd name="T2" fmla="*/ 1826 w 3626"/>
              <a:gd name="T3" fmla="*/ 0 h 3625"/>
              <a:gd name="T4" fmla="*/ 1762 w 3626"/>
              <a:gd name="T5" fmla="*/ 8 h 3625"/>
              <a:gd name="T6" fmla="*/ 40 w 3626"/>
              <a:gd name="T7" fmla="*/ 1716 h 3625"/>
              <a:gd name="T8" fmla="*/ 10 w 3626"/>
              <a:gd name="T9" fmla="*/ 1762 h 3625"/>
              <a:gd name="T10" fmla="*/ 0 w 3626"/>
              <a:gd name="T11" fmla="*/ 1825 h 3625"/>
              <a:gd name="T12" fmla="*/ 22 w 3626"/>
              <a:gd name="T13" fmla="*/ 1887 h 3625"/>
              <a:gd name="T14" fmla="*/ 1728 w 3626"/>
              <a:gd name="T15" fmla="*/ 3595 h 3625"/>
              <a:gd name="T16" fmla="*/ 1788 w 3626"/>
              <a:gd name="T17" fmla="*/ 3623 h 3625"/>
              <a:gd name="T18" fmla="*/ 1852 w 3626"/>
              <a:gd name="T19" fmla="*/ 3621 h 3625"/>
              <a:gd name="T20" fmla="*/ 1908 w 3626"/>
              <a:gd name="T21" fmla="*/ 3587 h 3625"/>
              <a:gd name="T22" fmla="*/ 3610 w 3626"/>
              <a:gd name="T23" fmla="*/ 1875 h 3625"/>
              <a:gd name="T24" fmla="*/ 3626 w 3626"/>
              <a:gd name="T25" fmla="*/ 1813 h 3625"/>
              <a:gd name="T26" fmla="*/ 3610 w 3626"/>
              <a:gd name="T27" fmla="*/ 1750 h 3625"/>
              <a:gd name="T28" fmla="*/ 2398 w 3626"/>
              <a:gd name="T29" fmla="*/ 1252 h 3625"/>
              <a:gd name="T30" fmla="*/ 2110 w 3626"/>
              <a:gd name="T31" fmla="*/ 1250 h 3625"/>
              <a:gd name="T32" fmla="*/ 2082 w 3626"/>
              <a:gd name="T33" fmla="*/ 1388 h 3625"/>
              <a:gd name="T34" fmla="*/ 2030 w 3626"/>
              <a:gd name="T35" fmla="*/ 1494 h 3625"/>
              <a:gd name="T36" fmla="*/ 1880 w 3626"/>
              <a:gd name="T37" fmla="*/ 1638 h 3625"/>
              <a:gd name="T38" fmla="*/ 1728 w 3626"/>
              <a:gd name="T39" fmla="*/ 1716 h 3625"/>
              <a:gd name="T40" fmla="*/ 1610 w 3626"/>
              <a:gd name="T41" fmla="*/ 1786 h 3625"/>
              <a:gd name="T42" fmla="*/ 1604 w 3626"/>
              <a:gd name="T43" fmla="*/ 1849 h 3625"/>
              <a:gd name="T44" fmla="*/ 1630 w 3626"/>
              <a:gd name="T45" fmla="*/ 1891 h 3625"/>
              <a:gd name="T46" fmla="*/ 1816 w 3626"/>
              <a:gd name="T47" fmla="*/ 1953 h 3625"/>
              <a:gd name="T48" fmla="*/ 2058 w 3626"/>
              <a:gd name="T49" fmla="*/ 2035 h 3625"/>
              <a:gd name="T50" fmla="*/ 2214 w 3626"/>
              <a:gd name="T51" fmla="*/ 2145 h 3625"/>
              <a:gd name="T52" fmla="*/ 2286 w 3626"/>
              <a:gd name="T53" fmla="*/ 2249 h 3625"/>
              <a:gd name="T54" fmla="*/ 2324 w 3626"/>
              <a:gd name="T55" fmla="*/ 2389 h 3625"/>
              <a:gd name="T56" fmla="*/ 2322 w 3626"/>
              <a:gd name="T57" fmla="*/ 2559 h 3625"/>
              <a:gd name="T58" fmla="*/ 2254 w 3626"/>
              <a:gd name="T59" fmla="*/ 2751 h 3625"/>
              <a:gd name="T60" fmla="*/ 2150 w 3626"/>
              <a:gd name="T61" fmla="*/ 2865 h 3625"/>
              <a:gd name="T62" fmla="*/ 2022 w 3626"/>
              <a:gd name="T63" fmla="*/ 2951 h 3625"/>
              <a:gd name="T64" fmla="*/ 1984 w 3626"/>
              <a:gd name="T65" fmla="*/ 3007 h 3625"/>
              <a:gd name="T66" fmla="*/ 1972 w 3626"/>
              <a:gd name="T67" fmla="*/ 3185 h 3625"/>
              <a:gd name="T68" fmla="*/ 1566 w 3626"/>
              <a:gd name="T69" fmla="*/ 2999 h 3625"/>
              <a:gd name="T70" fmla="*/ 1642 w 3626"/>
              <a:gd name="T71" fmla="*/ 2765 h 3625"/>
              <a:gd name="T72" fmla="*/ 1766 w 3626"/>
              <a:gd name="T73" fmla="*/ 2625 h 3625"/>
              <a:gd name="T74" fmla="*/ 1888 w 3626"/>
              <a:gd name="T75" fmla="*/ 2543 h 3625"/>
              <a:gd name="T76" fmla="*/ 1914 w 3626"/>
              <a:gd name="T77" fmla="*/ 2455 h 3625"/>
              <a:gd name="T78" fmla="*/ 1904 w 3626"/>
              <a:gd name="T79" fmla="*/ 2423 h 3625"/>
              <a:gd name="T80" fmla="*/ 1714 w 3626"/>
              <a:gd name="T81" fmla="*/ 2355 h 3625"/>
              <a:gd name="T82" fmla="*/ 1510 w 3626"/>
              <a:gd name="T83" fmla="*/ 2293 h 3625"/>
              <a:gd name="T84" fmla="*/ 1342 w 3626"/>
              <a:gd name="T85" fmla="*/ 2193 h 3625"/>
              <a:gd name="T86" fmla="*/ 1258 w 3626"/>
              <a:gd name="T87" fmla="*/ 2095 h 3625"/>
              <a:gd name="T88" fmla="*/ 1204 w 3626"/>
              <a:gd name="T89" fmla="*/ 1965 h 3625"/>
              <a:gd name="T90" fmla="*/ 1188 w 3626"/>
              <a:gd name="T91" fmla="*/ 1833 h 3625"/>
              <a:gd name="T92" fmla="*/ 1204 w 3626"/>
              <a:gd name="T93" fmla="*/ 1692 h 3625"/>
              <a:gd name="T94" fmla="*/ 1248 w 3626"/>
              <a:gd name="T95" fmla="*/ 1582 h 3625"/>
              <a:gd name="T96" fmla="*/ 1386 w 3626"/>
              <a:gd name="T97" fmla="*/ 1432 h 3625"/>
              <a:gd name="T98" fmla="*/ 1560 w 3626"/>
              <a:gd name="T99" fmla="*/ 1336 h 3625"/>
              <a:gd name="T100" fmla="*/ 1668 w 3626"/>
              <a:gd name="T101" fmla="*/ 1282 h 3625"/>
              <a:gd name="T102" fmla="*/ 1696 w 3626"/>
              <a:gd name="T103" fmla="*/ 1238 h 3625"/>
              <a:gd name="T104" fmla="*/ 1380 w 3626"/>
              <a:gd name="T105" fmla="*/ 1252 h 3625"/>
              <a:gd name="T106" fmla="*/ 1336 w 3626"/>
              <a:gd name="T107" fmla="*/ 1218 h 3625"/>
              <a:gd name="T108" fmla="*/ 1874 w 3626"/>
              <a:gd name="T109" fmla="*/ 348 h 3625"/>
              <a:gd name="T110" fmla="*/ 1904 w 3626"/>
              <a:gd name="T111" fmla="*/ 328 h 3625"/>
              <a:gd name="T112" fmla="*/ 2442 w 3626"/>
              <a:gd name="T113" fmla="*/ 1206 h 3625"/>
              <a:gd name="T114" fmla="*/ 2412 w 3626"/>
              <a:gd name="T115" fmla="*/ 1250 h 3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26" h="3625">
                <a:moveTo>
                  <a:pt x="3586" y="1716"/>
                </a:moveTo>
                <a:lnTo>
                  <a:pt x="1908" y="38"/>
                </a:lnTo>
                <a:lnTo>
                  <a:pt x="1908" y="38"/>
                </a:lnTo>
                <a:lnTo>
                  <a:pt x="1898" y="30"/>
                </a:lnTo>
                <a:lnTo>
                  <a:pt x="1888" y="22"/>
                </a:lnTo>
                <a:lnTo>
                  <a:pt x="1876" y="14"/>
                </a:lnTo>
                <a:lnTo>
                  <a:pt x="1864" y="8"/>
                </a:lnTo>
                <a:lnTo>
                  <a:pt x="1852" y="4"/>
                </a:lnTo>
                <a:lnTo>
                  <a:pt x="1838" y="2"/>
                </a:lnTo>
                <a:lnTo>
                  <a:pt x="1826" y="0"/>
                </a:lnTo>
                <a:lnTo>
                  <a:pt x="1814" y="0"/>
                </a:lnTo>
                <a:lnTo>
                  <a:pt x="1800" y="0"/>
                </a:lnTo>
                <a:lnTo>
                  <a:pt x="1788" y="2"/>
                </a:lnTo>
                <a:lnTo>
                  <a:pt x="1774" y="4"/>
                </a:lnTo>
                <a:lnTo>
                  <a:pt x="1762" y="8"/>
                </a:lnTo>
                <a:lnTo>
                  <a:pt x="1750" y="14"/>
                </a:lnTo>
                <a:lnTo>
                  <a:pt x="1740" y="22"/>
                </a:lnTo>
                <a:lnTo>
                  <a:pt x="1728" y="30"/>
                </a:lnTo>
                <a:lnTo>
                  <a:pt x="1718" y="38"/>
                </a:lnTo>
                <a:lnTo>
                  <a:pt x="40" y="1716"/>
                </a:lnTo>
                <a:lnTo>
                  <a:pt x="40" y="1716"/>
                </a:lnTo>
                <a:lnTo>
                  <a:pt x="30" y="1726"/>
                </a:lnTo>
                <a:lnTo>
                  <a:pt x="22" y="1738"/>
                </a:lnTo>
                <a:lnTo>
                  <a:pt x="16" y="1750"/>
                </a:lnTo>
                <a:lnTo>
                  <a:pt x="10" y="1762"/>
                </a:lnTo>
                <a:lnTo>
                  <a:pt x="6" y="1774"/>
                </a:lnTo>
                <a:lnTo>
                  <a:pt x="2" y="1786"/>
                </a:lnTo>
                <a:lnTo>
                  <a:pt x="0" y="1800"/>
                </a:lnTo>
                <a:lnTo>
                  <a:pt x="0" y="1813"/>
                </a:lnTo>
                <a:lnTo>
                  <a:pt x="0" y="1825"/>
                </a:lnTo>
                <a:lnTo>
                  <a:pt x="2" y="1839"/>
                </a:lnTo>
                <a:lnTo>
                  <a:pt x="6" y="1851"/>
                </a:lnTo>
                <a:lnTo>
                  <a:pt x="10" y="1863"/>
                </a:lnTo>
                <a:lnTo>
                  <a:pt x="16" y="1875"/>
                </a:lnTo>
                <a:lnTo>
                  <a:pt x="22" y="1887"/>
                </a:lnTo>
                <a:lnTo>
                  <a:pt x="30" y="1899"/>
                </a:lnTo>
                <a:lnTo>
                  <a:pt x="40" y="1909"/>
                </a:lnTo>
                <a:lnTo>
                  <a:pt x="1718" y="3587"/>
                </a:lnTo>
                <a:lnTo>
                  <a:pt x="1718" y="3587"/>
                </a:lnTo>
                <a:lnTo>
                  <a:pt x="1728" y="3595"/>
                </a:lnTo>
                <a:lnTo>
                  <a:pt x="1740" y="3603"/>
                </a:lnTo>
                <a:lnTo>
                  <a:pt x="1750" y="3611"/>
                </a:lnTo>
                <a:lnTo>
                  <a:pt x="1762" y="3617"/>
                </a:lnTo>
                <a:lnTo>
                  <a:pt x="1774" y="3621"/>
                </a:lnTo>
                <a:lnTo>
                  <a:pt x="1788" y="3623"/>
                </a:lnTo>
                <a:lnTo>
                  <a:pt x="1800" y="3625"/>
                </a:lnTo>
                <a:lnTo>
                  <a:pt x="1814" y="3625"/>
                </a:lnTo>
                <a:lnTo>
                  <a:pt x="1826" y="3625"/>
                </a:lnTo>
                <a:lnTo>
                  <a:pt x="1838" y="3623"/>
                </a:lnTo>
                <a:lnTo>
                  <a:pt x="1852" y="3621"/>
                </a:lnTo>
                <a:lnTo>
                  <a:pt x="1864" y="3617"/>
                </a:lnTo>
                <a:lnTo>
                  <a:pt x="1876" y="3611"/>
                </a:lnTo>
                <a:lnTo>
                  <a:pt x="1888" y="3603"/>
                </a:lnTo>
                <a:lnTo>
                  <a:pt x="1898" y="3595"/>
                </a:lnTo>
                <a:lnTo>
                  <a:pt x="1908" y="3587"/>
                </a:lnTo>
                <a:lnTo>
                  <a:pt x="3586" y="1909"/>
                </a:lnTo>
                <a:lnTo>
                  <a:pt x="3586" y="1909"/>
                </a:lnTo>
                <a:lnTo>
                  <a:pt x="3596" y="1899"/>
                </a:lnTo>
                <a:lnTo>
                  <a:pt x="3604" y="1887"/>
                </a:lnTo>
                <a:lnTo>
                  <a:pt x="3610" y="1875"/>
                </a:lnTo>
                <a:lnTo>
                  <a:pt x="3616" y="1863"/>
                </a:lnTo>
                <a:lnTo>
                  <a:pt x="3620" y="1851"/>
                </a:lnTo>
                <a:lnTo>
                  <a:pt x="3624" y="1839"/>
                </a:lnTo>
                <a:lnTo>
                  <a:pt x="3626" y="1825"/>
                </a:lnTo>
                <a:lnTo>
                  <a:pt x="3626" y="1813"/>
                </a:lnTo>
                <a:lnTo>
                  <a:pt x="3626" y="1800"/>
                </a:lnTo>
                <a:lnTo>
                  <a:pt x="3624" y="1786"/>
                </a:lnTo>
                <a:lnTo>
                  <a:pt x="3620" y="1774"/>
                </a:lnTo>
                <a:lnTo>
                  <a:pt x="3616" y="1762"/>
                </a:lnTo>
                <a:lnTo>
                  <a:pt x="3610" y="1750"/>
                </a:lnTo>
                <a:lnTo>
                  <a:pt x="3604" y="1738"/>
                </a:lnTo>
                <a:lnTo>
                  <a:pt x="3596" y="1726"/>
                </a:lnTo>
                <a:lnTo>
                  <a:pt x="3586" y="1716"/>
                </a:lnTo>
                <a:lnTo>
                  <a:pt x="3586" y="1716"/>
                </a:lnTo>
                <a:close/>
                <a:moveTo>
                  <a:pt x="2398" y="1252"/>
                </a:moveTo>
                <a:lnTo>
                  <a:pt x="2114" y="1186"/>
                </a:lnTo>
                <a:lnTo>
                  <a:pt x="2112" y="1186"/>
                </a:lnTo>
                <a:lnTo>
                  <a:pt x="2112" y="1186"/>
                </a:lnTo>
                <a:lnTo>
                  <a:pt x="2112" y="1218"/>
                </a:lnTo>
                <a:lnTo>
                  <a:pt x="2110" y="1250"/>
                </a:lnTo>
                <a:lnTo>
                  <a:pt x="2106" y="1280"/>
                </a:lnTo>
                <a:lnTo>
                  <a:pt x="2102" y="1308"/>
                </a:lnTo>
                <a:lnTo>
                  <a:pt x="2098" y="1336"/>
                </a:lnTo>
                <a:lnTo>
                  <a:pt x="2090" y="1362"/>
                </a:lnTo>
                <a:lnTo>
                  <a:pt x="2082" y="1388"/>
                </a:lnTo>
                <a:lnTo>
                  <a:pt x="2074" y="1410"/>
                </a:lnTo>
                <a:lnTo>
                  <a:pt x="2064" y="1434"/>
                </a:lnTo>
                <a:lnTo>
                  <a:pt x="2054" y="1456"/>
                </a:lnTo>
                <a:lnTo>
                  <a:pt x="2042" y="1476"/>
                </a:lnTo>
                <a:lnTo>
                  <a:pt x="2030" y="1494"/>
                </a:lnTo>
                <a:lnTo>
                  <a:pt x="2002" y="1530"/>
                </a:lnTo>
                <a:lnTo>
                  <a:pt x="1974" y="1562"/>
                </a:lnTo>
                <a:lnTo>
                  <a:pt x="1944" y="1590"/>
                </a:lnTo>
                <a:lnTo>
                  <a:pt x="1912" y="1616"/>
                </a:lnTo>
                <a:lnTo>
                  <a:pt x="1880" y="1638"/>
                </a:lnTo>
                <a:lnTo>
                  <a:pt x="1848" y="1658"/>
                </a:lnTo>
                <a:lnTo>
                  <a:pt x="1816" y="1676"/>
                </a:lnTo>
                <a:lnTo>
                  <a:pt x="1784" y="1690"/>
                </a:lnTo>
                <a:lnTo>
                  <a:pt x="1728" y="1716"/>
                </a:lnTo>
                <a:lnTo>
                  <a:pt x="1728" y="1716"/>
                </a:lnTo>
                <a:lnTo>
                  <a:pt x="1686" y="1734"/>
                </a:lnTo>
                <a:lnTo>
                  <a:pt x="1656" y="1750"/>
                </a:lnTo>
                <a:lnTo>
                  <a:pt x="1634" y="1762"/>
                </a:lnTo>
                <a:lnTo>
                  <a:pt x="1618" y="1774"/>
                </a:lnTo>
                <a:lnTo>
                  <a:pt x="1610" y="1786"/>
                </a:lnTo>
                <a:lnTo>
                  <a:pt x="1604" y="1798"/>
                </a:lnTo>
                <a:lnTo>
                  <a:pt x="1602" y="1815"/>
                </a:lnTo>
                <a:lnTo>
                  <a:pt x="1602" y="1833"/>
                </a:lnTo>
                <a:lnTo>
                  <a:pt x="1602" y="1833"/>
                </a:lnTo>
                <a:lnTo>
                  <a:pt x="1604" y="1849"/>
                </a:lnTo>
                <a:lnTo>
                  <a:pt x="1606" y="1865"/>
                </a:lnTo>
                <a:lnTo>
                  <a:pt x="1610" y="1871"/>
                </a:lnTo>
                <a:lnTo>
                  <a:pt x="1614" y="1879"/>
                </a:lnTo>
                <a:lnTo>
                  <a:pt x="1620" y="1885"/>
                </a:lnTo>
                <a:lnTo>
                  <a:pt x="1630" y="1891"/>
                </a:lnTo>
                <a:lnTo>
                  <a:pt x="1654" y="1905"/>
                </a:lnTo>
                <a:lnTo>
                  <a:pt x="1692" y="1919"/>
                </a:lnTo>
                <a:lnTo>
                  <a:pt x="1746" y="1935"/>
                </a:lnTo>
                <a:lnTo>
                  <a:pt x="1816" y="1953"/>
                </a:lnTo>
                <a:lnTo>
                  <a:pt x="1816" y="1953"/>
                </a:lnTo>
                <a:lnTo>
                  <a:pt x="1890" y="1973"/>
                </a:lnTo>
                <a:lnTo>
                  <a:pt x="1930" y="1985"/>
                </a:lnTo>
                <a:lnTo>
                  <a:pt x="1972" y="1999"/>
                </a:lnTo>
                <a:lnTo>
                  <a:pt x="2014" y="2015"/>
                </a:lnTo>
                <a:lnTo>
                  <a:pt x="2058" y="2035"/>
                </a:lnTo>
                <a:lnTo>
                  <a:pt x="2100" y="2057"/>
                </a:lnTo>
                <a:lnTo>
                  <a:pt x="2140" y="2083"/>
                </a:lnTo>
                <a:lnTo>
                  <a:pt x="2178" y="2111"/>
                </a:lnTo>
                <a:lnTo>
                  <a:pt x="2196" y="2127"/>
                </a:lnTo>
                <a:lnTo>
                  <a:pt x="2214" y="2145"/>
                </a:lnTo>
                <a:lnTo>
                  <a:pt x="2230" y="2163"/>
                </a:lnTo>
                <a:lnTo>
                  <a:pt x="2246" y="2183"/>
                </a:lnTo>
                <a:lnTo>
                  <a:pt x="2260" y="2205"/>
                </a:lnTo>
                <a:lnTo>
                  <a:pt x="2274" y="2227"/>
                </a:lnTo>
                <a:lnTo>
                  <a:pt x="2286" y="2249"/>
                </a:lnTo>
                <a:lnTo>
                  <a:pt x="2296" y="2275"/>
                </a:lnTo>
                <a:lnTo>
                  <a:pt x="2306" y="2301"/>
                </a:lnTo>
                <a:lnTo>
                  <a:pt x="2314" y="2329"/>
                </a:lnTo>
                <a:lnTo>
                  <a:pt x="2320" y="2359"/>
                </a:lnTo>
                <a:lnTo>
                  <a:pt x="2324" y="2389"/>
                </a:lnTo>
                <a:lnTo>
                  <a:pt x="2328" y="2421"/>
                </a:lnTo>
                <a:lnTo>
                  <a:pt x="2328" y="2455"/>
                </a:lnTo>
                <a:lnTo>
                  <a:pt x="2328" y="2455"/>
                </a:lnTo>
                <a:lnTo>
                  <a:pt x="2326" y="2509"/>
                </a:lnTo>
                <a:lnTo>
                  <a:pt x="2322" y="2559"/>
                </a:lnTo>
                <a:lnTo>
                  <a:pt x="2312" y="2605"/>
                </a:lnTo>
                <a:lnTo>
                  <a:pt x="2302" y="2647"/>
                </a:lnTo>
                <a:lnTo>
                  <a:pt x="2288" y="2685"/>
                </a:lnTo>
                <a:lnTo>
                  <a:pt x="2272" y="2719"/>
                </a:lnTo>
                <a:lnTo>
                  <a:pt x="2254" y="2751"/>
                </a:lnTo>
                <a:lnTo>
                  <a:pt x="2234" y="2779"/>
                </a:lnTo>
                <a:lnTo>
                  <a:pt x="2214" y="2803"/>
                </a:lnTo>
                <a:lnTo>
                  <a:pt x="2194" y="2827"/>
                </a:lnTo>
                <a:lnTo>
                  <a:pt x="2172" y="2847"/>
                </a:lnTo>
                <a:lnTo>
                  <a:pt x="2150" y="2865"/>
                </a:lnTo>
                <a:lnTo>
                  <a:pt x="2108" y="2895"/>
                </a:lnTo>
                <a:lnTo>
                  <a:pt x="2068" y="2919"/>
                </a:lnTo>
                <a:lnTo>
                  <a:pt x="2068" y="2919"/>
                </a:lnTo>
                <a:lnTo>
                  <a:pt x="2044" y="2935"/>
                </a:lnTo>
                <a:lnTo>
                  <a:pt x="2022" y="2951"/>
                </a:lnTo>
                <a:lnTo>
                  <a:pt x="2014" y="2959"/>
                </a:lnTo>
                <a:lnTo>
                  <a:pt x="2004" y="2969"/>
                </a:lnTo>
                <a:lnTo>
                  <a:pt x="1998" y="2981"/>
                </a:lnTo>
                <a:lnTo>
                  <a:pt x="1990" y="2993"/>
                </a:lnTo>
                <a:lnTo>
                  <a:pt x="1984" y="3007"/>
                </a:lnTo>
                <a:lnTo>
                  <a:pt x="1980" y="3025"/>
                </a:lnTo>
                <a:lnTo>
                  <a:pt x="1976" y="3043"/>
                </a:lnTo>
                <a:lnTo>
                  <a:pt x="1974" y="3065"/>
                </a:lnTo>
                <a:lnTo>
                  <a:pt x="1970" y="3117"/>
                </a:lnTo>
                <a:lnTo>
                  <a:pt x="1972" y="3185"/>
                </a:lnTo>
                <a:lnTo>
                  <a:pt x="1556" y="3201"/>
                </a:lnTo>
                <a:lnTo>
                  <a:pt x="1556" y="3201"/>
                </a:lnTo>
                <a:lnTo>
                  <a:pt x="1556" y="3127"/>
                </a:lnTo>
                <a:lnTo>
                  <a:pt x="1558" y="3061"/>
                </a:lnTo>
                <a:lnTo>
                  <a:pt x="1566" y="2999"/>
                </a:lnTo>
                <a:lnTo>
                  <a:pt x="1574" y="2943"/>
                </a:lnTo>
                <a:lnTo>
                  <a:pt x="1588" y="2891"/>
                </a:lnTo>
                <a:lnTo>
                  <a:pt x="1604" y="2845"/>
                </a:lnTo>
                <a:lnTo>
                  <a:pt x="1622" y="2803"/>
                </a:lnTo>
                <a:lnTo>
                  <a:pt x="1642" y="2765"/>
                </a:lnTo>
                <a:lnTo>
                  <a:pt x="1664" y="2731"/>
                </a:lnTo>
                <a:lnTo>
                  <a:pt x="1688" y="2701"/>
                </a:lnTo>
                <a:lnTo>
                  <a:pt x="1712" y="2673"/>
                </a:lnTo>
                <a:lnTo>
                  <a:pt x="1738" y="2647"/>
                </a:lnTo>
                <a:lnTo>
                  <a:pt x="1766" y="2625"/>
                </a:lnTo>
                <a:lnTo>
                  <a:pt x="1794" y="2603"/>
                </a:lnTo>
                <a:lnTo>
                  <a:pt x="1822" y="2585"/>
                </a:lnTo>
                <a:lnTo>
                  <a:pt x="1850" y="2567"/>
                </a:lnTo>
                <a:lnTo>
                  <a:pt x="1850" y="2567"/>
                </a:lnTo>
                <a:lnTo>
                  <a:pt x="1888" y="2543"/>
                </a:lnTo>
                <a:lnTo>
                  <a:pt x="1898" y="2533"/>
                </a:lnTo>
                <a:lnTo>
                  <a:pt x="1906" y="2523"/>
                </a:lnTo>
                <a:lnTo>
                  <a:pt x="1910" y="2511"/>
                </a:lnTo>
                <a:lnTo>
                  <a:pt x="1912" y="2497"/>
                </a:lnTo>
                <a:lnTo>
                  <a:pt x="1914" y="2455"/>
                </a:lnTo>
                <a:lnTo>
                  <a:pt x="1914" y="2455"/>
                </a:lnTo>
                <a:lnTo>
                  <a:pt x="1914" y="2443"/>
                </a:lnTo>
                <a:lnTo>
                  <a:pt x="1910" y="2433"/>
                </a:lnTo>
                <a:lnTo>
                  <a:pt x="1908" y="2427"/>
                </a:lnTo>
                <a:lnTo>
                  <a:pt x="1904" y="2423"/>
                </a:lnTo>
                <a:lnTo>
                  <a:pt x="1888" y="2413"/>
                </a:lnTo>
                <a:lnTo>
                  <a:pt x="1866" y="2401"/>
                </a:lnTo>
                <a:lnTo>
                  <a:pt x="1830" y="2387"/>
                </a:lnTo>
                <a:lnTo>
                  <a:pt x="1780" y="2373"/>
                </a:lnTo>
                <a:lnTo>
                  <a:pt x="1714" y="2355"/>
                </a:lnTo>
                <a:lnTo>
                  <a:pt x="1714" y="2355"/>
                </a:lnTo>
                <a:lnTo>
                  <a:pt x="1638" y="2335"/>
                </a:lnTo>
                <a:lnTo>
                  <a:pt x="1598" y="2323"/>
                </a:lnTo>
                <a:lnTo>
                  <a:pt x="1554" y="2309"/>
                </a:lnTo>
                <a:lnTo>
                  <a:pt x="1510" y="2293"/>
                </a:lnTo>
                <a:lnTo>
                  <a:pt x="1468" y="2273"/>
                </a:lnTo>
                <a:lnTo>
                  <a:pt x="1424" y="2249"/>
                </a:lnTo>
                <a:lnTo>
                  <a:pt x="1382" y="2223"/>
                </a:lnTo>
                <a:lnTo>
                  <a:pt x="1362" y="2207"/>
                </a:lnTo>
                <a:lnTo>
                  <a:pt x="1342" y="2193"/>
                </a:lnTo>
                <a:lnTo>
                  <a:pt x="1324" y="2175"/>
                </a:lnTo>
                <a:lnTo>
                  <a:pt x="1306" y="2157"/>
                </a:lnTo>
                <a:lnTo>
                  <a:pt x="1290" y="2137"/>
                </a:lnTo>
                <a:lnTo>
                  <a:pt x="1274" y="2117"/>
                </a:lnTo>
                <a:lnTo>
                  <a:pt x="1258" y="2095"/>
                </a:lnTo>
                <a:lnTo>
                  <a:pt x="1244" y="2073"/>
                </a:lnTo>
                <a:lnTo>
                  <a:pt x="1232" y="2047"/>
                </a:lnTo>
                <a:lnTo>
                  <a:pt x="1220" y="2021"/>
                </a:lnTo>
                <a:lnTo>
                  <a:pt x="1212" y="1995"/>
                </a:lnTo>
                <a:lnTo>
                  <a:pt x="1204" y="1965"/>
                </a:lnTo>
                <a:lnTo>
                  <a:pt x="1196" y="1935"/>
                </a:lnTo>
                <a:lnTo>
                  <a:pt x="1192" y="1903"/>
                </a:lnTo>
                <a:lnTo>
                  <a:pt x="1188" y="1869"/>
                </a:lnTo>
                <a:lnTo>
                  <a:pt x="1188" y="1833"/>
                </a:lnTo>
                <a:lnTo>
                  <a:pt x="1188" y="1833"/>
                </a:lnTo>
                <a:lnTo>
                  <a:pt x="1188" y="1802"/>
                </a:lnTo>
                <a:lnTo>
                  <a:pt x="1190" y="1772"/>
                </a:lnTo>
                <a:lnTo>
                  <a:pt x="1194" y="1744"/>
                </a:lnTo>
                <a:lnTo>
                  <a:pt x="1198" y="1718"/>
                </a:lnTo>
                <a:lnTo>
                  <a:pt x="1204" y="1692"/>
                </a:lnTo>
                <a:lnTo>
                  <a:pt x="1212" y="1668"/>
                </a:lnTo>
                <a:lnTo>
                  <a:pt x="1220" y="1646"/>
                </a:lnTo>
                <a:lnTo>
                  <a:pt x="1228" y="1622"/>
                </a:lnTo>
                <a:lnTo>
                  <a:pt x="1238" y="1602"/>
                </a:lnTo>
                <a:lnTo>
                  <a:pt x="1248" y="1582"/>
                </a:lnTo>
                <a:lnTo>
                  <a:pt x="1272" y="1544"/>
                </a:lnTo>
                <a:lnTo>
                  <a:pt x="1298" y="1512"/>
                </a:lnTo>
                <a:lnTo>
                  <a:pt x="1326" y="1482"/>
                </a:lnTo>
                <a:lnTo>
                  <a:pt x="1356" y="1454"/>
                </a:lnTo>
                <a:lnTo>
                  <a:pt x="1386" y="1432"/>
                </a:lnTo>
                <a:lnTo>
                  <a:pt x="1416" y="1410"/>
                </a:lnTo>
                <a:lnTo>
                  <a:pt x="1448" y="1392"/>
                </a:lnTo>
                <a:lnTo>
                  <a:pt x="1478" y="1376"/>
                </a:lnTo>
                <a:lnTo>
                  <a:pt x="1508" y="1360"/>
                </a:lnTo>
                <a:lnTo>
                  <a:pt x="1560" y="1336"/>
                </a:lnTo>
                <a:lnTo>
                  <a:pt x="1560" y="1336"/>
                </a:lnTo>
                <a:lnTo>
                  <a:pt x="1602" y="1318"/>
                </a:lnTo>
                <a:lnTo>
                  <a:pt x="1634" y="1302"/>
                </a:lnTo>
                <a:lnTo>
                  <a:pt x="1660" y="1288"/>
                </a:lnTo>
                <a:lnTo>
                  <a:pt x="1668" y="1282"/>
                </a:lnTo>
                <a:lnTo>
                  <a:pt x="1676" y="1274"/>
                </a:lnTo>
                <a:lnTo>
                  <a:pt x="1684" y="1266"/>
                </a:lnTo>
                <a:lnTo>
                  <a:pt x="1688" y="1258"/>
                </a:lnTo>
                <a:lnTo>
                  <a:pt x="1692" y="1248"/>
                </a:lnTo>
                <a:lnTo>
                  <a:pt x="1696" y="1238"/>
                </a:lnTo>
                <a:lnTo>
                  <a:pt x="1698" y="1214"/>
                </a:lnTo>
                <a:lnTo>
                  <a:pt x="1698" y="1184"/>
                </a:lnTo>
                <a:lnTo>
                  <a:pt x="1652" y="1184"/>
                </a:lnTo>
                <a:lnTo>
                  <a:pt x="1380" y="1252"/>
                </a:lnTo>
                <a:lnTo>
                  <a:pt x="1380" y="1252"/>
                </a:lnTo>
                <a:lnTo>
                  <a:pt x="1366" y="1250"/>
                </a:lnTo>
                <a:lnTo>
                  <a:pt x="1354" y="1246"/>
                </a:lnTo>
                <a:lnTo>
                  <a:pt x="1346" y="1238"/>
                </a:lnTo>
                <a:lnTo>
                  <a:pt x="1340" y="1230"/>
                </a:lnTo>
                <a:lnTo>
                  <a:pt x="1336" y="1218"/>
                </a:lnTo>
                <a:lnTo>
                  <a:pt x="1336" y="1206"/>
                </a:lnTo>
                <a:lnTo>
                  <a:pt x="1338" y="1194"/>
                </a:lnTo>
                <a:lnTo>
                  <a:pt x="1346" y="1182"/>
                </a:lnTo>
                <a:lnTo>
                  <a:pt x="1874" y="348"/>
                </a:lnTo>
                <a:lnTo>
                  <a:pt x="1874" y="348"/>
                </a:lnTo>
                <a:lnTo>
                  <a:pt x="1888" y="328"/>
                </a:lnTo>
                <a:lnTo>
                  <a:pt x="1892" y="324"/>
                </a:lnTo>
                <a:lnTo>
                  <a:pt x="1896" y="322"/>
                </a:lnTo>
                <a:lnTo>
                  <a:pt x="1898" y="324"/>
                </a:lnTo>
                <a:lnTo>
                  <a:pt x="1904" y="328"/>
                </a:lnTo>
                <a:lnTo>
                  <a:pt x="1916" y="346"/>
                </a:lnTo>
                <a:lnTo>
                  <a:pt x="2432" y="1182"/>
                </a:lnTo>
                <a:lnTo>
                  <a:pt x="2432" y="1182"/>
                </a:lnTo>
                <a:lnTo>
                  <a:pt x="2440" y="1194"/>
                </a:lnTo>
                <a:lnTo>
                  <a:pt x="2442" y="1206"/>
                </a:lnTo>
                <a:lnTo>
                  <a:pt x="2442" y="1218"/>
                </a:lnTo>
                <a:lnTo>
                  <a:pt x="2438" y="1230"/>
                </a:lnTo>
                <a:lnTo>
                  <a:pt x="2432" y="1238"/>
                </a:lnTo>
                <a:lnTo>
                  <a:pt x="2422" y="1246"/>
                </a:lnTo>
                <a:lnTo>
                  <a:pt x="2412" y="1250"/>
                </a:lnTo>
                <a:lnTo>
                  <a:pt x="2398" y="1252"/>
                </a:lnTo>
                <a:lnTo>
                  <a:pt x="2398" y="125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Oval 42"/>
          <p:cNvSpPr>
            <a:spLocks/>
          </p:cNvSpPr>
          <p:nvPr/>
        </p:nvSpPr>
        <p:spPr bwMode="auto">
          <a:xfrm>
            <a:off x="5608414" y="2802124"/>
            <a:ext cx="548640" cy="548640"/>
          </a:xfrm>
          <a:prstGeom prst="ellipse">
            <a:avLst/>
          </a:prstGeom>
          <a:solidFill>
            <a:schemeClr val="bg1"/>
          </a:solid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000" kern="0">
              <a:solidFill>
                <a:srgbClr val="0072C6"/>
              </a:solidFill>
              <a:ea typeface="Calibri" charset="0"/>
              <a:cs typeface="Calibri" charset="0"/>
            </a:endParaRPr>
          </a:p>
        </p:txBody>
      </p:sp>
      <p:sp>
        <p:nvSpPr>
          <p:cNvPr id="46" name="Oval 45"/>
          <p:cNvSpPr>
            <a:spLocks/>
          </p:cNvSpPr>
          <p:nvPr/>
        </p:nvSpPr>
        <p:spPr bwMode="auto">
          <a:xfrm>
            <a:off x="9109979" y="2801620"/>
            <a:ext cx="548640" cy="548640"/>
          </a:xfrm>
          <a:prstGeom prst="ellipse">
            <a:avLst/>
          </a:prstGeom>
          <a:solidFill>
            <a:schemeClr val="bg1"/>
          </a:solid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000" kern="0">
              <a:solidFill>
                <a:srgbClr val="0072C6"/>
              </a:solidFill>
              <a:ea typeface="Calibri" charset="0"/>
              <a:cs typeface="Calibri" charset="0"/>
            </a:endParaRPr>
          </a:p>
        </p:txBody>
      </p:sp>
      <p:sp>
        <p:nvSpPr>
          <p:cNvPr id="41" name="Oval 40"/>
          <p:cNvSpPr>
            <a:spLocks/>
          </p:cNvSpPr>
          <p:nvPr/>
        </p:nvSpPr>
        <p:spPr bwMode="auto">
          <a:xfrm>
            <a:off x="10744607" y="2802558"/>
            <a:ext cx="548640" cy="548640"/>
          </a:xfrm>
          <a:prstGeom prst="ellipse">
            <a:avLst/>
          </a:prstGeom>
          <a:solidFill>
            <a:schemeClr val="bg1"/>
          </a:solid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000" kern="0">
              <a:solidFill>
                <a:srgbClr val="0072C6"/>
              </a:solidFill>
              <a:ea typeface="Calibri" charset="0"/>
              <a:cs typeface="Calibri" charset="0"/>
            </a:endParaRPr>
          </a:p>
        </p:txBody>
      </p:sp>
      <p:sp>
        <p:nvSpPr>
          <p:cNvPr id="63" name="Freeform 132"/>
          <p:cNvSpPr>
            <a:spLocks noChangeAspect="1" noEditPoints="1"/>
          </p:cNvSpPr>
          <p:nvPr/>
        </p:nvSpPr>
        <p:spPr bwMode="black">
          <a:xfrm>
            <a:off x="9278422" y="2910580"/>
            <a:ext cx="204565" cy="333360"/>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tx2"/>
          </a:solidFill>
          <a:ln>
            <a:noFill/>
          </a:ln>
          <a:extLst/>
        </p:spPr>
        <p:txBody>
          <a:bodyPr vert="horz" wrap="square" lIns="91421" tIns="45710" rIns="91421" bIns="45710" numCol="1" anchor="t" anchorCtr="0" compatLnSpc="1">
            <a:prstTxWarp prst="textNoShape">
              <a:avLst/>
            </a:prstTxWarp>
          </a:bodyPr>
          <a:lstStyle/>
          <a:p>
            <a:pPr defTabSz="932742">
              <a:defRPr/>
            </a:pPr>
            <a:endParaRPr lang="en-US" sz="1764" kern="0">
              <a:solidFill>
                <a:srgbClr val="000000"/>
              </a:solidFill>
            </a:endParaRPr>
          </a:p>
        </p:txBody>
      </p:sp>
      <p:sp>
        <p:nvSpPr>
          <p:cNvPr id="64" name="Freeform 44"/>
          <p:cNvSpPr>
            <a:spLocks noChangeAspect="1"/>
          </p:cNvSpPr>
          <p:nvPr/>
        </p:nvSpPr>
        <p:spPr bwMode="auto">
          <a:xfrm>
            <a:off x="3967835" y="2907714"/>
            <a:ext cx="291360" cy="338328"/>
          </a:xfrm>
          <a:custGeom>
            <a:avLst/>
            <a:gdLst/>
            <a:ahLst/>
            <a:cxnLst/>
            <a:rect l="l" t="t" r="r" b="b"/>
            <a:pathLst>
              <a:path w="2547706" h="2960640">
                <a:moveTo>
                  <a:pt x="1273854" y="829245"/>
                </a:moveTo>
                <a:cubicBezTo>
                  <a:pt x="1494126" y="829245"/>
                  <a:pt x="1672690" y="1007810"/>
                  <a:pt x="1672690" y="1228081"/>
                </a:cubicBezTo>
                <a:cubicBezTo>
                  <a:pt x="1672690" y="1411890"/>
                  <a:pt x="1548351" y="1566656"/>
                  <a:pt x="1378743" y="1611207"/>
                </a:cubicBezTo>
                <a:lnTo>
                  <a:pt x="1378743" y="2689416"/>
                </a:lnTo>
                <a:lnTo>
                  <a:pt x="1830303" y="2689416"/>
                </a:lnTo>
                <a:cubicBezTo>
                  <a:pt x="1905200" y="2689416"/>
                  <a:pt x="1965915" y="2750131"/>
                  <a:pt x="1965915" y="2825028"/>
                </a:cubicBezTo>
                <a:cubicBezTo>
                  <a:pt x="1965915" y="2899925"/>
                  <a:pt x="1905200" y="2960640"/>
                  <a:pt x="1830303" y="2960640"/>
                </a:cubicBezTo>
                <a:lnTo>
                  <a:pt x="717405" y="2960640"/>
                </a:lnTo>
                <a:cubicBezTo>
                  <a:pt x="642508" y="2960640"/>
                  <a:pt x="581793" y="2899925"/>
                  <a:pt x="581793" y="2825028"/>
                </a:cubicBezTo>
                <a:cubicBezTo>
                  <a:pt x="581793" y="2750131"/>
                  <a:pt x="642508" y="2689416"/>
                  <a:pt x="717405" y="2689416"/>
                </a:cubicBezTo>
                <a:lnTo>
                  <a:pt x="1168967" y="2689416"/>
                </a:lnTo>
                <a:lnTo>
                  <a:pt x="1168967" y="1611207"/>
                </a:lnTo>
                <a:cubicBezTo>
                  <a:pt x="999359" y="1566657"/>
                  <a:pt x="875018" y="1411890"/>
                  <a:pt x="875018" y="1228081"/>
                </a:cubicBezTo>
                <a:cubicBezTo>
                  <a:pt x="875018" y="1007810"/>
                  <a:pt x="1053583" y="829245"/>
                  <a:pt x="1273854" y="829245"/>
                </a:cubicBezTo>
                <a:close/>
                <a:moveTo>
                  <a:pt x="1233663" y="403862"/>
                </a:moveTo>
                <a:cubicBezTo>
                  <a:pt x="1737093" y="404807"/>
                  <a:pt x="1979594" y="679207"/>
                  <a:pt x="2075481" y="941397"/>
                </a:cubicBezTo>
                <a:cubicBezTo>
                  <a:pt x="2196902" y="1319188"/>
                  <a:pt x="2078801" y="1596406"/>
                  <a:pt x="1886631" y="1839677"/>
                </a:cubicBezTo>
                <a:cubicBezTo>
                  <a:pt x="1773762" y="1938645"/>
                  <a:pt x="1539169" y="1792631"/>
                  <a:pt x="1716421" y="1630752"/>
                </a:cubicBezTo>
                <a:cubicBezTo>
                  <a:pt x="1790667" y="1534204"/>
                  <a:pt x="1960762" y="1358542"/>
                  <a:pt x="1786506" y="983657"/>
                </a:cubicBezTo>
                <a:cubicBezTo>
                  <a:pt x="1733012" y="858452"/>
                  <a:pt x="1568784" y="643239"/>
                  <a:pt x="1245141" y="645288"/>
                </a:cubicBezTo>
                <a:cubicBezTo>
                  <a:pt x="921498" y="647337"/>
                  <a:pt x="804393" y="827299"/>
                  <a:pt x="713328" y="995952"/>
                </a:cubicBezTo>
                <a:cubicBezTo>
                  <a:pt x="680288" y="1062748"/>
                  <a:pt x="550176" y="1348281"/>
                  <a:pt x="855588" y="1732810"/>
                </a:cubicBezTo>
                <a:cubicBezTo>
                  <a:pt x="945585" y="1835619"/>
                  <a:pt x="718103" y="2034990"/>
                  <a:pt x="602425" y="1852771"/>
                </a:cubicBezTo>
                <a:cubicBezTo>
                  <a:pt x="558440" y="1791445"/>
                  <a:pt x="279895" y="1453727"/>
                  <a:pt x="435471" y="942908"/>
                </a:cubicBezTo>
                <a:cubicBezTo>
                  <a:pt x="503561" y="760785"/>
                  <a:pt x="730233" y="402917"/>
                  <a:pt x="1233663" y="403862"/>
                </a:cubicBezTo>
                <a:close/>
                <a:moveTo>
                  <a:pt x="1240008" y="3"/>
                </a:moveTo>
                <a:cubicBezTo>
                  <a:pt x="1978790" y="1402"/>
                  <a:pt x="2334659" y="407516"/>
                  <a:pt x="2475373" y="795560"/>
                </a:cubicBezTo>
                <a:cubicBezTo>
                  <a:pt x="2653558" y="1354695"/>
                  <a:pt x="2480246" y="1764980"/>
                  <a:pt x="2198237" y="2125024"/>
                </a:cubicBezTo>
                <a:cubicBezTo>
                  <a:pt x="2043784" y="2203831"/>
                  <a:pt x="1945532" y="2049757"/>
                  <a:pt x="2049095" y="1928590"/>
                </a:cubicBezTo>
                <a:cubicBezTo>
                  <a:pt x="2158051" y="1785697"/>
                  <a:pt x="2480350" y="1367829"/>
                  <a:pt x="2224630" y="812995"/>
                </a:cubicBezTo>
                <a:cubicBezTo>
                  <a:pt x="2157310" y="655886"/>
                  <a:pt x="1836122" y="214759"/>
                  <a:pt x="1256852" y="233262"/>
                </a:cubicBezTo>
                <a:cubicBezTo>
                  <a:pt x="677582" y="251765"/>
                  <a:pt x="453504" y="559028"/>
                  <a:pt x="319866" y="808636"/>
                </a:cubicBezTo>
                <a:cubicBezTo>
                  <a:pt x="254606" y="986438"/>
                  <a:pt x="91624" y="1499252"/>
                  <a:pt x="539816" y="2068358"/>
                </a:cubicBezTo>
                <a:cubicBezTo>
                  <a:pt x="576836" y="2119017"/>
                  <a:pt x="455470" y="2301311"/>
                  <a:pt x="313669" y="2144403"/>
                </a:cubicBezTo>
                <a:cubicBezTo>
                  <a:pt x="249122" y="2053639"/>
                  <a:pt x="-159643" y="1553813"/>
                  <a:pt x="68665" y="797796"/>
                </a:cubicBezTo>
                <a:cubicBezTo>
                  <a:pt x="168587" y="528252"/>
                  <a:pt x="501227" y="-1396"/>
                  <a:pt x="1240008" y="3"/>
                </a:cubicBezTo>
                <a:close/>
              </a:path>
            </a:pathLst>
          </a:custGeom>
          <a:solidFill>
            <a:schemeClr val="tx2"/>
          </a:solidFill>
          <a:ln w="9525" cap="flat" cmpd="sng" algn="ctr">
            <a:noFill/>
            <a:prstDash val="solid"/>
            <a:headEnd type="none" w="med" len="med"/>
            <a:tailEnd type="none" w="med" len="med"/>
          </a:ln>
          <a:effectLst/>
        </p:spPr>
        <p:txBody>
          <a:bodyPr rot="0" spcFirstLastPara="0" vert="horz" wrap="square" lIns="91440" tIns="45720" rIns="45720" bIns="91440" numCol="1" spcCol="0" rtlCol="0" fromWordArt="0" anchor="b" anchorCtr="0" forceAA="0" compatLnSpc="1">
            <a:prstTxWarp prst="textNoShape">
              <a:avLst/>
            </a:prstTxWarp>
            <a:noAutofit/>
          </a:bodyPr>
          <a:lstStyle/>
          <a:p>
            <a:pPr defTabSz="932742">
              <a:defRPr/>
            </a:pPr>
            <a:endParaRPr lang="en-US" kern="0">
              <a:solidFill>
                <a:srgbClr val="505050"/>
              </a:solidFill>
            </a:endParaRPr>
          </a:p>
        </p:txBody>
      </p:sp>
      <p:grpSp>
        <p:nvGrpSpPr>
          <p:cNvPr id="3" name="Group 2"/>
          <p:cNvGrpSpPr/>
          <p:nvPr/>
        </p:nvGrpSpPr>
        <p:grpSpPr>
          <a:xfrm>
            <a:off x="5713568" y="2916130"/>
            <a:ext cx="338332" cy="338328"/>
            <a:chOff x="3944657" y="2916130"/>
            <a:chExt cx="338332" cy="338328"/>
          </a:xfrm>
        </p:grpSpPr>
        <p:sp>
          <p:nvSpPr>
            <p:cNvPr id="66" name="Freeform 14"/>
            <p:cNvSpPr>
              <a:spLocks noEditPoints="1"/>
            </p:cNvSpPr>
            <p:nvPr/>
          </p:nvSpPr>
          <p:spPr bwMode="auto">
            <a:xfrm>
              <a:off x="3944657" y="2916130"/>
              <a:ext cx="338332" cy="338328"/>
            </a:xfrm>
            <a:custGeom>
              <a:avLst/>
              <a:gdLst>
                <a:gd name="T0" fmla="*/ 185 w 187"/>
                <a:gd name="T1" fmla="*/ 187 h 187"/>
                <a:gd name="T2" fmla="*/ 2 w 187"/>
                <a:gd name="T3" fmla="*/ 187 h 187"/>
                <a:gd name="T4" fmla="*/ 0 w 187"/>
                <a:gd name="T5" fmla="*/ 185 h 187"/>
                <a:gd name="T6" fmla="*/ 0 w 187"/>
                <a:gd name="T7" fmla="*/ 2 h 187"/>
                <a:gd name="T8" fmla="*/ 2 w 187"/>
                <a:gd name="T9" fmla="*/ 0 h 187"/>
                <a:gd name="T10" fmla="*/ 185 w 187"/>
                <a:gd name="T11" fmla="*/ 0 h 187"/>
                <a:gd name="T12" fmla="*/ 187 w 187"/>
                <a:gd name="T13" fmla="*/ 2 h 187"/>
                <a:gd name="T14" fmla="*/ 187 w 187"/>
                <a:gd name="T15" fmla="*/ 185 h 187"/>
                <a:gd name="T16" fmla="*/ 185 w 187"/>
                <a:gd name="T17" fmla="*/ 187 h 187"/>
                <a:gd name="T18" fmla="*/ 15 w 187"/>
                <a:gd name="T19" fmla="*/ 173 h 187"/>
                <a:gd name="T20" fmla="*/ 172 w 187"/>
                <a:gd name="T21" fmla="*/ 173 h 187"/>
                <a:gd name="T22" fmla="*/ 173 w 187"/>
                <a:gd name="T23" fmla="*/ 172 h 187"/>
                <a:gd name="T24" fmla="*/ 173 w 187"/>
                <a:gd name="T25" fmla="*/ 15 h 187"/>
                <a:gd name="T26" fmla="*/ 172 w 187"/>
                <a:gd name="T27" fmla="*/ 14 h 187"/>
                <a:gd name="T28" fmla="*/ 15 w 187"/>
                <a:gd name="T29" fmla="*/ 14 h 187"/>
                <a:gd name="T30" fmla="*/ 14 w 187"/>
                <a:gd name="T31" fmla="*/ 15 h 187"/>
                <a:gd name="T32" fmla="*/ 14 w 187"/>
                <a:gd name="T33" fmla="*/ 172 h 187"/>
                <a:gd name="T34" fmla="*/ 15 w 187"/>
                <a:gd name="T35" fmla="*/ 17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7">
                  <a:moveTo>
                    <a:pt x="185" y="187"/>
                  </a:moveTo>
                  <a:cubicBezTo>
                    <a:pt x="2" y="187"/>
                    <a:pt x="2" y="187"/>
                    <a:pt x="2" y="187"/>
                  </a:cubicBezTo>
                  <a:cubicBezTo>
                    <a:pt x="1" y="187"/>
                    <a:pt x="0" y="186"/>
                    <a:pt x="0" y="185"/>
                  </a:cubicBezTo>
                  <a:cubicBezTo>
                    <a:pt x="0" y="2"/>
                    <a:pt x="0" y="2"/>
                    <a:pt x="0" y="2"/>
                  </a:cubicBezTo>
                  <a:cubicBezTo>
                    <a:pt x="0" y="1"/>
                    <a:pt x="1" y="0"/>
                    <a:pt x="2" y="0"/>
                  </a:cubicBezTo>
                  <a:cubicBezTo>
                    <a:pt x="185" y="0"/>
                    <a:pt x="185" y="0"/>
                    <a:pt x="185" y="0"/>
                  </a:cubicBezTo>
                  <a:cubicBezTo>
                    <a:pt x="186" y="0"/>
                    <a:pt x="187" y="1"/>
                    <a:pt x="187" y="2"/>
                  </a:cubicBezTo>
                  <a:cubicBezTo>
                    <a:pt x="187" y="185"/>
                    <a:pt x="187" y="185"/>
                    <a:pt x="187" y="185"/>
                  </a:cubicBezTo>
                  <a:cubicBezTo>
                    <a:pt x="187" y="186"/>
                    <a:pt x="186" y="187"/>
                    <a:pt x="185" y="187"/>
                  </a:cubicBezTo>
                  <a:moveTo>
                    <a:pt x="15" y="173"/>
                  </a:moveTo>
                  <a:cubicBezTo>
                    <a:pt x="172" y="173"/>
                    <a:pt x="172" y="173"/>
                    <a:pt x="172" y="173"/>
                  </a:cubicBezTo>
                  <a:cubicBezTo>
                    <a:pt x="173" y="173"/>
                    <a:pt x="173" y="172"/>
                    <a:pt x="173" y="172"/>
                  </a:cubicBezTo>
                  <a:cubicBezTo>
                    <a:pt x="173" y="15"/>
                    <a:pt x="173" y="15"/>
                    <a:pt x="173" y="15"/>
                  </a:cubicBezTo>
                  <a:cubicBezTo>
                    <a:pt x="173" y="14"/>
                    <a:pt x="173" y="14"/>
                    <a:pt x="172" y="14"/>
                  </a:cubicBezTo>
                  <a:cubicBezTo>
                    <a:pt x="15" y="14"/>
                    <a:pt x="15" y="14"/>
                    <a:pt x="15" y="14"/>
                  </a:cubicBezTo>
                  <a:cubicBezTo>
                    <a:pt x="14" y="14"/>
                    <a:pt x="14" y="14"/>
                    <a:pt x="14" y="15"/>
                  </a:cubicBezTo>
                  <a:cubicBezTo>
                    <a:pt x="14" y="172"/>
                    <a:pt x="14" y="172"/>
                    <a:pt x="14" y="172"/>
                  </a:cubicBezTo>
                  <a:cubicBezTo>
                    <a:pt x="14" y="172"/>
                    <a:pt x="14" y="173"/>
                    <a:pt x="15" y="173"/>
                  </a:cubicBezTo>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742">
                <a:defRPr/>
              </a:pPr>
              <a:endParaRPr lang="en-US" kern="0">
                <a:solidFill>
                  <a:srgbClr val="505050"/>
                </a:solidFill>
              </a:endParaRPr>
            </a:p>
          </p:txBody>
        </p:sp>
        <p:sp>
          <p:nvSpPr>
            <p:cNvPr id="71" name="Freeform 15"/>
            <p:cNvSpPr>
              <a:spLocks/>
            </p:cNvSpPr>
            <p:nvPr/>
          </p:nvSpPr>
          <p:spPr bwMode="auto">
            <a:xfrm>
              <a:off x="3999086" y="2992622"/>
              <a:ext cx="236833" cy="186817"/>
            </a:xfrm>
            <a:custGeom>
              <a:avLst/>
              <a:gdLst>
                <a:gd name="T0" fmla="*/ 46 w 131"/>
                <a:gd name="T1" fmla="*/ 103 h 104"/>
                <a:gd name="T2" fmla="*/ 0 w 131"/>
                <a:gd name="T3" fmla="*/ 58 h 104"/>
                <a:gd name="T4" fmla="*/ 0 w 131"/>
                <a:gd name="T5" fmla="*/ 56 h 104"/>
                <a:gd name="T6" fmla="*/ 19 w 131"/>
                <a:gd name="T7" fmla="*/ 38 h 104"/>
                <a:gd name="T8" fmla="*/ 20 w 131"/>
                <a:gd name="T9" fmla="*/ 38 h 104"/>
                <a:gd name="T10" fmla="*/ 46 w 131"/>
                <a:gd name="T11" fmla="*/ 64 h 104"/>
                <a:gd name="T12" fmla="*/ 47 w 131"/>
                <a:gd name="T13" fmla="*/ 64 h 104"/>
                <a:gd name="T14" fmla="*/ 111 w 131"/>
                <a:gd name="T15" fmla="*/ 0 h 104"/>
                <a:gd name="T16" fmla="*/ 112 w 131"/>
                <a:gd name="T17" fmla="*/ 0 h 104"/>
                <a:gd name="T18" fmla="*/ 131 w 131"/>
                <a:gd name="T19" fmla="*/ 19 h 104"/>
                <a:gd name="T20" fmla="*/ 131 w 131"/>
                <a:gd name="T21" fmla="*/ 20 h 104"/>
                <a:gd name="T22" fmla="*/ 47 w 131"/>
                <a:gd name="T23" fmla="*/ 103 h 104"/>
                <a:gd name="T24" fmla="*/ 46 w 131"/>
                <a:gd name="T25"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104">
                  <a:moveTo>
                    <a:pt x="46" y="103"/>
                  </a:moveTo>
                  <a:cubicBezTo>
                    <a:pt x="0" y="58"/>
                    <a:pt x="0" y="58"/>
                    <a:pt x="0" y="58"/>
                  </a:cubicBezTo>
                  <a:cubicBezTo>
                    <a:pt x="0" y="57"/>
                    <a:pt x="0" y="57"/>
                    <a:pt x="0" y="56"/>
                  </a:cubicBezTo>
                  <a:cubicBezTo>
                    <a:pt x="19" y="38"/>
                    <a:pt x="19" y="38"/>
                    <a:pt x="19" y="38"/>
                  </a:cubicBezTo>
                  <a:cubicBezTo>
                    <a:pt x="19" y="38"/>
                    <a:pt x="19" y="38"/>
                    <a:pt x="20" y="38"/>
                  </a:cubicBezTo>
                  <a:cubicBezTo>
                    <a:pt x="46" y="64"/>
                    <a:pt x="46" y="64"/>
                    <a:pt x="46" y="64"/>
                  </a:cubicBezTo>
                  <a:cubicBezTo>
                    <a:pt x="46" y="65"/>
                    <a:pt x="47" y="65"/>
                    <a:pt x="47" y="64"/>
                  </a:cubicBezTo>
                  <a:cubicBezTo>
                    <a:pt x="111" y="0"/>
                    <a:pt x="111" y="0"/>
                    <a:pt x="111" y="0"/>
                  </a:cubicBezTo>
                  <a:cubicBezTo>
                    <a:pt x="112" y="0"/>
                    <a:pt x="112" y="0"/>
                    <a:pt x="112" y="0"/>
                  </a:cubicBezTo>
                  <a:cubicBezTo>
                    <a:pt x="131" y="19"/>
                    <a:pt x="131" y="19"/>
                    <a:pt x="131" y="19"/>
                  </a:cubicBezTo>
                  <a:cubicBezTo>
                    <a:pt x="131" y="19"/>
                    <a:pt x="131" y="20"/>
                    <a:pt x="131" y="20"/>
                  </a:cubicBezTo>
                  <a:cubicBezTo>
                    <a:pt x="47" y="103"/>
                    <a:pt x="47" y="103"/>
                    <a:pt x="47" y="103"/>
                  </a:cubicBezTo>
                  <a:cubicBezTo>
                    <a:pt x="47" y="104"/>
                    <a:pt x="46" y="104"/>
                    <a:pt x="46" y="103"/>
                  </a:cubicBezTo>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742">
                <a:defRPr/>
              </a:pPr>
              <a:endParaRPr lang="en-US" kern="0">
                <a:solidFill>
                  <a:srgbClr val="505050"/>
                </a:solidFill>
              </a:endParaRPr>
            </a:p>
          </p:txBody>
        </p:sp>
      </p:grpSp>
      <p:grpSp>
        <p:nvGrpSpPr>
          <p:cNvPr id="9" name="Group 8"/>
          <p:cNvGrpSpPr/>
          <p:nvPr/>
        </p:nvGrpSpPr>
        <p:grpSpPr>
          <a:xfrm>
            <a:off x="10870900" y="2950092"/>
            <a:ext cx="296054" cy="252705"/>
            <a:chOff x="5734707" y="2950092"/>
            <a:chExt cx="296054" cy="252705"/>
          </a:xfrm>
        </p:grpSpPr>
        <p:sp>
          <p:nvSpPr>
            <p:cNvPr id="33" name="Freeform 11"/>
            <p:cNvSpPr>
              <a:spLocks/>
            </p:cNvSpPr>
            <p:nvPr/>
          </p:nvSpPr>
          <p:spPr bwMode="auto">
            <a:xfrm>
              <a:off x="5835532" y="3012225"/>
              <a:ext cx="94403" cy="190572"/>
            </a:xfrm>
            <a:custGeom>
              <a:avLst/>
              <a:gdLst>
                <a:gd name="T0" fmla="*/ 216 w 1176"/>
                <a:gd name="T1" fmla="*/ 0 h 2374"/>
                <a:gd name="T2" fmla="*/ 194 w 1176"/>
                <a:gd name="T3" fmla="*/ 0 h 2374"/>
                <a:gd name="T4" fmla="*/ 152 w 1176"/>
                <a:gd name="T5" fmla="*/ 8 h 2374"/>
                <a:gd name="T6" fmla="*/ 114 w 1176"/>
                <a:gd name="T7" fmla="*/ 26 h 2374"/>
                <a:gd name="T8" fmla="*/ 80 w 1176"/>
                <a:gd name="T9" fmla="*/ 48 h 2374"/>
                <a:gd name="T10" fmla="*/ 50 w 1176"/>
                <a:gd name="T11" fmla="*/ 78 h 2374"/>
                <a:gd name="T12" fmla="*/ 26 w 1176"/>
                <a:gd name="T13" fmla="*/ 112 h 2374"/>
                <a:gd name="T14" fmla="*/ 10 w 1176"/>
                <a:gd name="T15" fmla="*/ 150 h 2374"/>
                <a:gd name="T16" fmla="*/ 2 w 1176"/>
                <a:gd name="T17" fmla="*/ 192 h 2374"/>
                <a:gd name="T18" fmla="*/ 0 w 1176"/>
                <a:gd name="T19" fmla="*/ 1226 h 2374"/>
                <a:gd name="T20" fmla="*/ 2 w 1176"/>
                <a:gd name="T21" fmla="*/ 1248 h 2374"/>
                <a:gd name="T22" fmla="*/ 10 w 1176"/>
                <a:gd name="T23" fmla="*/ 1290 h 2374"/>
                <a:gd name="T24" fmla="*/ 26 w 1176"/>
                <a:gd name="T25" fmla="*/ 1330 h 2374"/>
                <a:gd name="T26" fmla="*/ 50 w 1176"/>
                <a:gd name="T27" fmla="*/ 1364 h 2374"/>
                <a:gd name="T28" fmla="*/ 80 w 1176"/>
                <a:gd name="T29" fmla="*/ 1392 h 2374"/>
                <a:gd name="T30" fmla="*/ 114 w 1176"/>
                <a:gd name="T31" fmla="*/ 1416 h 2374"/>
                <a:gd name="T32" fmla="*/ 152 w 1176"/>
                <a:gd name="T33" fmla="*/ 1432 h 2374"/>
                <a:gd name="T34" fmla="*/ 194 w 1176"/>
                <a:gd name="T35" fmla="*/ 1442 h 2374"/>
                <a:gd name="T36" fmla="*/ 218 w 1176"/>
                <a:gd name="T37" fmla="*/ 1442 h 2374"/>
                <a:gd name="T38" fmla="*/ 218 w 1176"/>
                <a:gd name="T39" fmla="*/ 2158 h 2374"/>
                <a:gd name="T40" fmla="*/ 222 w 1176"/>
                <a:gd name="T41" fmla="*/ 2202 h 2374"/>
                <a:gd name="T42" fmla="*/ 234 w 1176"/>
                <a:gd name="T43" fmla="*/ 2242 h 2374"/>
                <a:gd name="T44" fmla="*/ 254 w 1176"/>
                <a:gd name="T45" fmla="*/ 2280 h 2374"/>
                <a:gd name="T46" fmla="*/ 278 w 1176"/>
                <a:gd name="T47" fmla="*/ 2312 h 2374"/>
                <a:gd name="T48" fmla="*/ 310 w 1176"/>
                <a:gd name="T49" fmla="*/ 2338 h 2374"/>
                <a:gd name="T50" fmla="*/ 346 w 1176"/>
                <a:gd name="T51" fmla="*/ 2358 h 2374"/>
                <a:gd name="T52" fmla="*/ 384 w 1176"/>
                <a:gd name="T53" fmla="*/ 2370 h 2374"/>
                <a:gd name="T54" fmla="*/ 428 w 1176"/>
                <a:gd name="T55" fmla="*/ 2374 h 2374"/>
                <a:gd name="T56" fmla="*/ 748 w 1176"/>
                <a:gd name="T57" fmla="*/ 2374 h 2374"/>
                <a:gd name="T58" fmla="*/ 792 w 1176"/>
                <a:gd name="T59" fmla="*/ 2370 h 2374"/>
                <a:gd name="T60" fmla="*/ 830 w 1176"/>
                <a:gd name="T61" fmla="*/ 2358 h 2374"/>
                <a:gd name="T62" fmla="*/ 866 w 1176"/>
                <a:gd name="T63" fmla="*/ 2338 h 2374"/>
                <a:gd name="T64" fmla="*/ 898 w 1176"/>
                <a:gd name="T65" fmla="*/ 2312 h 2374"/>
                <a:gd name="T66" fmla="*/ 922 w 1176"/>
                <a:gd name="T67" fmla="*/ 2280 h 2374"/>
                <a:gd name="T68" fmla="*/ 942 w 1176"/>
                <a:gd name="T69" fmla="*/ 2242 h 2374"/>
                <a:gd name="T70" fmla="*/ 954 w 1176"/>
                <a:gd name="T71" fmla="*/ 2202 h 2374"/>
                <a:gd name="T72" fmla="*/ 958 w 1176"/>
                <a:gd name="T73" fmla="*/ 2158 h 2374"/>
                <a:gd name="T74" fmla="*/ 960 w 1176"/>
                <a:gd name="T75" fmla="*/ 1442 h 2374"/>
                <a:gd name="T76" fmla="*/ 982 w 1176"/>
                <a:gd name="T77" fmla="*/ 1442 h 2374"/>
                <a:gd name="T78" fmla="*/ 1024 w 1176"/>
                <a:gd name="T79" fmla="*/ 1432 h 2374"/>
                <a:gd name="T80" fmla="*/ 1062 w 1176"/>
                <a:gd name="T81" fmla="*/ 1416 h 2374"/>
                <a:gd name="T82" fmla="*/ 1096 w 1176"/>
                <a:gd name="T83" fmla="*/ 1392 h 2374"/>
                <a:gd name="T84" fmla="*/ 1126 w 1176"/>
                <a:gd name="T85" fmla="*/ 1364 h 2374"/>
                <a:gd name="T86" fmla="*/ 1150 w 1176"/>
                <a:gd name="T87" fmla="*/ 1330 h 2374"/>
                <a:gd name="T88" fmla="*/ 1166 w 1176"/>
                <a:gd name="T89" fmla="*/ 1290 h 2374"/>
                <a:gd name="T90" fmla="*/ 1174 w 1176"/>
                <a:gd name="T91" fmla="*/ 1248 h 2374"/>
                <a:gd name="T92" fmla="*/ 1176 w 1176"/>
                <a:gd name="T93" fmla="*/ 214 h 2374"/>
                <a:gd name="T94" fmla="*/ 1174 w 1176"/>
                <a:gd name="T95" fmla="*/ 192 h 2374"/>
                <a:gd name="T96" fmla="*/ 1166 w 1176"/>
                <a:gd name="T97" fmla="*/ 150 h 2374"/>
                <a:gd name="T98" fmla="*/ 1150 w 1176"/>
                <a:gd name="T99" fmla="*/ 112 h 2374"/>
                <a:gd name="T100" fmla="*/ 1126 w 1176"/>
                <a:gd name="T101" fmla="*/ 78 h 2374"/>
                <a:gd name="T102" fmla="*/ 1096 w 1176"/>
                <a:gd name="T103" fmla="*/ 48 h 2374"/>
                <a:gd name="T104" fmla="*/ 1062 w 1176"/>
                <a:gd name="T105" fmla="*/ 26 h 2374"/>
                <a:gd name="T106" fmla="*/ 1024 w 1176"/>
                <a:gd name="T107" fmla="*/ 8 h 2374"/>
                <a:gd name="T108" fmla="*/ 982 w 1176"/>
                <a:gd name="T109" fmla="*/ 0 h 2374"/>
                <a:gd name="T110" fmla="*/ 960 w 1176"/>
                <a:gd name="T111" fmla="*/ 0 h 2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6" h="2374">
                  <a:moveTo>
                    <a:pt x="960" y="0"/>
                  </a:moveTo>
                  <a:lnTo>
                    <a:pt x="216" y="0"/>
                  </a:lnTo>
                  <a:lnTo>
                    <a:pt x="216" y="0"/>
                  </a:lnTo>
                  <a:lnTo>
                    <a:pt x="194" y="0"/>
                  </a:lnTo>
                  <a:lnTo>
                    <a:pt x="172" y="4"/>
                  </a:lnTo>
                  <a:lnTo>
                    <a:pt x="152" y="8"/>
                  </a:lnTo>
                  <a:lnTo>
                    <a:pt x="132" y="16"/>
                  </a:lnTo>
                  <a:lnTo>
                    <a:pt x="114" y="26"/>
                  </a:lnTo>
                  <a:lnTo>
                    <a:pt x="96" y="36"/>
                  </a:lnTo>
                  <a:lnTo>
                    <a:pt x="80" y="48"/>
                  </a:lnTo>
                  <a:lnTo>
                    <a:pt x="64" y="62"/>
                  </a:lnTo>
                  <a:lnTo>
                    <a:pt x="50" y="78"/>
                  </a:lnTo>
                  <a:lnTo>
                    <a:pt x="38" y="94"/>
                  </a:lnTo>
                  <a:lnTo>
                    <a:pt x="26" y="112"/>
                  </a:lnTo>
                  <a:lnTo>
                    <a:pt x="18" y="130"/>
                  </a:lnTo>
                  <a:lnTo>
                    <a:pt x="10" y="150"/>
                  </a:lnTo>
                  <a:lnTo>
                    <a:pt x="4" y="172"/>
                  </a:lnTo>
                  <a:lnTo>
                    <a:pt x="2" y="192"/>
                  </a:lnTo>
                  <a:lnTo>
                    <a:pt x="0" y="214"/>
                  </a:lnTo>
                  <a:lnTo>
                    <a:pt x="0" y="1226"/>
                  </a:lnTo>
                  <a:lnTo>
                    <a:pt x="0" y="1226"/>
                  </a:lnTo>
                  <a:lnTo>
                    <a:pt x="2" y="1248"/>
                  </a:lnTo>
                  <a:lnTo>
                    <a:pt x="4" y="1270"/>
                  </a:lnTo>
                  <a:lnTo>
                    <a:pt x="10" y="1290"/>
                  </a:lnTo>
                  <a:lnTo>
                    <a:pt x="18" y="1310"/>
                  </a:lnTo>
                  <a:lnTo>
                    <a:pt x="26" y="1330"/>
                  </a:lnTo>
                  <a:lnTo>
                    <a:pt x="38" y="1348"/>
                  </a:lnTo>
                  <a:lnTo>
                    <a:pt x="50" y="1364"/>
                  </a:lnTo>
                  <a:lnTo>
                    <a:pt x="64" y="1378"/>
                  </a:lnTo>
                  <a:lnTo>
                    <a:pt x="80" y="1392"/>
                  </a:lnTo>
                  <a:lnTo>
                    <a:pt x="96" y="1406"/>
                  </a:lnTo>
                  <a:lnTo>
                    <a:pt x="114" y="1416"/>
                  </a:lnTo>
                  <a:lnTo>
                    <a:pt x="132" y="1426"/>
                  </a:lnTo>
                  <a:lnTo>
                    <a:pt x="152" y="1432"/>
                  </a:lnTo>
                  <a:lnTo>
                    <a:pt x="172" y="1438"/>
                  </a:lnTo>
                  <a:lnTo>
                    <a:pt x="194" y="1442"/>
                  </a:lnTo>
                  <a:lnTo>
                    <a:pt x="216" y="1442"/>
                  </a:lnTo>
                  <a:lnTo>
                    <a:pt x="218" y="1442"/>
                  </a:lnTo>
                  <a:lnTo>
                    <a:pt x="218" y="2158"/>
                  </a:lnTo>
                  <a:lnTo>
                    <a:pt x="218" y="2158"/>
                  </a:lnTo>
                  <a:lnTo>
                    <a:pt x="218" y="2180"/>
                  </a:lnTo>
                  <a:lnTo>
                    <a:pt x="222" y="2202"/>
                  </a:lnTo>
                  <a:lnTo>
                    <a:pt x="226" y="2222"/>
                  </a:lnTo>
                  <a:lnTo>
                    <a:pt x="234" y="2242"/>
                  </a:lnTo>
                  <a:lnTo>
                    <a:pt x="242" y="2262"/>
                  </a:lnTo>
                  <a:lnTo>
                    <a:pt x="254" y="2280"/>
                  </a:lnTo>
                  <a:lnTo>
                    <a:pt x="266" y="2296"/>
                  </a:lnTo>
                  <a:lnTo>
                    <a:pt x="278" y="2312"/>
                  </a:lnTo>
                  <a:lnTo>
                    <a:pt x="294" y="2326"/>
                  </a:lnTo>
                  <a:lnTo>
                    <a:pt x="310" y="2338"/>
                  </a:lnTo>
                  <a:lnTo>
                    <a:pt x="328" y="2348"/>
                  </a:lnTo>
                  <a:lnTo>
                    <a:pt x="346" y="2358"/>
                  </a:lnTo>
                  <a:lnTo>
                    <a:pt x="364" y="2364"/>
                  </a:lnTo>
                  <a:lnTo>
                    <a:pt x="384" y="2370"/>
                  </a:lnTo>
                  <a:lnTo>
                    <a:pt x="406" y="2374"/>
                  </a:lnTo>
                  <a:lnTo>
                    <a:pt x="428" y="2374"/>
                  </a:lnTo>
                  <a:lnTo>
                    <a:pt x="748" y="2374"/>
                  </a:lnTo>
                  <a:lnTo>
                    <a:pt x="748" y="2374"/>
                  </a:lnTo>
                  <a:lnTo>
                    <a:pt x="770" y="2374"/>
                  </a:lnTo>
                  <a:lnTo>
                    <a:pt x="792" y="2370"/>
                  </a:lnTo>
                  <a:lnTo>
                    <a:pt x="812" y="2364"/>
                  </a:lnTo>
                  <a:lnTo>
                    <a:pt x="830" y="2358"/>
                  </a:lnTo>
                  <a:lnTo>
                    <a:pt x="848" y="2348"/>
                  </a:lnTo>
                  <a:lnTo>
                    <a:pt x="866" y="2338"/>
                  </a:lnTo>
                  <a:lnTo>
                    <a:pt x="882" y="2326"/>
                  </a:lnTo>
                  <a:lnTo>
                    <a:pt x="898" y="2312"/>
                  </a:lnTo>
                  <a:lnTo>
                    <a:pt x="910" y="2296"/>
                  </a:lnTo>
                  <a:lnTo>
                    <a:pt x="922" y="2280"/>
                  </a:lnTo>
                  <a:lnTo>
                    <a:pt x="934" y="2262"/>
                  </a:lnTo>
                  <a:lnTo>
                    <a:pt x="942" y="2242"/>
                  </a:lnTo>
                  <a:lnTo>
                    <a:pt x="950" y="2222"/>
                  </a:lnTo>
                  <a:lnTo>
                    <a:pt x="954" y="2202"/>
                  </a:lnTo>
                  <a:lnTo>
                    <a:pt x="958" y="2180"/>
                  </a:lnTo>
                  <a:lnTo>
                    <a:pt x="958" y="2158"/>
                  </a:lnTo>
                  <a:lnTo>
                    <a:pt x="958" y="1442"/>
                  </a:lnTo>
                  <a:lnTo>
                    <a:pt x="960" y="1442"/>
                  </a:lnTo>
                  <a:lnTo>
                    <a:pt x="960" y="1442"/>
                  </a:lnTo>
                  <a:lnTo>
                    <a:pt x="982" y="1442"/>
                  </a:lnTo>
                  <a:lnTo>
                    <a:pt x="1004" y="1438"/>
                  </a:lnTo>
                  <a:lnTo>
                    <a:pt x="1024" y="1432"/>
                  </a:lnTo>
                  <a:lnTo>
                    <a:pt x="1044" y="1426"/>
                  </a:lnTo>
                  <a:lnTo>
                    <a:pt x="1062" y="1416"/>
                  </a:lnTo>
                  <a:lnTo>
                    <a:pt x="1080" y="1406"/>
                  </a:lnTo>
                  <a:lnTo>
                    <a:pt x="1096" y="1392"/>
                  </a:lnTo>
                  <a:lnTo>
                    <a:pt x="1112" y="1380"/>
                  </a:lnTo>
                  <a:lnTo>
                    <a:pt x="1126" y="1364"/>
                  </a:lnTo>
                  <a:lnTo>
                    <a:pt x="1138" y="1348"/>
                  </a:lnTo>
                  <a:lnTo>
                    <a:pt x="1150" y="1330"/>
                  </a:lnTo>
                  <a:lnTo>
                    <a:pt x="1158" y="1310"/>
                  </a:lnTo>
                  <a:lnTo>
                    <a:pt x="1166" y="1290"/>
                  </a:lnTo>
                  <a:lnTo>
                    <a:pt x="1172" y="1270"/>
                  </a:lnTo>
                  <a:lnTo>
                    <a:pt x="1174" y="1248"/>
                  </a:lnTo>
                  <a:lnTo>
                    <a:pt x="1176" y="1226"/>
                  </a:lnTo>
                  <a:lnTo>
                    <a:pt x="1176" y="214"/>
                  </a:lnTo>
                  <a:lnTo>
                    <a:pt x="1176" y="214"/>
                  </a:lnTo>
                  <a:lnTo>
                    <a:pt x="1174" y="192"/>
                  </a:lnTo>
                  <a:lnTo>
                    <a:pt x="1172" y="172"/>
                  </a:lnTo>
                  <a:lnTo>
                    <a:pt x="1166" y="150"/>
                  </a:lnTo>
                  <a:lnTo>
                    <a:pt x="1158" y="130"/>
                  </a:lnTo>
                  <a:lnTo>
                    <a:pt x="1150" y="112"/>
                  </a:lnTo>
                  <a:lnTo>
                    <a:pt x="1138" y="94"/>
                  </a:lnTo>
                  <a:lnTo>
                    <a:pt x="1126" y="78"/>
                  </a:lnTo>
                  <a:lnTo>
                    <a:pt x="1112" y="62"/>
                  </a:lnTo>
                  <a:lnTo>
                    <a:pt x="1096" y="48"/>
                  </a:lnTo>
                  <a:lnTo>
                    <a:pt x="1080" y="36"/>
                  </a:lnTo>
                  <a:lnTo>
                    <a:pt x="1062" y="26"/>
                  </a:lnTo>
                  <a:lnTo>
                    <a:pt x="1044" y="16"/>
                  </a:lnTo>
                  <a:lnTo>
                    <a:pt x="1024" y="8"/>
                  </a:lnTo>
                  <a:lnTo>
                    <a:pt x="1004" y="4"/>
                  </a:lnTo>
                  <a:lnTo>
                    <a:pt x="982" y="0"/>
                  </a:lnTo>
                  <a:lnTo>
                    <a:pt x="960" y="0"/>
                  </a:lnTo>
                  <a:lnTo>
                    <a:pt x="96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Freeform 12"/>
            <p:cNvSpPr>
              <a:spLocks/>
            </p:cNvSpPr>
            <p:nvPr/>
          </p:nvSpPr>
          <p:spPr bwMode="auto">
            <a:xfrm>
              <a:off x="5854477" y="2950092"/>
              <a:ext cx="56514" cy="56513"/>
            </a:xfrm>
            <a:custGeom>
              <a:avLst/>
              <a:gdLst>
                <a:gd name="T0" fmla="*/ 352 w 704"/>
                <a:gd name="T1" fmla="*/ 0 h 704"/>
                <a:gd name="T2" fmla="*/ 422 w 704"/>
                <a:gd name="T3" fmla="*/ 6 h 704"/>
                <a:gd name="T4" fmla="*/ 490 w 704"/>
                <a:gd name="T5" fmla="*/ 28 h 704"/>
                <a:gd name="T6" fmla="*/ 548 w 704"/>
                <a:gd name="T7" fmla="*/ 60 h 704"/>
                <a:gd name="T8" fmla="*/ 600 w 704"/>
                <a:gd name="T9" fmla="*/ 102 h 704"/>
                <a:gd name="T10" fmla="*/ 644 w 704"/>
                <a:gd name="T11" fmla="*/ 154 h 704"/>
                <a:gd name="T12" fmla="*/ 676 w 704"/>
                <a:gd name="T13" fmla="*/ 214 h 704"/>
                <a:gd name="T14" fmla="*/ 696 w 704"/>
                <a:gd name="T15" fmla="*/ 280 h 704"/>
                <a:gd name="T16" fmla="*/ 704 w 704"/>
                <a:gd name="T17" fmla="*/ 352 h 704"/>
                <a:gd name="T18" fmla="*/ 702 w 704"/>
                <a:gd name="T19" fmla="*/ 388 h 704"/>
                <a:gd name="T20" fmla="*/ 688 w 704"/>
                <a:gd name="T21" fmla="*/ 456 h 704"/>
                <a:gd name="T22" fmla="*/ 662 w 704"/>
                <a:gd name="T23" fmla="*/ 520 h 704"/>
                <a:gd name="T24" fmla="*/ 624 w 704"/>
                <a:gd name="T25" fmla="*/ 576 h 704"/>
                <a:gd name="T26" fmla="*/ 576 w 704"/>
                <a:gd name="T27" fmla="*/ 624 h 704"/>
                <a:gd name="T28" fmla="*/ 520 w 704"/>
                <a:gd name="T29" fmla="*/ 662 h 704"/>
                <a:gd name="T30" fmla="*/ 456 w 704"/>
                <a:gd name="T31" fmla="*/ 688 h 704"/>
                <a:gd name="T32" fmla="*/ 388 w 704"/>
                <a:gd name="T33" fmla="*/ 702 h 704"/>
                <a:gd name="T34" fmla="*/ 352 w 704"/>
                <a:gd name="T35" fmla="*/ 704 h 704"/>
                <a:gd name="T36" fmla="*/ 282 w 704"/>
                <a:gd name="T37" fmla="*/ 696 h 704"/>
                <a:gd name="T38" fmla="*/ 214 w 704"/>
                <a:gd name="T39" fmla="*/ 676 h 704"/>
                <a:gd name="T40" fmla="*/ 156 w 704"/>
                <a:gd name="T41" fmla="*/ 644 h 704"/>
                <a:gd name="T42" fmla="*/ 104 w 704"/>
                <a:gd name="T43" fmla="*/ 600 h 704"/>
                <a:gd name="T44" fmla="*/ 60 w 704"/>
                <a:gd name="T45" fmla="*/ 548 h 704"/>
                <a:gd name="T46" fmla="*/ 28 w 704"/>
                <a:gd name="T47" fmla="*/ 488 h 704"/>
                <a:gd name="T48" fmla="*/ 8 w 704"/>
                <a:gd name="T49" fmla="*/ 422 h 704"/>
                <a:gd name="T50" fmla="*/ 0 w 704"/>
                <a:gd name="T51" fmla="*/ 352 h 704"/>
                <a:gd name="T52" fmla="*/ 2 w 704"/>
                <a:gd name="T53" fmla="*/ 316 h 704"/>
                <a:gd name="T54" fmla="*/ 16 w 704"/>
                <a:gd name="T55" fmla="*/ 246 h 704"/>
                <a:gd name="T56" fmla="*/ 42 w 704"/>
                <a:gd name="T57" fmla="*/ 184 h 704"/>
                <a:gd name="T58" fmla="*/ 80 w 704"/>
                <a:gd name="T59" fmla="*/ 128 h 704"/>
                <a:gd name="T60" fmla="*/ 128 w 704"/>
                <a:gd name="T61" fmla="*/ 80 h 704"/>
                <a:gd name="T62" fmla="*/ 184 w 704"/>
                <a:gd name="T63" fmla="*/ 42 h 704"/>
                <a:gd name="T64" fmla="*/ 248 w 704"/>
                <a:gd name="T65" fmla="*/ 16 h 704"/>
                <a:gd name="T66" fmla="*/ 316 w 704"/>
                <a:gd name="T67" fmla="*/ 2 h 704"/>
                <a:gd name="T68" fmla="*/ 352 w 704"/>
                <a:gd name="T69"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4" h="704">
                  <a:moveTo>
                    <a:pt x="352" y="0"/>
                  </a:moveTo>
                  <a:lnTo>
                    <a:pt x="352" y="0"/>
                  </a:lnTo>
                  <a:lnTo>
                    <a:pt x="388" y="2"/>
                  </a:lnTo>
                  <a:lnTo>
                    <a:pt x="422" y="6"/>
                  </a:lnTo>
                  <a:lnTo>
                    <a:pt x="456" y="16"/>
                  </a:lnTo>
                  <a:lnTo>
                    <a:pt x="490" y="28"/>
                  </a:lnTo>
                  <a:lnTo>
                    <a:pt x="520" y="42"/>
                  </a:lnTo>
                  <a:lnTo>
                    <a:pt x="548" y="60"/>
                  </a:lnTo>
                  <a:lnTo>
                    <a:pt x="576" y="80"/>
                  </a:lnTo>
                  <a:lnTo>
                    <a:pt x="600" y="102"/>
                  </a:lnTo>
                  <a:lnTo>
                    <a:pt x="624" y="128"/>
                  </a:lnTo>
                  <a:lnTo>
                    <a:pt x="644" y="154"/>
                  </a:lnTo>
                  <a:lnTo>
                    <a:pt x="662" y="184"/>
                  </a:lnTo>
                  <a:lnTo>
                    <a:pt x="676" y="214"/>
                  </a:lnTo>
                  <a:lnTo>
                    <a:pt x="688" y="246"/>
                  </a:lnTo>
                  <a:lnTo>
                    <a:pt x="696" y="280"/>
                  </a:lnTo>
                  <a:lnTo>
                    <a:pt x="702" y="316"/>
                  </a:lnTo>
                  <a:lnTo>
                    <a:pt x="704" y="352"/>
                  </a:lnTo>
                  <a:lnTo>
                    <a:pt x="704" y="352"/>
                  </a:lnTo>
                  <a:lnTo>
                    <a:pt x="702" y="388"/>
                  </a:lnTo>
                  <a:lnTo>
                    <a:pt x="696" y="422"/>
                  </a:lnTo>
                  <a:lnTo>
                    <a:pt x="688" y="456"/>
                  </a:lnTo>
                  <a:lnTo>
                    <a:pt x="676" y="488"/>
                  </a:lnTo>
                  <a:lnTo>
                    <a:pt x="662" y="520"/>
                  </a:lnTo>
                  <a:lnTo>
                    <a:pt x="644" y="548"/>
                  </a:lnTo>
                  <a:lnTo>
                    <a:pt x="624" y="576"/>
                  </a:lnTo>
                  <a:lnTo>
                    <a:pt x="600" y="600"/>
                  </a:lnTo>
                  <a:lnTo>
                    <a:pt x="576" y="624"/>
                  </a:lnTo>
                  <a:lnTo>
                    <a:pt x="548" y="644"/>
                  </a:lnTo>
                  <a:lnTo>
                    <a:pt x="520" y="662"/>
                  </a:lnTo>
                  <a:lnTo>
                    <a:pt x="490" y="676"/>
                  </a:lnTo>
                  <a:lnTo>
                    <a:pt x="456" y="688"/>
                  </a:lnTo>
                  <a:lnTo>
                    <a:pt x="422" y="696"/>
                  </a:lnTo>
                  <a:lnTo>
                    <a:pt x="388" y="702"/>
                  </a:lnTo>
                  <a:lnTo>
                    <a:pt x="352" y="704"/>
                  </a:lnTo>
                  <a:lnTo>
                    <a:pt x="352" y="704"/>
                  </a:lnTo>
                  <a:lnTo>
                    <a:pt x="316" y="702"/>
                  </a:lnTo>
                  <a:lnTo>
                    <a:pt x="282" y="696"/>
                  </a:lnTo>
                  <a:lnTo>
                    <a:pt x="248" y="688"/>
                  </a:lnTo>
                  <a:lnTo>
                    <a:pt x="214" y="676"/>
                  </a:lnTo>
                  <a:lnTo>
                    <a:pt x="184" y="662"/>
                  </a:lnTo>
                  <a:lnTo>
                    <a:pt x="156" y="644"/>
                  </a:lnTo>
                  <a:lnTo>
                    <a:pt x="128" y="624"/>
                  </a:lnTo>
                  <a:lnTo>
                    <a:pt x="104" y="600"/>
                  </a:lnTo>
                  <a:lnTo>
                    <a:pt x="80" y="576"/>
                  </a:lnTo>
                  <a:lnTo>
                    <a:pt x="60" y="548"/>
                  </a:lnTo>
                  <a:lnTo>
                    <a:pt x="42" y="520"/>
                  </a:lnTo>
                  <a:lnTo>
                    <a:pt x="28" y="488"/>
                  </a:lnTo>
                  <a:lnTo>
                    <a:pt x="16" y="456"/>
                  </a:lnTo>
                  <a:lnTo>
                    <a:pt x="8" y="422"/>
                  </a:lnTo>
                  <a:lnTo>
                    <a:pt x="2" y="388"/>
                  </a:lnTo>
                  <a:lnTo>
                    <a:pt x="0" y="352"/>
                  </a:lnTo>
                  <a:lnTo>
                    <a:pt x="0" y="352"/>
                  </a:lnTo>
                  <a:lnTo>
                    <a:pt x="2" y="316"/>
                  </a:lnTo>
                  <a:lnTo>
                    <a:pt x="8" y="280"/>
                  </a:lnTo>
                  <a:lnTo>
                    <a:pt x="16" y="246"/>
                  </a:lnTo>
                  <a:lnTo>
                    <a:pt x="28" y="214"/>
                  </a:lnTo>
                  <a:lnTo>
                    <a:pt x="42" y="184"/>
                  </a:lnTo>
                  <a:lnTo>
                    <a:pt x="60" y="154"/>
                  </a:lnTo>
                  <a:lnTo>
                    <a:pt x="80" y="128"/>
                  </a:lnTo>
                  <a:lnTo>
                    <a:pt x="104" y="102"/>
                  </a:lnTo>
                  <a:lnTo>
                    <a:pt x="128" y="80"/>
                  </a:lnTo>
                  <a:lnTo>
                    <a:pt x="156" y="60"/>
                  </a:lnTo>
                  <a:lnTo>
                    <a:pt x="184" y="42"/>
                  </a:lnTo>
                  <a:lnTo>
                    <a:pt x="214" y="28"/>
                  </a:lnTo>
                  <a:lnTo>
                    <a:pt x="248" y="16"/>
                  </a:lnTo>
                  <a:lnTo>
                    <a:pt x="282" y="6"/>
                  </a:lnTo>
                  <a:lnTo>
                    <a:pt x="316" y="2"/>
                  </a:lnTo>
                  <a:lnTo>
                    <a:pt x="352" y="0"/>
                  </a:lnTo>
                  <a:lnTo>
                    <a:pt x="352"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Freeform 13"/>
            <p:cNvSpPr>
              <a:spLocks/>
            </p:cNvSpPr>
            <p:nvPr/>
          </p:nvSpPr>
          <p:spPr bwMode="auto">
            <a:xfrm>
              <a:off x="5949844" y="3018968"/>
              <a:ext cx="80917" cy="163279"/>
            </a:xfrm>
            <a:custGeom>
              <a:avLst/>
              <a:gdLst>
                <a:gd name="T0" fmla="*/ 186 w 1008"/>
                <a:gd name="T1" fmla="*/ 0 h 2034"/>
                <a:gd name="T2" fmla="*/ 166 w 1008"/>
                <a:gd name="T3" fmla="*/ 0 h 2034"/>
                <a:gd name="T4" fmla="*/ 130 w 1008"/>
                <a:gd name="T5" fmla="*/ 8 h 2034"/>
                <a:gd name="T6" fmla="*/ 98 w 1008"/>
                <a:gd name="T7" fmla="*/ 22 h 2034"/>
                <a:gd name="T8" fmla="*/ 68 w 1008"/>
                <a:gd name="T9" fmla="*/ 42 h 2034"/>
                <a:gd name="T10" fmla="*/ 42 w 1008"/>
                <a:gd name="T11" fmla="*/ 66 h 2034"/>
                <a:gd name="T12" fmla="*/ 22 w 1008"/>
                <a:gd name="T13" fmla="*/ 96 h 2034"/>
                <a:gd name="T14" fmla="*/ 8 w 1008"/>
                <a:gd name="T15" fmla="*/ 130 h 2034"/>
                <a:gd name="T16" fmla="*/ 2 w 1008"/>
                <a:gd name="T17" fmla="*/ 166 h 2034"/>
                <a:gd name="T18" fmla="*/ 0 w 1008"/>
                <a:gd name="T19" fmla="*/ 1052 h 2034"/>
                <a:gd name="T20" fmla="*/ 2 w 1008"/>
                <a:gd name="T21" fmla="*/ 1070 h 2034"/>
                <a:gd name="T22" fmla="*/ 8 w 1008"/>
                <a:gd name="T23" fmla="*/ 1106 h 2034"/>
                <a:gd name="T24" fmla="*/ 22 w 1008"/>
                <a:gd name="T25" fmla="*/ 1140 h 2034"/>
                <a:gd name="T26" fmla="*/ 42 w 1008"/>
                <a:gd name="T27" fmla="*/ 1168 h 2034"/>
                <a:gd name="T28" fmla="*/ 68 w 1008"/>
                <a:gd name="T29" fmla="*/ 1194 h 2034"/>
                <a:gd name="T30" fmla="*/ 98 w 1008"/>
                <a:gd name="T31" fmla="*/ 1214 h 2034"/>
                <a:gd name="T32" fmla="*/ 130 w 1008"/>
                <a:gd name="T33" fmla="*/ 1228 h 2034"/>
                <a:gd name="T34" fmla="*/ 166 w 1008"/>
                <a:gd name="T35" fmla="*/ 1236 h 2034"/>
                <a:gd name="T36" fmla="*/ 186 w 1008"/>
                <a:gd name="T37" fmla="*/ 1236 h 2034"/>
                <a:gd name="T38" fmla="*/ 186 w 1008"/>
                <a:gd name="T39" fmla="*/ 1850 h 2034"/>
                <a:gd name="T40" fmla="*/ 190 w 1008"/>
                <a:gd name="T41" fmla="*/ 1888 h 2034"/>
                <a:gd name="T42" fmla="*/ 200 w 1008"/>
                <a:gd name="T43" fmla="*/ 1922 h 2034"/>
                <a:gd name="T44" fmla="*/ 218 w 1008"/>
                <a:gd name="T45" fmla="*/ 1954 h 2034"/>
                <a:gd name="T46" fmla="*/ 240 w 1008"/>
                <a:gd name="T47" fmla="*/ 1980 h 2034"/>
                <a:gd name="T48" fmla="*/ 266 w 1008"/>
                <a:gd name="T49" fmla="*/ 2004 h 2034"/>
                <a:gd name="T50" fmla="*/ 296 w 1008"/>
                <a:gd name="T51" fmla="*/ 2020 h 2034"/>
                <a:gd name="T52" fmla="*/ 330 w 1008"/>
                <a:gd name="T53" fmla="*/ 2030 h 2034"/>
                <a:gd name="T54" fmla="*/ 366 w 1008"/>
                <a:gd name="T55" fmla="*/ 2034 h 2034"/>
                <a:gd name="T56" fmla="*/ 642 w 1008"/>
                <a:gd name="T57" fmla="*/ 2034 h 2034"/>
                <a:gd name="T58" fmla="*/ 678 w 1008"/>
                <a:gd name="T59" fmla="*/ 2030 h 2034"/>
                <a:gd name="T60" fmla="*/ 712 w 1008"/>
                <a:gd name="T61" fmla="*/ 2020 h 2034"/>
                <a:gd name="T62" fmla="*/ 742 w 1008"/>
                <a:gd name="T63" fmla="*/ 2004 h 2034"/>
                <a:gd name="T64" fmla="*/ 768 w 1008"/>
                <a:gd name="T65" fmla="*/ 1980 h 2034"/>
                <a:gd name="T66" fmla="*/ 790 w 1008"/>
                <a:gd name="T67" fmla="*/ 1954 h 2034"/>
                <a:gd name="T68" fmla="*/ 808 w 1008"/>
                <a:gd name="T69" fmla="*/ 1922 h 2034"/>
                <a:gd name="T70" fmla="*/ 818 w 1008"/>
                <a:gd name="T71" fmla="*/ 1888 h 2034"/>
                <a:gd name="T72" fmla="*/ 822 w 1008"/>
                <a:gd name="T73" fmla="*/ 1850 h 2034"/>
                <a:gd name="T74" fmla="*/ 822 w 1008"/>
                <a:gd name="T75" fmla="*/ 1236 h 2034"/>
                <a:gd name="T76" fmla="*/ 842 w 1008"/>
                <a:gd name="T77" fmla="*/ 1234 h 2034"/>
                <a:gd name="T78" fmla="*/ 878 w 1008"/>
                <a:gd name="T79" fmla="*/ 1228 h 2034"/>
                <a:gd name="T80" fmla="*/ 910 w 1008"/>
                <a:gd name="T81" fmla="*/ 1214 h 2034"/>
                <a:gd name="T82" fmla="*/ 940 w 1008"/>
                <a:gd name="T83" fmla="*/ 1194 h 2034"/>
                <a:gd name="T84" fmla="*/ 964 w 1008"/>
                <a:gd name="T85" fmla="*/ 1168 h 2034"/>
                <a:gd name="T86" fmla="*/ 984 w 1008"/>
                <a:gd name="T87" fmla="*/ 1140 h 2034"/>
                <a:gd name="T88" fmla="*/ 998 w 1008"/>
                <a:gd name="T89" fmla="*/ 1106 h 2034"/>
                <a:gd name="T90" fmla="*/ 1006 w 1008"/>
                <a:gd name="T91" fmla="*/ 1070 h 2034"/>
                <a:gd name="T92" fmla="*/ 1008 w 1008"/>
                <a:gd name="T93" fmla="*/ 184 h 2034"/>
                <a:gd name="T94" fmla="*/ 1006 w 1008"/>
                <a:gd name="T95" fmla="*/ 166 h 2034"/>
                <a:gd name="T96" fmla="*/ 998 w 1008"/>
                <a:gd name="T97" fmla="*/ 130 h 2034"/>
                <a:gd name="T98" fmla="*/ 984 w 1008"/>
                <a:gd name="T99" fmla="*/ 96 h 2034"/>
                <a:gd name="T100" fmla="*/ 966 w 1008"/>
                <a:gd name="T101" fmla="*/ 66 h 2034"/>
                <a:gd name="T102" fmla="*/ 940 w 1008"/>
                <a:gd name="T103" fmla="*/ 42 h 2034"/>
                <a:gd name="T104" fmla="*/ 910 w 1008"/>
                <a:gd name="T105" fmla="*/ 22 h 2034"/>
                <a:gd name="T106" fmla="*/ 878 w 1008"/>
                <a:gd name="T107" fmla="*/ 8 h 2034"/>
                <a:gd name="T108" fmla="*/ 842 w 1008"/>
                <a:gd name="T109" fmla="*/ 0 h 2034"/>
                <a:gd name="T110" fmla="*/ 822 w 1008"/>
                <a:gd name="T111" fmla="*/ 0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8" h="2034">
                  <a:moveTo>
                    <a:pt x="822" y="0"/>
                  </a:moveTo>
                  <a:lnTo>
                    <a:pt x="186" y="0"/>
                  </a:lnTo>
                  <a:lnTo>
                    <a:pt x="186" y="0"/>
                  </a:lnTo>
                  <a:lnTo>
                    <a:pt x="166" y="0"/>
                  </a:lnTo>
                  <a:lnTo>
                    <a:pt x="148" y="4"/>
                  </a:lnTo>
                  <a:lnTo>
                    <a:pt x="130" y="8"/>
                  </a:lnTo>
                  <a:lnTo>
                    <a:pt x="114" y="14"/>
                  </a:lnTo>
                  <a:lnTo>
                    <a:pt x="98" y="22"/>
                  </a:lnTo>
                  <a:lnTo>
                    <a:pt x="82" y="30"/>
                  </a:lnTo>
                  <a:lnTo>
                    <a:pt x="68" y="42"/>
                  </a:lnTo>
                  <a:lnTo>
                    <a:pt x="54" y="54"/>
                  </a:lnTo>
                  <a:lnTo>
                    <a:pt x="42" y="66"/>
                  </a:lnTo>
                  <a:lnTo>
                    <a:pt x="32" y="80"/>
                  </a:lnTo>
                  <a:lnTo>
                    <a:pt x="22" y="96"/>
                  </a:lnTo>
                  <a:lnTo>
                    <a:pt x="16" y="112"/>
                  </a:lnTo>
                  <a:lnTo>
                    <a:pt x="8" y="130"/>
                  </a:lnTo>
                  <a:lnTo>
                    <a:pt x="4" y="146"/>
                  </a:lnTo>
                  <a:lnTo>
                    <a:pt x="2" y="166"/>
                  </a:lnTo>
                  <a:lnTo>
                    <a:pt x="0" y="184"/>
                  </a:lnTo>
                  <a:lnTo>
                    <a:pt x="0" y="1052"/>
                  </a:lnTo>
                  <a:lnTo>
                    <a:pt x="0" y="1052"/>
                  </a:lnTo>
                  <a:lnTo>
                    <a:pt x="2" y="1070"/>
                  </a:lnTo>
                  <a:lnTo>
                    <a:pt x="4" y="1088"/>
                  </a:lnTo>
                  <a:lnTo>
                    <a:pt x="8" y="1106"/>
                  </a:lnTo>
                  <a:lnTo>
                    <a:pt x="16" y="1124"/>
                  </a:lnTo>
                  <a:lnTo>
                    <a:pt x="22" y="1140"/>
                  </a:lnTo>
                  <a:lnTo>
                    <a:pt x="32" y="1154"/>
                  </a:lnTo>
                  <a:lnTo>
                    <a:pt x="42" y="1168"/>
                  </a:lnTo>
                  <a:lnTo>
                    <a:pt x="54" y="1182"/>
                  </a:lnTo>
                  <a:lnTo>
                    <a:pt x="68" y="1194"/>
                  </a:lnTo>
                  <a:lnTo>
                    <a:pt x="82" y="1204"/>
                  </a:lnTo>
                  <a:lnTo>
                    <a:pt x="98" y="1214"/>
                  </a:lnTo>
                  <a:lnTo>
                    <a:pt x="114" y="1222"/>
                  </a:lnTo>
                  <a:lnTo>
                    <a:pt x="130" y="1228"/>
                  </a:lnTo>
                  <a:lnTo>
                    <a:pt x="148" y="1232"/>
                  </a:lnTo>
                  <a:lnTo>
                    <a:pt x="166" y="1236"/>
                  </a:lnTo>
                  <a:lnTo>
                    <a:pt x="186" y="1236"/>
                  </a:lnTo>
                  <a:lnTo>
                    <a:pt x="186" y="1236"/>
                  </a:lnTo>
                  <a:lnTo>
                    <a:pt x="186" y="1850"/>
                  </a:lnTo>
                  <a:lnTo>
                    <a:pt x="186" y="1850"/>
                  </a:lnTo>
                  <a:lnTo>
                    <a:pt x="188" y="1868"/>
                  </a:lnTo>
                  <a:lnTo>
                    <a:pt x="190" y="1888"/>
                  </a:lnTo>
                  <a:lnTo>
                    <a:pt x="194" y="1904"/>
                  </a:lnTo>
                  <a:lnTo>
                    <a:pt x="200" y="1922"/>
                  </a:lnTo>
                  <a:lnTo>
                    <a:pt x="208" y="1938"/>
                  </a:lnTo>
                  <a:lnTo>
                    <a:pt x="218" y="1954"/>
                  </a:lnTo>
                  <a:lnTo>
                    <a:pt x="228" y="1968"/>
                  </a:lnTo>
                  <a:lnTo>
                    <a:pt x="240" y="1980"/>
                  </a:lnTo>
                  <a:lnTo>
                    <a:pt x="252" y="1992"/>
                  </a:lnTo>
                  <a:lnTo>
                    <a:pt x="266" y="2004"/>
                  </a:lnTo>
                  <a:lnTo>
                    <a:pt x="280" y="2012"/>
                  </a:lnTo>
                  <a:lnTo>
                    <a:pt x="296" y="2020"/>
                  </a:lnTo>
                  <a:lnTo>
                    <a:pt x="312" y="2026"/>
                  </a:lnTo>
                  <a:lnTo>
                    <a:pt x="330" y="2030"/>
                  </a:lnTo>
                  <a:lnTo>
                    <a:pt x="348" y="2034"/>
                  </a:lnTo>
                  <a:lnTo>
                    <a:pt x="366" y="2034"/>
                  </a:lnTo>
                  <a:lnTo>
                    <a:pt x="642" y="2034"/>
                  </a:lnTo>
                  <a:lnTo>
                    <a:pt x="642" y="2034"/>
                  </a:lnTo>
                  <a:lnTo>
                    <a:pt x="660" y="2034"/>
                  </a:lnTo>
                  <a:lnTo>
                    <a:pt x="678" y="2030"/>
                  </a:lnTo>
                  <a:lnTo>
                    <a:pt x="696" y="2026"/>
                  </a:lnTo>
                  <a:lnTo>
                    <a:pt x="712" y="2020"/>
                  </a:lnTo>
                  <a:lnTo>
                    <a:pt x="728" y="2012"/>
                  </a:lnTo>
                  <a:lnTo>
                    <a:pt x="742" y="2004"/>
                  </a:lnTo>
                  <a:lnTo>
                    <a:pt x="756" y="1992"/>
                  </a:lnTo>
                  <a:lnTo>
                    <a:pt x="768" y="1980"/>
                  </a:lnTo>
                  <a:lnTo>
                    <a:pt x="780" y="1968"/>
                  </a:lnTo>
                  <a:lnTo>
                    <a:pt x="790" y="1954"/>
                  </a:lnTo>
                  <a:lnTo>
                    <a:pt x="800" y="1938"/>
                  </a:lnTo>
                  <a:lnTo>
                    <a:pt x="808" y="1922"/>
                  </a:lnTo>
                  <a:lnTo>
                    <a:pt x="814" y="1904"/>
                  </a:lnTo>
                  <a:lnTo>
                    <a:pt x="818" y="1888"/>
                  </a:lnTo>
                  <a:lnTo>
                    <a:pt x="820" y="1868"/>
                  </a:lnTo>
                  <a:lnTo>
                    <a:pt x="822" y="1850"/>
                  </a:lnTo>
                  <a:lnTo>
                    <a:pt x="822" y="1236"/>
                  </a:lnTo>
                  <a:lnTo>
                    <a:pt x="822" y="1236"/>
                  </a:lnTo>
                  <a:lnTo>
                    <a:pt x="822" y="1236"/>
                  </a:lnTo>
                  <a:lnTo>
                    <a:pt x="842" y="1234"/>
                  </a:lnTo>
                  <a:lnTo>
                    <a:pt x="860" y="1232"/>
                  </a:lnTo>
                  <a:lnTo>
                    <a:pt x="878" y="1228"/>
                  </a:lnTo>
                  <a:lnTo>
                    <a:pt x="894" y="1222"/>
                  </a:lnTo>
                  <a:lnTo>
                    <a:pt x="910" y="1214"/>
                  </a:lnTo>
                  <a:lnTo>
                    <a:pt x="926" y="1204"/>
                  </a:lnTo>
                  <a:lnTo>
                    <a:pt x="940" y="1194"/>
                  </a:lnTo>
                  <a:lnTo>
                    <a:pt x="952" y="1182"/>
                  </a:lnTo>
                  <a:lnTo>
                    <a:pt x="964" y="1168"/>
                  </a:lnTo>
                  <a:lnTo>
                    <a:pt x="976" y="1154"/>
                  </a:lnTo>
                  <a:lnTo>
                    <a:pt x="984" y="1140"/>
                  </a:lnTo>
                  <a:lnTo>
                    <a:pt x="992" y="1122"/>
                  </a:lnTo>
                  <a:lnTo>
                    <a:pt x="998" y="1106"/>
                  </a:lnTo>
                  <a:lnTo>
                    <a:pt x="1004" y="1088"/>
                  </a:lnTo>
                  <a:lnTo>
                    <a:pt x="1006" y="1070"/>
                  </a:lnTo>
                  <a:lnTo>
                    <a:pt x="1008" y="1050"/>
                  </a:lnTo>
                  <a:lnTo>
                    <a:pt x="1008" y="184"/>
                  </a:lnTo>
                  <a:lnTo>
                    <a:pt x="1008" y="184"/>
                  </a:lnTo>
                  <a:lnTo>
                    <a:pt x="1006" y="166"/>
                  </a:lnTo>
                  <a:lnTo>
                    <a:pt x="1004" y="146"/>
                  </a:lnTo>
                  <a:lnTo>
                    <a:pt x="998" y="130"/>
                  </a:lnTo>
                  <a:lnTo>
                    <a:pt x="992" y="112"/>
                  </a:lnTo>
                  <a:lnTo>
                    <a:pt x="984" y="96"/>
                  </a:lnTo>
                  <a:lnTo>
                    <a:pt x="976" y="80"/>
                  </a:lnTo>
                  <a:lnTo>
                    <a:pt x="966" y="66"/>
                  </a:lnTo>
                  <a:lnTo>
                    <a:pt x="954" y="54"/>
                  </a:lnTo>
                  <a:lnTo>
                    <a:pt x="940" y="42"/>
                  </a:lnTo>
                  <a:lnTo>
                    <a:pt x="926" y="30"/>
                  </a:lnTo>
                  <a:lnTo>
                    <a:pt x="910" y="22"/>
                  </a:lnTo>
                  <a:lnTo>
                    <a:pt x="894" y="14"/>
                  </a:lnTo>
                  <a:lnTo>
                    <a:pt x="878" y="8"/>
                  </a:lnTo>
                  <a:lnTo>
                    <a:pt x="860" y="4"/>
                  </a:lnTo>
                  <a:lnTo>
                    <a:pt x="842" y="0"/>
                  </a:lnTo>
                  <a:lnTo>
                    <a:pt x="822" y="0"/>
                  </a:lnTo>
                  <a:lnTo>
                    <a:pt x="822"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Freeform 14"/>
            <p:cNvSpPr>
              <a:spLocks/>
            </p:cNvSpPr>
            <p:nvPr/>
          </p:nvSpPr>
          <p:spPr bwMode="auto">
            <a:xfrm>
              <a:off x="5966059" y="2965665"/>
              <a:ext cx="48486" cy="48486"/>
            </a:xfrm>
            <a:custGeom>
              <a:avLst/>
              <a:gdLst>
                <a:gd name="T0" fmla="*/ 302 w 604"/>
                <a:gd name="T1" fmla="*/ 0 h 604"/>
                <a:gd name="T2" fmla="*/ 362 w 604"/>
                <a:gd name="T3" fmla="*/ 6 h 604"/>
                <a:gd name="T4" fmla="*/ 420 w 604"/>
                <a:gd name="T5" fmla="*/ 24 h 604"/>
                <a:gd name="T6" fmla="*/ 470 w 604"/>
                <a:gd name="T7" fmla="*/ 52 h 604"/>
                <a:gd name="T8" fmla="*/ 516 w 604"/>
                <a:gd name="T9" fmla="*/ 88 h 604"/>
                <a:gd name="T10" fmla="*/ 552 w 604"/>
                <a:gd name="T11" fmla="*/ 134 h 604"/>
                <a:gd name="T12" fmla="*/ 580 w 604"/>
                <a:gd name="T13" fmla="*/ 184 h 604"/>
                <a:gd name="T14" fmla="*/ 598 w 604"/>
                <a:gd name="T15" fmla="*/ 242 h 604"/>
                <a:gd name="T16" fmla="*/ 604 w 604"/>
                <a:gd name="T17" fmla="*/ 302 h 604"/>
                <a:gd name="T18" fmla="*/ 602 w 604"/>
                <a:gd name="T19" fmla="*/ 332 h 604"/>
                <a:gd name="T20" fmla="*/ 590 w 604"/>
                <a:gd name="T21" fmla="*/ 392 h 604"/>
                <a:gd name="T22" fmla="*/ 568 w 604"/>
                <a:gd name="T23" fmla="*/ 446 h 604"/>
                <a:gd name="T24" fmla="*/ 534 w 604"/>
                <a:gd name="T25" fmla="*/ 494 h 604"/>
                <a:gd name="T26" fmla="*/ 494 w 604"/>
                <a:gd name="T27" fmla="*/ 534 h 604"/>
                <a:gd name="T28" fmla="*/ 446 w 604"/>
                <a:gd name="T29" fmla="*/ 568 h 604"/>
                <a:gd name="T30" fmla="*/ 392 w 604"/>
                <a:gd name="T31" fmla="*/ 590 h 604"/>
                <a:gd name="T32" fmla="*/ 332 w 604"/>
                <a:gd name="T33" fmla="*/ 602 h 604"/>
                <a:gd name="T34" fmla="*/ 302 w 604"/>
                <a:gd name="T35" fmla="*/ 604 h 604"/>
                <a:gd name="T36" fmla="*/ 242 w 604"/>
                <a:gd name="T37" fmla="*/ 598 h 604"/>
                <a:gd name="T38" fmla="*/ 184 w 604"/>
                <a:gd name="T39" fmla="*/ 580 h 604"/>
                <a:gd name="T40" fmla="*/ 134 w 604"/>
                <a:gd name="T41" fmla="*/ 552 h 604"/>
                <a:gd name="T42" fmla="*/ 88 w 604"/>
                <a:gd name="T43" fmla="*/ 516 h 604"/>
                <a:gd name="T44" fmla="*/ 52 w 604"/>
                <a:gd name="T45" fmla="*/ 470 h 604"/>
                <a:gd name="T46" fmla="*/ 24 w 604"/>
                <a:gd name="T47" fmla="*/ 420 h 604"/>
                <a:gd name="T48" fmla="*/ 6 w 604"/>
                <a:gd name="T49" fmla="*/ 362 h 604"/>
                <a:gd name="T50" fmla="*/ 0 w 604"/>
                <a:gd name="T51" fmla="*/ 302 h 604"/>
                <a:gd name="T52" fmla="*/ 2 w 604"/>
                <a:gd name="T53" fmla="*/ 272 h 604"/>
                <a:gd name="T54" fmla="*/ 14 w 604"/>
                <a:gd name="T55" fmla="*/ 212 h 604"/>
                <a:gd name="T56" fmla="*/ 36 w 604"/>
                <a:gd name="T57" fmla="*/ 158 h 604"/>
                <a:gd name="T58" fmla="*/ 70 w 604"/>
                <a:gd name="T59" fmla="*/ 110 h 604"/>
                <a:gd name="T60" fmla="*/ 110 w 604"/>
                <a:gd name="T61" fmla="*/ 70 h 604"/>
                <a:gd name="T62" fmla="*/ 158 w 604"/>
                <a:gd name="T63" fmla="*/ 36 h 604"/>
                <a:gd name="T64" fmla="*/ 212 w 604"/>
                <a:gd name="T65" fmla="*/ 14 h 604"/>
                <a:gd name="T66" fmla="*/ 272 w 604"/>
                <a:gd name="T67" fmla="*/ 2 h 604"/>
                <a:gd name="T68" fmla="*/ 302 w 604"/>
                <a:gd name="T69"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4" h="604">
                  <a:moveTo>
                    <a:pt x="302" y="0"/>
                  </a:moveTo>
                  <a:lnTo>
                    <a:pt x="302" y="0"/>
                  </a:lnTo>
                  <a:lnTo>
                    <a:pt x="332" y="2"/>
                  </a:lnTo>
                  <a:lnTo>
                    <a:pt x="362" y="6"/>
                  </a:lnTo>
                  <a:lnTo>
                    <a:pt x="392" y="14"/>
                  </a:lnTo>
                  <a:lnTo>
                    <a:pt x="420" y="24"/>
                  </a:lnTo>
                  <a:lnTo>
                    <a:pt x="446" y="36"/>
                  </a:lnTo>
                  <a:lnTo>
                    <a:pt x="470" y="52"/>
                  </a:lnTo>
                  <a:lnTo>
                    <a:pt x="494" y="70"/>
                  </a:lnTo>
                  <a:lnTo>
                    <a:pt x="516" y="88"/>
                  </a:lnTo>
                  <a:lnTo>
                    <a:pt x="534" y="110"/>
                  </a:lnTo>
                  <a:lnTo>
                    <a:pt x="552" y="134"/>
                  </a:lnTo>
                  <a:lnTo>
                    <a:pt x="568" y="158"/>
                  </a:lnTo>
                  <a:lnTo>
                    <a:pt x="580" y="184"/>
                  </a:lnTo>
                  <a:lnTo>
                    <a:pt x="590" y="212"/>
                  </a:lnTo>
                  <a:lnTo>
                    <a:pt x="598" y="242"/>
                  </a:lnTo>
                  <a:lnTo>
                    <a:pt x="602" y="272"/>
                  </a:lnTo>
                  <a:lnTo>
                    <a:pt x="604" y="302"/>
                  </a:lnTo>
                  <a:lnTo>
                    <a:pt x="604" y="302"/>
                  </a:lnTo>
                  <a:lnTo>
                    <a:pt x="602" y="332"/>
                  </a:lnTo>
                  <a:lnTo>
                    <a:pt x="598" y="362"/>
                  </a:lnTo>
                  <a:lnTo>
                    <a:pt x="590" y="392"/>
                  </a:lnTo>
                  <a:lnTo>
                    <a:pt x="580" y="420"/>
                  </a:lnTo>
                  <a:lnTo>
                    <a:pt x="568" y="446"/>
                  </a:lnTo>
                  <a:lnTo>
                    <a:pt x="552" y="470"/>
                  </a:lnTo>
                  <a:lnTo>
                    <a:pt x="534" y="494"/>
                  </a:lnTo>
                  <a:lnTo>
                    <a:pt x="516" y="516"/>
                  </a:lnTo>
                  <a:lnTo>
                    <a:pt x="494" y="534"/>
                  </a:lnTo>
                  <a:lnTo>
                    <a:pt x="470" y="552"/>
                  </a:lnTo>
                  <a:lnTo>
                    <a:pt x="446" y="568"/>
                  </a:lnTo>
                  <a:lnTo>
                    <a:pt x="420" y="580"/>
                  </a:lnTo>
                  <a:lnTo>
                    <a:pt x="392" y="590"/>
                  </a:lnTo>
                  <a:lnTo>
                    <a:pt x="362" y="598"/>
                  </a:lnTo>
                  <a:lnTo>
                    <a:pt x="332" y="602"/>
                  </a:lnTo>
                  <a:lnTo>
                    <a:pt x="302" y="604"/>
                  </a:lnTo>
                  <a:lnTo>
                    <a:pt x="302" y="604"/>
                  </a:lnTo>
                  <a:lnTo>
                    <a:pt x="272" y="602"/>
                  </a:lnTo>
                  <a:lnTo>
                    <a:pt x="242" y="598"/>
                  </a:lnTo>
                  <a:lnTo>
                    <a:pt x="212" y="590"/>
                  </a:lnTo>
                  <a:lnTo>
                    <a:pt x="184" y="580"/>
                  </a:lnTo>
                  <a:lnTo>
                    <a:pt x="158" y="568"/>
                  </a:lnTo>
                  <a:lnTo>
                    <a:pt x="134" y="552"/>
                  </a:lnTo>
                  <a:lnTo>
                    <a:pt x="110" y="534"/>
                  </a:lnTo>
                  <a:lnTo>
                    <a:pt x="88" y="516"/>
                  </a:lnTo>
                  <a:lnTo>
                    <a:pt x="70" y="494"/>
                  </a:lnTo>
                  <a:lnTo>
                    <a:pt x="52" y="470"/>
                  </a:lnTo>
                  <a:lnTo>
                    <a:pt x="36" y="446"/>
                  </a:lnTo>
                  <a:lnTo>
                    <a:pt x="24" y="420"/>
                  </a:lnTo>
                  <a:lnTo>
                    <a:pt x="14" y="392"/>
                  </a:lnTo>
                  <a:lnTo>
                    <a:pt x="6" y="362"/>
                  </a:lnTo>
                  <a:lnTo>
                    <a:pt x="2" y="332"/>
                  </a:lnTo>
                  <a:lnTo>
                    <a:pt x="0" y="302"/>
                  </a:lnTo>
                  <a:lnTo>
                    <a:pt x="0" y="302"/>
                  </a:lnTo>
                  <a:lnTo>
                    <a:pt x="2" y="272"/>
                  </a:lnTo>
                  <a:lnTo>
                    <a:pt x="6" y="242"/>
                  </a:lnTo>
                  <a:lnTo>
                    <a:pt x="14" y="212"/>
                  </a:lnTo>
                  <a:lnTo>
                    <a:pt x="24" y="184"/>
                  </a:lnTo>
                  <a:lnTo>
                    <a:pt x="36" y="158"/>
                  </a:lnTo>
                  <a:lnTo>
                    <a:pt x="52" y="134"/>
                  </a:lnTo>
                  <a:lnTo>
                    <a:pt x="70" y="110"/>
                  </a:lnTo>
                  <a:lnTo>
                    <a:pt x="88" y="88"/>
                  </a:lnTo>
                  <a:lnTo>
                    <a:pt x="110" y="70"/>
                  </a:lnTo>
                  <a:lnTo>
                    <a:pt x="134" y="52"/>
                  </a:lnTo>
                  <a:lnTo>
                    <a:pt x="158" y="36"/>
                  </a:lnTo>
                  <a:lnTo>
                    <a:pt x="184" y="24"/>
                  </a:lnTo>
                  <a:lnTo>
                    <a:pt x="212" y="14"/>
                  </a:lnTo>
                  <a:lnTo>
                    <a:pt x="242" y="6"/>
                  </a:lnTo>
                  <a:lnTo>
                    <a:pt x="272" y="2"/>
                  </a:lnTo>
                  <a:lnTo>
                    <a:pt x="302" y="0"/>
                  </a:lnTo>
                  <a:lnTo>
                    <a:pt x="302"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15"/>
            <p:cNvSpPr>
              <a:spLocks/>
            </p:cNvSpPr>
            <p:nvPr/>
          </p:nvSpPr>
          <p:spPr bwMode="auto">
            <a:xfrm>
              <a:off x="5734707" y="3018968"/>
              <a:ext cx="80917" cy="163279"/>
            </a:xfrm>
            <a:custGeom>
              <a:avLst/>
              <a:gdLst>
                <a:gd name="T0" fmla="*/ 186 w 1008"/>
                <a:gd name="T1" fmla="*/ 0 h 2034"/>
                <a:gd name="T2" fmla="*/ 166 w 1008"/>
                <a:gd name="T3" fmla="*/ 0 h 2034"/>
                <a:gd name="T4" fmla="*/ 130 w 1008"/>
                <a:gd name="T5" fmla="*/ 8 h 2034"/>
                <a:gd name="T6" fmla="*/ 98 w 1008"/>
                <a:gd name="T7" fmla="*/ 22 h 2034"/>
                <a:gd name="T8" fmla="*/ 68 w 1008"/>
                <a:gd name="T9" fmla="*/ 42 h 2034"/>
                <a:gd name="T10" fmla="*/ 44 w 1008"/>
                <a:gd name="T11" fmla="*/ 66 h 2034"/>
                <a:gd name="T12" fmla="*/ 24 w 1008"/>
                <a:gd name="T13" fmla="*/ 96 h 2034"/>
                <a:gd name="T14" fmla="*/ 10 w 1008"/>
                <a:gd name="T15" fmla="*/ 130 h 2034"/>
                <a:gd name="T16" fmla="*/ 2 w 1008"/>
                <a:gd name="T17" fmla="*/ 166 h 2034"/>
                <a:gd name="T18" fmla="*/ 0 w 1008"/>
                <a:gd name="T19" fmla="*/ 1052 h 2034"/>
                <a:gd name="T20" fmla="*/ 2 w 1008"/>
                <a:gd name="T21" fmla="*/ 1070 h 2034"/>
                <a:gd name="T22" fmla="*/ 10 w 1008"/>
                <a:gd name="T23" fmla="*/ 1106 h 2034"/>
                <a:gd name="T24" fmla="*/ 24 w 1008"/>
                <a:gd name="T25" fmla="*/ 1140 h 2034"/>
                <a:gd name="T26" fmla="*/ 44 w 1008"/>
                <a:gd name="T27" fmla="*/ 1168 h 2034"/>
                <a:gd name="T28" fmla="*/ 68 w 1008"/>
                <a:gd name="T29" fmla="*/ 1194 h 2034"/>
                <a:gd name="T30" fmla="*/ 98 w 1008"/>
                <a:gd name="T31" fmla="*/ 1214 h 2034"/>
                <a:gd name="T32" fmla="*/ 130 w 1008"/>
                <a:gd name="T33" fmla="*/ 1228 h 2034"/>
                <a:gd name="T34" fmla="*/ 166 w 1008"/>
                <a:gd name="T35" fmla="*/ 1236 h 2034"/>
                <a:gd name="T36" fmla="*/ 186 w 1008"/>
                <a:gd name="T37" fmla="*/ 1236 h 2034"/>
                <a:gd name="T38" fmla="*/ 186 w 1008"/>
                <a:gd name="T39" fmla="*/ 1850 h 2034"/>
                <a:gd name="T40" fmla="*/ 190 w 1008"/>
                <a:gd name="T41" fmla="*/ 1888 h 2034"/>
                <a:gd name="T42" fmla="*/ 200 w 1008"/>
                <a:gd name="T43" fmla="*/ 1922 h 2034"/>
                <a:gd name="T44" fmla="*/ 218 w 1008"/>
                <a:gd name="T45" fmla="*/ 1954 h 2034"/>
                <a:gd name="T46" fmla="*/ 240 w 1008"/>
                <a:gd name="T47" fmla="*/ 1980 h 2034"/>
                <a:gd name="T48" fmla="*/ 266 w 1008"/>
                <a:gd name="T49" fmla="*/ 2004 h 2034"/>
                <a:gd name="T50" fmla="*/ 296 w 1008"/>
                <a:gd name="T51" fmla="*/ 2020 h 2034"/>
                <a:gd name="T52" fmla="*/ 330 w 1008"/>
                <a:gd name="T53" fmla="*/ 2030 h 2034"/>
                <a:gd name="T54" fmla="*/ 366 w 1008"/>
                <a:gd name="T55" fmla="*/ 2034 h 2034"/>
                <a:gd name="T56" fmla="*/ 642 w 1008"/>
                <a:gd name="T57" fmla="*/ 2034 h 2034"/>
                <a:gd name="T58" fmla="*/ 678 w 1008"/>
                <a:gd name="T59" fmla="*/ 2030 h 2034"/>
                <a:gd name="T60" fmla="*/ 712 w 1008"/>
                <a:gd name="T61" fmla="*/ 2020 h 2034"/>
                <a:gd name="T62" fmla="*/ 742 w 1008"/>
                <a:gd name="T63" fmla="*/ 2004 h 2034"/>
                <a:gd name="T64" fmla="*/ 768 w 1008"/>
                <a:gd name="T65" fmla="*/ 1980 h 2034"/>
                <a:gd name="T66" fmla="*/ 790 w 1008"/>
                <a:gd name="T67" fmla="*/ 1954 h 2034"/>
                <a:gd name="T68" fmla="*/ 808 w 1008"/>
                <a:gd name="T69" fmla="*/ 1922 h 2034"/>
                <a:gd name="T70" fmla="*/ 818 w 1008"/>
                <a:gd name="T71" fmla="*/ 1888 h 2034"/>
                <a:gd name="T72" fmla="*/ 822 w 1008"/>
                <a:gd name="T73" fmla="*/ 1850 h 2034"/>
                <a:gd name="T74" fmla="*/ 822 w 1008"/>
                <a:gd name="T75" fmla="*/ 1236 h 2034"/>
                <a:gd name="T76" fmla="*/ 842 w 1008"/>
                <a:gd name="T77" fmla="*/ 1234 h 2034"/>
                <a:gd name="T78" fmla="*/ 878 w 1008"/>
                <a:gd name="T79" fmla="*/ 1228 h 2034"/>
                <a:gd name="T80" fmla="*/ 910 w 1008"/>
                <a:gd name="T81" fmla="*/ 1214 h 2034"/>
                <a:gd name="T82" fmla="*/ 940 w 1008"/>
                <a:gd name="T83" fmla="*/ 1194 h 2034"/>
                <a:gd name="T84" fmla="*/ 966 w 1008"/>
                <a:gd name="T85" fmla="*/ 1168 h 2034"/>
                <a:gd name="T86" fmla="*/ 984 w 1008"/>
                <a:gd name="T87" fmla="*/ 1140 h 2034"/>
                <a:gd name="T88" fmla="*/ 998 w 1008"/>
                <a:gd name="T89" fmla="*/ 1106 h 2034"/>
                <a:gd name="T90" fmla="*/ 1006 w 1008"/>
                <a:gd name="T91" fmla="*/ 1070 h 2034"/>
                <a:gd name="T92" fmla="*/ 1008 w 1008"/>
                <a:gd name="T93" fmla="*/ 184 h 2034"/>
                <a:gd name="T94" fmla="*/ 1006 w 1008"/>
                <a:gd name="T95" fmla="*/ 166 h 2034"/>
                <a:gd name="T96" fmla="*/ 998 w 1008"/>
                <a:gd name="T97" fmla="*/ 130 h 2034"/>
                <a:gd name="T98" fmla="*/ 986 w 1008"/>
                <a:gd name="T99" fmla="*/ 96 h 2034"/>
                <a:gd name="T100" fmla="*/ 966 w 1008"/>
                <a:gd name="T101" fmla="*/ 66 h 2034"/>
                <a:gd name="T102" fmla="*/ 940 w 1008"/>
                <a:gd name="T103" fmla="*/ 42 h 2034"/>
                <a:gd name="T104" fmla="*/ 910 w 1008"/>
                <a:gd name="T105" fmla="*/ 22 h 2034"/>
                <a:gd name="T106" fmla="*/ 878 w 1008"/>
                <a:gd name="T107" fmla="*/ 8 h 2034"/>
                <a:gd name="T108" fmla="*/ 842 w 1008"/>
                <a:gd name="T109" fmla="*/ 0 h 2034"/>
                <a:gd name="T110" fmla="*/ 822 w 1008"/>
                <a:gd name="T111" fmla="*/ 0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8" h="2034">
                  <a:moveTo>
                    <a:pt x="822" y="0"/>
                  </a:moveTo>
                  <a:lnTo>
                    <a:pt x="186" y="0"/>
                  </a:lnTo>
                  <a:lnTo>
                    <a:pt x="186" y="0"/>
                  </a:lnTo>
                  <a:lnTo>
                    <a:pt x="166" y="0"/>
                  </a:lnTo>
                  <a:lnTo>
                    <a:pt x="148" y="4"/>
                  </a:lnTo>
                  <a:lnTo>
                    <a:pt x="130" y="8"/>
                  </a:lnTo>
                  <a:lnTo>
                    <a:pt x="114" y="14"/>
                  </a:lnTo>
                  <a:lnTo>
                    <a:pt x="98" y="22"/>
                  </a:lnTo>
                  <a:lnTo>
                    <a:pt x="82" y="30"/>
                  </a:lnTo>
                  <a:lnTo>
                    <a:pt x="68" y="42"/>
                  </a:lnTo>
                  <a:lnTo>
                    <a:pt x="54" y="54"/>
                  </a:lnTo>
                  <a:lnTo>
                    <a:pt x="44" y="66"/>
                  </a:lnTo>
                  <a:lnTo>
                    <a:pt x="32" y="80"/>
                  </a:lnTo>
                  <a:lnTo>
                    <a:pt x="24" y="96"/>
                  </a:lnTo>
                  <a:lnTo>
                    <a:pt x="16" y="112"/>
                  </a:lnTo>
                  <a:lnTo>
                    <a:pt x="10" y="130"/>
                  </a:lnTo>
                  <a:lnTo>
                    <a:pt x="4" y="146"/>
                  </a:lnTo>
                  <a:lnTo>
                    <a:pt x="2" y="166"/>
                  </a:lnTo>
                  <a:lnTo>
                    <a:pt x="0" y="184"/>
                  </a:lnTo>
                  <a:lnTo>
                    <a:pt x="0" y="1052"/>
                  </a:lnTo>
                  <a:lnTo>
                    <a:pt x="0" y="1052"/>
                  </a:lnTo>
                  <a:lnTo>
                    <a:pt x="2" y="1070"/>
                  </a:lnTo>
                  <a:lnTo>
                    <a:pt x="4" y="1088"/>
                  </a:lnTo>
                  <a:lnTo>
                    <a:pt x="10" y="1106"/>
                  </a:lnTo>
                  <a:lnTo>
                    <a:pt x="16" y="1124"/>
                  </a:lnTo>
                  <a:lnTo>
                    <a:pt x="24" y="1140"/>
                  </a:lnTo>
                  <a:lnTo>
                    <a:pt x="32" y="1154"/>
                  </a:lnTo>
                  <a:lnTo>
                    <a:pt x="44" y="1168"/>
                  </a:lnTo>
                  <a:lnTo>
                    <a:pt x="54" y="1182"/>
                  </a:lnTo>
                  <a:lnTo>
                    <a:pt x="68" y="1194"/>
                  </a:lnTo>
                  <a:lnTo>
                    <a:pt x="82" y="1204"/>
                  </a:lnTo>
                  <a:lnTo>
                    <a:pt x="98" y="1214"/>
                  </a:lnTo>
                  <a:lnTo>
                    <a:pt x="114" y="1222"/>
                  </a:lnTo>
                  <a:lnTo>
                    <a:pt x="130" y="1228"/>
                  </a:lnTo>
                  <a:lnTo>
                    <a:pt x="148" y="1232"/>
                  </a:lnTo>
                  <a:lnTo>
                    <a:pt x="166" y="1236"/>
                  </a:lnTo>
                  <a:lnTo>
                    <a:pt x="186" y="1236"/>
                  </a:lnTo>
                  <a:lnTo>
                    <a:pt x="186" y="1236"/>
                  </a:lnTo>
                  <a:lnTo>
                    <a:pt x="186" y="1850"/>
                  </a:lnTo>
                  <a:lnTo>
                    <a:pt x="186" y="1850"/>
                  </a:lnTo>
                  <a:lnTo>
                    <a:pt x="188" y="1868"/>
                  </a:lnTo>
                  <a:lnTo>
                    <a:pt x="190" y="1888"/>
                  </a:lnTo>
                  <a:lnTo>
                    <a:pt x="194" y="1904"/>
                  </a:lnTo>
                  <a:lnTo>
                    <a:pt x="200" y="1922"/>
                  </a:lnTo>
                  <a:lnTo>
                    <a:pt x="208" y="1938"/>
                  </a:lnTo>
                  <a:lnTo>
                    <a:pt x="218" y="1954"/>
                  </a:lnTo>
                  <a:lnTo>
                    <a:pt x="228" y="1968"/>
                  </a:lnTo>
                  <a:lnTo>
                    <a:pt x="240" y="1980"/>
                  </a:lnTo>
                  <a:lnTo>
                    <a:pt x="252" y="1992"/>
                  </a:lnTo>
                  <a:lnTo>
                    <a:pt x="266" y="2004"/>
                  </a:lnTo>
                  <a:lnTo>
                    <a:pt x="280" y="2012"/>
                  </a:lnTo>
                  <a:lnTo>
                    <a:pt x="296" y="2020"/>
                  </a:lnTo>
                  <a:lnTo>
                    <a:pt x="312" y="2026"/>
                  </a:lnTo>
                  <a:lnTo>
                    <a:pt x="330" y="2030"/>
                  </a:lnTo>
                  <a:lnTo>
                    <a:pt x="348" y="2034"/>
                  </a:lnTo>
                  <a:lnTo>
                    <a:pt x="366" y="2034"/>
                  </a:lnTo>
                  <a:lnTo>
                    <a:pt x="642" y="2034"/>
                  </a:lnTo>
                  <a:lnTo>
                    <a:pt x="642" y="2034"/>
                  </a:lnTo>
                  <a:lnTo>
                    <a:pt x="660" y="2034"/>
                  </a:lnTo>
                  <a:lnTo>
                    <a:pt x="678" y="2030"/>
                  </a:lnTo>
                  <a:lnTo>
                    <a:pt x="696" y="2026"/>
                  </a:lnTo>
                  <a:lnTo>
                    <a:pt x="712" y="2020"/>
                  </a:lnTo>
                  <a:lnTo>
                    <a:pt x="728" y="2012"/>
                  </a:lnTo>
                  <a:lnTo>
                    <a:pt x="742" y="2004"/>
                  </a:lnTo>
                  <a:lnTo>
                    <a:pt x="756" y="1992"/>
                  </a:lnTo>
                  <a:lnTo>
                    <a:pt x="768" y="1980"/>
                  </a:lnTo>
                  <a:lnTo>
                    <a:pt x="780" y="1968"/>
                  </a:lnTo>
                  <a:lnTo>
                    <a:pt x="790" y="1954"/>
                  </a:lnTo>
                  <a:lnTo>
                    <a:pt x="800" y="1938"/>
                  </a:lnTo>
                  <a:lnTo>
                    <a:pt x="808" y="1922"/>
                  </a:lnTo>
                  <a:lnTo>
                    <a:pt x="814" y="1904"/>
                  </a:lnTo>
                  <a:lnTo>
                    <a:pt x="818" y="1888"/>
                  </a:lnTo>
                  <a:lnTo>
                    <a:pt x="820" y="1868"/>
                  </a:lnTo>
                  <a:lnTo>
                    <a:pt x="822" y="1850"/>
                  </a:lnTo>
                  <a:lnTo>
                    <a:pt x="822" y="1236"/>
                  </a:lnTo>
                  <a:lnTo>
                    <a:pt x="822" y="1236"/>
                  </a:lnTo>
                  <a:lnTo>
                    <a:pt x="822" y="1236"/>
                  </a:lnTo>
                  <a:lnTo>
                    <a:pt x="842" y="1234"/>
                  </a:lnTo>
                  <a:lnTo>
                    <a:pt x="860" y="1232"/>
                  </a:lnTo>
                  <a:lnTo>
                    <a:pt x="878" y="1228"/>
                  </a:lnTo>
                  <a:lnTo>
                    <a:pt x="894" y="1222"/>
                  </a:lnTo>
                  <a:lnTo>
                    <a:pt x="910" y="1214"/>
                  </a:lnTo>
                  <a:lnTo>
                    <a:pt x="926" y="1204"/>
                  </a:lnTo>
                  <a:lnTo>
                    <a:pt x="940" y="1194"/>
                  </a:lnTo>
                  <a:lnTo>
                    <a:pt x="954" y="1182"/>
                  </a:lnTo>
                  <a:lnTo>
                    <a:pt x="966" y="1168"/>
                  </a:lnTo>
                  <a:lnTo>
                    <a:pt x="976" y="1154"/>
                  </a:lnTo>
                  <a:lnTo>
                    <a:pt x="984" y="1140"/>
                  </a:lnTo>
                  <a:lnTo>
                    <a:pt x="992" y="1122"/>
                  </a:lnTo>
                  <a:lnTo>
                    <a:pt x="998" y="1106"/>
                  </a:lnTo>
                  <a:lnTo>
                    <a:pt x="1004" y="1088"/>
                  </a:lnTo>
                  <a:lnTo>
                    <a:pt x="1006" y="1070"/>
                  </a:lnTo>
                  <a:lnTo>
                    <a:pt x="1008" y="1050"/>
                  </a:lnTo>
                  <a:lnTo>
                    <a:pt x="1008" y="184"/>
                  </a:lnTo>
                  <a:lnTo>
                    <a:pt x="1008" y="184"/>
                  </a:lnTo>
                  <a:lnTo>
                    <a:pt x="1006" y="166"/>
                  </a:lnTo>
                  <a:lnTo>
                    <a:pt x="1004" y="146"/>
                  </a:lnTo>
                  <a:lnTo>
                    <a:pt x="998" y="130"/>
                  </a:lnTo>
                  <a:lnTo>
                    <a:pt x="992" y="112"/>
                  </a:lnTo>
                  <a:lnTo>
                    <a:pt x="986" y="96"/>
                  </a:lnTo>
                  <a:lnTo>
                    <a:pt x="976" y="80"/>
                  </a:lnTo>
                  <a:lnTo>
                    <a:pt x="966" y="66"/>
                  </a:lnTo>
                  <a:lnTo>
                    <a:pt x="954" y="54"/>
                  </a:lnTo>
                  <a:lnTo>
                    <a:pt x="940" y="42"/>
                  </a:lnTo>
                  <a:lnTo>
                    <a:pt x="926" y="30"/>
                  </a:lnTo>
                  <a:lnTo>
                    <a:pt x="910" y="22"/>
                  </a:lnTo>
                  <a:lnTo>
                    <a:pt x="894" y="14"/>
                  </a:lnTo>
                  <a:lnTo>
                    <a:pt x="878" y="8"/>
                  </a:lnTo>
                  <a:lnTo>
                    <a:pt x="860" y="4"/>
                  </a:lnTo>
                  <a:lnTo>
                    <a:pt x="842" y="0"/>
                  </a:lnTo>
                  <a:lnTo>
                    <a:pt x="822" y="0"/>
                  </a:lnTo>
                  <a:lnTo>
                    <a:pt x="822"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16"/>
            <p:cNvSpPr>
              <a:spLocks/>
            </p:cNvSpPr>
            <p:nvPr/>
          </p:nvSpPr>
          <p:spPr bwMode="auto">
            <a:xfrm>
              <a:off x="5750922" y="2965665"/>
              <a:ext cx="48486" cy="48486"/>
            </a:xfrm>
            <a:custGeom>
              <a:avLst/>
              <a:gdLst>
                <a:gd name="T0" fmla="*/ 302 w 604"/>
                <a:gd name="T1" fmla="*/ 0 h 604"/>
                <a:gd name="T2" fmla="*/ 362 w 604"/>
                <a:gd name="T3" fmla="*/ 6 h 604"/>
                <a:gd name="T4" fmla="*/ 420 w 604"/>
                <a:gd name="T5" fmla="*/ 24 h 604"/>
                <a:gd name="T6" fmla="*/ 470 w 604"/>
                <a:gd name="T7" fmla="*/ 52 h 604"/>
                <a:gd name="T8" fmla="*/ 516 w 604"/>
                <a:gd name="T9" fmla="*/ 88 h 604"/>
                <a:gd name="T10" fmla="*/ 552 w 604"/>
                <a:gd name="T11" fmla="*/ 134 h 604"/>
                <a:gd name="T12" fmla="*/ 580 w 604"/>
                <a:gd name="T13" fmla="*/ 184 h 604"/>
                <a:gd name="T14" fmla="*/ 598 w 604"/>
                <a:gd name="T15" fmla="*/ 242 h 604"/>
                <a:gd name="T16" fmla="*/ 604 w 604"/>
                <a:gd name="T17" fmla="*/ 302 h 604"/>
                <a:gd name="T18" fmla="*/ 602 w 604"/>
                <a:gd name="T19" fmla="*/ 332 h 604"/>
                <a:gd name="T20" fmla="*/ 590 w 604"/>
                <a:gd name="T21" fmla="*/ 392 h 604"/>
                <a:gd name="T22" fmla="*/ 568 w 604"/>
                <a:gd name="T23" fmla="*/ 446 h 604"/>
                <a:gd name="T24" fmla="*/ 534 w 604"/>
                <a:gd name="T25" fmla="*/ 494 h 604"/>
                <a:gd name="T26" fmla="*/ 494 w 604"/>
                <a:gd name="T27" fmla="*/ 534 h 604"/>
                <a:gd name="T28" fmla="*/ 446 w 604"/>
                <a:gd name="T29" fmla="*/ 568 h 604"/>
                <a:gd name="T30" fmla="*/ 392 w 604"/>
                <a:gd name="T31" fmla="*/ 590 h 604"/>
                <a:gd name="T32" fmla="*/ 332 w 604"/>
                <a:gd name="T33" fmla="*/ 602 h 604"/>
                <a:gd name="T34" fmla="*/ 302 w 604"/>
                <a:gd name="T35" fmla="*/ 604 h 604"/>
                <a:gd name="T36" fmla="*/ 242 w 604"/>
                <a:gd name="T37" fmla="*/ 598 h 604"/>
                <a:gd name="T38" fmla="*/ 184 w 604"/>
                <a:gd name="T39" fmla="*/ 580 h 604"/>
                <a:gd name="T40" fmla="*/ 134 w 604"/>
                <a:gd name="T41" fmla="*/ 552 h 604"/>
                <a:gd name="T42" fmla="*/ 88 w 604"/>
                <a:gd name="T43" fmla="*/ 516 h 604"/>
                <a:gd name="T44" fmla="*/ 52 w 604"/>
                <a:gd name="T45" fmla="*/ 470 h 604"/>
                <a:gd name="T46" fmla="*/ 24 w 604"/>
                <a:gd name="T47" fmla="*/ 420 h 604"/>
                <a:gd name="T48" fmla="*/ 6 w 604"/>
                <a:gd name="T49" fmla="*/ 362 h 604"/>
                <a:gd name="T50" fmla="*/ 0 w 604"/>
                <a:gd name="T51" fmla="*/ 302 h 604"/>
                <a:gd name="T52" fmla="*/ 2 w 604"/>
                <a:gd name="T53" fmla="*/ 272 h 604"/>
                <a:gd name="T54" fmla="*/ 14 w 604"/>
                <a:gd name="T55" fmla="*/ 212 h 604"/>
                <a:gd name="T56" fmla="*/ 36 w 604"/>
                <a:gd name="T57" fmla="*/ 158 h 604"/>
                <a:gd name="T58" fmla="*/ 70 w 604"/>
                <a:gd name="T59" fmla="*/ 110 h 604"/>
                <a:gd name="T60" fmla="*/ 110 w 604"/>
                <a:gd name="T61" fmla="*/ 70 h 604"/>
                <a:gd name="T62" fmla="*/ 158 w 604"/>
                <a:gd name="T63" fmla="*/ 36 h 604"/>
                <a:gd name="T64" fmla="*/ 212 w 604"/>
                <a:gd name="T65" fmla="*/ 14 h 604"/>
                <a:gd name="T66" fmla="*/ 272 w 604"/>
                <a:gd name="T67" fmla="*/ 2 h 604"/>
                <a:gd name="T68" fmla="*/ 302 w 604"/>
                <a:gd name="T69"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4" h="604">
                  <a:moveTo>
                    <a:pt x="302" y="0"/>
                  </a:moveTo>
                  <a:lnTo>
                    <a:pt x="302" y="0"/>
                  </a:lnTo>
                  <a:lnTo>
                    <a:pt x="332" y="2"/>
                  </a:lnTo>
                  <a:lnTo>
                    <a:pt x="362" y="6"/>
                  </a:lnTo>
                  <a:lnTo>
                    <a:pt x="392" y="14"/>
                  </a:lnTo>
                  <a:lnTo>
                    <a:pt x="420" y="24"/>
                  </a:lnTo>
                  <a:lnTo>
                    <a:pt x="446" y="36"/>
                  </a:lnTo>
                  <a:lnTo>
                    <a:pt x="470" y="52"/>
                  </a:lnTo>
                  <a:lnTo>
                    <a:pt x="494" y="70"/>
                  </a:lnTo>
                  <a:lnTo>
                    <a:pt x="516" y="88"/>
                  </a:lnTo>
                  <a:lnTo>
                    <a:pt x="534" y="110"/>
                  </a:lnTo>
                  <a:lnTo>
                    <a:pt x="552" y="134"/>
                  </a:lnTo>
                  <a:lnTo>
                    <a:pt x="568" y="158"/>
                  </a:lnTo>
                  <a:lnTo>
                    <a:pt x="580" y="184"/>
                  </a:lnTo>
                  <a:lnTo>
                    <a:pt x="590" y="212"/>
                  </a:lnTo>
                  <a:lnTo>
                    <a:pt x="598" y="242"/>
                  </a:lnTo>
                  <a:lnTo>
                    <a:pt x="602" y="272"/>
                  </a:lnTo>
                  <a:lnTo>
                    <a:pt x="604" y="302"/>
                  </a:lnTo>
                  <a:lnTo>
                    <a:pt x="604" y="302"/>
                  </a:lnTo>
                  <a:lnTo>
                    <a:pt x="602" y="332"/>
                  </a:lnTo>
                  <a:lnTo>
                    <a:pt x="598" y="362"/>
                  </a:lnTo>
                  <a:lnTo>
                    <a:pt x="590" y="392"/>
                  </a:lnTo>
                  <a:lnTo>
                    <a:pt x="580" y="420"/>
                  </a:lnTo>
                  <a:lnTo>
                    <a:pt x="568" y="446"/>
                  </a:lnTo>
                  <a:lnTo>
                    <a:pt x="552" y="470"/>
                  </a:lnTo>
                  <a:lnTo>
                    <a:pt x="534" y="494"/>
                  </a:lnTo>
                  <a:lnTo>
                    <a:pt x="516" y="516"/>
                  </a:lnTo>
                  <a:lnTo>
                    <a:pt x="494" y="534"/>
                  </a:lnTo>
                  <a:lnTo>
                    <a:pt x="470" y="552"/>
                  </a:lnTo>
                  <a:lnTo>
                    <a:pt x="446" y="568"/>
                  </a:lnTo>
                  <a:lnTo>
                    <a:pt x="420" y="580"/>
                  </a:lnTo>
                  <a:lnTo>
                    <a:pt x="392" y="590"/>
                  </a:lnTo>
                  <a:lnTo>
                    <a:pt x="362" y="598"/>
                  </a:lnTo>
                  <a:lnTo>
                    <a:pt x="332" y="602"/>
                  </a:lnTo>
                  <a:lnTo>
                    <a:pt x="302" y="604"/>
                  </a:lnTo>
                  <a:lnTo>
                    <a:pt x="302" y="604"/>
                  </a:lnTo>
                  <a:lnTo>
                    <a:pt x="272" y="602"/>
                  </a:lnTo>
                  <a:lnTo>
                    <a:pt x="242" y="598"/>
                  </a:lnTo>
                  <a:lnTo>
                    <a:pt x="212" y="590"/>
                  </a:lnTo>
                  <a:lnTo>
                    <a:pt x="184" y="580"/>
                  </a:lnTo>
                  <a:lnTo>
                    <a:pt x="158" y="568"/>
                  </a:lnTo>
                  <a:lnTo>
                    <a:pt x="134" y="552"/>
                  </a:lnTo>
                  <a:lnTo>
                    <a:pt x="110" y="534"/>
                  </a:lnTo>
                  <a:lnTo>
                    <a:pt x="88" y="516"/>
                  </a:lnTo>
                  <a:lnTo>
                    <a:pt x="70" y="494"/>
                  </a:lnTo>
                  <a:lnTo>
                    <a:pt x="52" y="470"/>
                  </a:lnTo>
                  <a:lnTo>
                    <a:pt x="36" y="446"/>
                  </a:lnTo>
                  <a:lnTo>
                    <a:pt x="24" y="420"/>
                  </a:lnTo>
                  <a:lnTo>
                    <a:pt x="14" y="392"/>
                  </a:lnTo>
                  <a:lnTo>
                    <a:pt x="6" y="362"/>
                  </a:lnTo>
                  <a:lnTo>
                    <a:pt x="2" y="332"/>
                  </a:lnTo>
                  <a:lnTo>
                    <a:pt x="0" y="302"/>
                  </a:lnTo>
                  <a:lnTo>
                    <a:pt x="0" y="302"/>
                  </a:lnTo>
                  <a:lnTo>
                    <a:pt x="2" y="272"/>
                  </a:lnTo>
                  <a:lnTo>
                    <a:pt x="6" y="242"/>
                  </a:lnTo>
                  <a:lnTo>
                    <a:pt x="14" y="212"/>
                  </a:lnTo>
                  <a:lnTo>
                    <a:pt x="24" y="184"/>
                  </a:lnTo>
                  <a:lnTo>
                    <a:pt x="36" y="158"/>
                  </a:lnTo>
                  <a:lnTo>
                    <a:pt x="52" y="134"/>
                  </a:lnTo>
                  <a:lnTo>
                    <a:pt x="70" y="110"/>
                  </a:lnTo>
                  <a:lnTo>
                    <a:pt x="88" y="88"/>
                  </a:lnTo>
                  <a:lnTo>
                    <a:pt x="110" y="70"/>
                  </a:lnTo>
                  <a:lnTo>
                    <a:pt x="134" y="52"/>
                  </a:lnTo>
                  <a:lnTo>
                    <a:pt x="158" y="36"/>
                  </a:lnTo>
                  <a:lnTo>
                    <a:pt x="184" y="24"/>
                  </a:lnTo>
                  <a:lnTo>
                    <a:pt x="212" y="14"/>
                  </a:lnTo>
                  <a:lnTo>
                    <a:pt x="242" y="6"/>
                  </a:lnTo>
                  <a:lnTo>
                    <a:pt x="272" y="2"/>
                  </a:lnTo>
                  <a:lnTo>
                    <a:pt x="302" y="0"/>
                  </a:lnTo>
                  <a:lnTo>
                    <a:pt x="302"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Tree>
    <p:extLst>
      <p:ext uri="{BB962C8B-B14F-4D97-AF65-F5344CB8AC3E}">
        <p14:creationId xmlns:p14="http://schemas.microsoft.com/office/powerpoint/2010/main" val="1069508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fade">
                                      <p:cBhvr>
                                        <p:cTn id="10" dur="500"/>
                                        <p:tgtEl>
                                          <p:spTgt spid="8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500"/>
                                        <p:tgtEl>
                                          <p:spTgt spid="8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7"/>
                                        </p:tgtEl>
                                        <p:attrNameLst>
                                          <p:attrName>style.visibility</p:attrName>
                                        </p:attrNameLst>
                                      </p:cBhvr>
                                      <p:to>
                                        <p:strVal val="visible"/>
                                      </p:to>
                                    </p:set>
                                    <p:animEffect transition="in" filter="fade">
                                      <p:cBhvr>
                                        <p:cTn id="21" dur="500"/>
                                        <p:tgtEl>
                                          <p:spTgt spid="7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9"/>
                                        </p:tgtEl>
                                        <p:attrNameLst>
                                          <p:attrName>style.visibility</p:attrName>
                                        </p:attrNameLst>
                                      </p:cBhvr>
                                      <p:to>
                                        <p:strVal val="visible"/>
                                      </p:to>
                                    </p:set>
                                    <p:animEffect transition="in" filter="fade">
                                      <p:cBhvr>
                                        <p:cTn id="24" dur="500"/>
                                        <p:tgtEl>
                                          <p:spTgt spid="9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nodeType="clickEffect">
                                  <p:stCondLst>
                                    <p:cond delay="0"/>
                                  </p:stCondLst>
                                  <p:childTnLst>
                                    <p:set>
                                      <p:cBhvr>
                                        <p:cTn id="28" dur="1" fill="hold">
                                          <p:stCondLst>
                                            <p:cond delay="0"/>
                                          </p:stCondLst>
                                        </p:cTn>
                                        <p:tgtEl>
                                          <p:spTgt spid="113"/>
                                        </p:tgtEl>
                                        <p:attrNameLst>
                                          <p:attrName>style.visibility</p:attrName>
                                        </p:attrNameLst>
                                      </p:cBhvr>
                                      <p:to>
                                        <p:strVal val="visible"/>
                                      </p:to>
                                    </p:set>
                                    <p:animEffect transition="in" filter="wipe(down)">
                                      <p:cBhvr>
                                        <p:cTn id="29" dur="500"/>
                                        <p:tgtEl>
                                          <p:spTgt spid="11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8"/>
                                        </p:tgtEl>
                                        <p:attrNameLst>
                                          <p:attrName>style.visibility</p:attrName>
                                        </p:attrNameLst>
                                      </p:cBhvr>
                                      <p:to>
                                        <p:strVal val="visible"/>
                                      </p:to>
                                    </p:set>
                                    <p:animEffect transition="in" filter="fade">
                                      <p:cBhvr>
                                        <p:cTn id="32" dur="500"/>
                                        <p:tgtEl>
                                          <p:spTgt spid="9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2"/>
                                        </p:tgtEl>
                                        <p:attrNameLst>
                                          <p:attrName>style.visibility</p:attrName>
                                        </p:attrNameLst>
                                      </p:cBhvr>
                                      <p:to>
                                        <p:strVal val="visible"/>
                                      </p:to>
                                    </p:set>
                                    <p:animEffect transition="in" filter="fade">
                                      <p:cBhvr>
                                        <p:cTn id="37" dur="500"/>
                                        <p:tgtEl>
                                          <p:spTgt spid="9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1"/>
                                        </p:tgtEl>
                                        <p:attrNameLst>
                                          <p:attrName>style.visibility</p:attrName>
                                        </p:attrNameLst>
                                      </p:cBhvr>
                                      <p:to>
                                        <p:strVal val="visible"/>
                                      </p:to>
                                    </p:set>
                                    <p:animEffect transition="in" filter="fade">
                                      <p:cBhvr>
                                        <p:cTn id="40" dur="500"/>
                                        <p:tgtEl>
                                          <p:spTgt spid="91"/>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8"/>
                                        </p:tgtEl>
                                        <p:attrNameLst>
                                          <p:attrName>style.visibility</p:attrName>
                                        </p:attrNameLst>
                                      </p:cBhvr>
                                      <p:to>
                                        <p:strVal val="visible"/>
                                      </p:to>
                                    </p:set>
                                    <p:animEffect transition="in" filter="fade">
                                      <p:cBhvr>
                                        <p:cTn id="50" dur="500"/>
                                        <p:tgtEl>
                                          <p:spTgt spid="28"/>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500"/>
                                        <p:tgtEl>
                                          <p:spTgt spid="2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0"/>
                                        </p:tgtEl>
                                        <p:attrNameLst>
                                          <p:attrName>style.visibility</p:attrName>
                                        </p:attrNameLst>
                                      </p:cBhvr>
                                      <p:to>
                                        <p:strVal val="visible"/>
                                      </p:to>
                                    </p:set>
                                    <p:animEffect transition="in" filter="fade">
                                      <p:cBhvr>
                                        <p:cTn id="5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P spid="99" grpId="0"/>
      <p:bldP spid="91" grpId="0" animBg="1"/>
      <p:bldP spid="92" grpId="0" animBg="1"/>
      <p:bldP spid="27" grpId="0" animBg="1"/>
      <p:bldP spid="28" grpId="0" animBg="1"/>
      <p:bldP spid="29" grpId="0" animBg="1"/>
      <p:bldP spid="77" grpId="0" animBg="1"/>
      <p:bldP spid="79" grpId="0" animBg="1"/>
      <p:bldP spid="80" grpId="0" animBg="1"/>
      <p:bldP spid="81" grpId="0" animBg="1"/>
      <p:bldP spid="82" grpId="0" animBg="1"/>
      <p:bldP spid="30"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4" name="Rectangle 453"/>
          <p:cNvSpPr/>
          <p:nvPr/>
        </p:nvSpPr>
        <p:spPr bwMode="auto">
          <a:xfrm>
            <a:off x="0" y="3542590"/>
            <a:ext cx="12192000" cy="331541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3" name="Title 2"/>
          <p:cNvSpPr>
            <a:spLocks noGrp="1"/>
          </p:cNvSpPr>
          <p:nvPr>
            <p:ph type="title"/>
          </p:nvPr>
        </p:nvSpPr>
        <p:spPr/>
        <p:txBody>
          <a:bodyPr/>
          <a:lstStyle/>
          <a:p>
            <a:r>
              <a:rPr lang="en-US"/>
              <a:t>Purpose Built for Automakers Individually</a:t>
            </a:r>
          </a:p>
        </p:txBody>
      </p:sp>
      <p:grpSp>
        <p:nvGrpSpPr>
          <p:cNvPr id="455" name="Group 454"/>
          <p:cNvGrpSpPr/>
          <p:nvPr/>
        </p:nvGrpSpPr>
        <p:grpSpPr>
          <a:xfrm>
            <a:off x="2291001" y="1790049"/>
            <a:ext cx="6870570" cy="2319162"/>
            <a:chOff x="2410358" y="1565024"/>
            <a:chExt cx="6870570" cy="2319162"/>
          </a:xfrm>
        </p:grpSpPr>
        <p:sp>
          <p:nvSpPr>
            <p:cNvPr id="273" name="Freeform: Shape 272"/>
            <p:cNvSpPr/>
            <p:nvPr/>
          </p:nvSpPr>
          <p:spPr bwMode="auto">
            <a:xfrm>
              <a:off x="2410358" y="1566420"/>
              <a:ext cx="6870570" cy="2035347"/>
            </a:xfrm>
            <a:custGeom>
              <a:avLst/>
              <a:gdLst>
                <a:gd name="connsiteX0" fmla="*/ 5996401 w 20349121"/>
                <a:gd name="connsiteY0" fmla="*/ 2228350 h 6061796"/>
                <a:gd name="connsiteX1" fmla="*/ 6899077 w 20349121"/>
                <a:gd name="connsiteY1" fmla="*/ 1700811 h 6061796"/>
                <a:gd name="connsiteX2" fmla="*/ 8212062 w 20349121"/>
                <a:gd name="connsiteY2" fmla="*/ 915365 h 6061796"/>
                <a:gd name="connsiteX3" fmla="*/ 9032677 w 20349121"/>
                <a:gd name="connsiteY3" fmla="*/ 528504 h 6061796"/>
                <a:gd name="connsiteX4" fmla="*/ 9079570 w 20349121"/>
                <a:gd name="connsiteY4" fmla="*/ 469888 h 6061796"/>
                <a:gd name="connsiteX5" fmla="*/ 9220247 w 20349121"/>
                <a:gd name="connsiteY5" fmla="*/ 411273 h 6061796"/>
                <a:gd name="connsiteX6" fmla="*/ 10005693 w 20349121"/>
                <a:gd name="connsiteY6" fmla="*/ 188534 h 6061796"/>
                <a:gd name="connsiteX7" fmla="*/ 11365570 w 20349121"/>
                <a:gd name="connsiteY7" fmla="*/ 47857 h 6061796"/>
                <a:gd name="connsiteX8" fmla="*/ 12948185 w 20349121"/>
                <a:gd name="connsiteY8" fmla="*/ 965 h 6061796"/>
                <a:gd name="connsiteX9" fmla="*/ 14565970 w 20349121"/>
                <a:gd name="connsiteY9" fmla="*/ 83027 h 6061796"/>
                <a:gd name="connsiteX10" fmla="*/ 16054801 w 20349121"/>
                <a:gd name="connsiteY10" fmla="*/ 165088 h 6061796"/>
                <a:gd name="connsiteX11" fmla="*/ 17496739 w 20349121"/>
                <a:gd name="connsiteY11" fmla="*/ 364381 h 6061796"/>
                <a:gd name="connsiteX12" fmla="*/ 18012554 w 20349121"/>
                <a:gd name="connsiteY12" fmla="*/ 481611 h 6061796"/>
                <a:gd name="connsiteX13" fmla="*/ 18352524 w 20349121"/>
                <a:gd name="connsiteY13" fmla="*/ 528504 h 6061796"/>
                <a:gd name="connsiteX14" fmla="*/ 18434585 w 20349121"/>
                <a:gd name="connsiteY14" fmla="*/ 575396 h 6061796"/>
                <a:gd name="connsiteX15" fmla="*/ 18469754 w 20349121"/>
                <a:gd name="connsiteY15" fmla="*/ 634011 h 6061796"/>
                <a:gd name="connsiteX16" fmla="*/ 18903508 w 20349121"/>
                <a:gd name="connsiteY16" fmla="*/ 1091211 h 6061796"/>
                <a:gd name="connsiteX17" fmla="*/ 19560001 w 20349121"/>
                <a:gd name="connsiteY17" fmla="*/ 1853211 h 6061796"/>
                <a:gd name="connsiteX18" fmla="*/ 19665508 w 20349121"/>
                <a:gd name="connsiteY18" fmla="*/ 1993888 h 6061796"/>
                <a:gd name="connsiteX19" fmla="*/ 19864801 w 20349121"/>
                <a:gd name="connsiteY19" fmla="*/ 2099396 h 6061796"/>
                <a:gd name="connsiteX20" fmla="*/ 19946862 w 20349121"/>
                <a:gd name="connsiteY20" fmla="*/ 2228350 h 6061796"/>
                <a:gd name="connsiteX21" fmla="*/ 19911693 w 20349121"/>
                <a:gd name="connsiteY21" fmla="*/ 2415919 h 6061796"/>
                <a:gd name="connsiteX22" fmla="*/ 19888247 w 20349121"/>
                <a:gd name="connsiteY22" fmla="*/ 2802781 h 6061796"/>
                <a:gd name="connsiteX23" fmla="*/ 19888247 w 20349121"/>
                <a:gd name="connsiteY23" fmla="*/ 3060688 h 6061796"/>
                <a:gd name="connsiteX24" fmla="*/ 19993754 w 20349121"/>
                <a:gd name="connsiteY24" fmla="*/ 3271704 h 6061796"/>
                <a:gd name="connsiteX25" fmla="*/ 19982031 w 20349121"/>
                <a:gd name="connsiteY25" fmla="*/ 3447550 h 6061796"/>
                <a:gd name="connsiteX26" fmla="*/ 19935139 w 20349121"/>
                <a:gd name="connsiteY26" fmla="*/ 3635119 h 6061796"/>
                <a:gd name="connsiteX27" fmla="*/ 20134431 w 20349121"/>
                <a:gd name="connsiteY27" fmla="*/ 3705457 h 6061796"/>
                <a:gd name="connsiteX28" fmla="*/ 20275108 w 20349121"/>
                <a:gd name="connsiteY28" fmla="*/ 3752350 h 6061796"/>
                <a:gd name="connsiteX29" fmla="*/ 20345447 w 20349121"/>
                <a:gd name="connsiteY29" fmla="*/ 3846134 h 6061796"/>
                <a:gd name="connsiteX30" fmla="*/ 20333724 w 20349121"/>
                <a:gd name="connsiteY30" fmla="*/ 4010257 h 6061796"/>
                <a:gd name="connsiteX31" fmla="*/ 20286831 w 20349121"/>
                <a:gd name="connsiteY31" fmla="*/ 4186104 h 6061796"/>
                <a:gd name="connsiteX32" fmla="*/ 20275108 w 20349121"/>
                <a:gd name="connsiteY32" fmla="*/ 4397119 h 6061796"/>
                <a:gd name="connsiteX33" fmla="*/ 20181324 w 20349121"/>
                <a:gd name="connsiteY33" fmla="*/ 4397119 h 6061796"/>
                <a:gd name="connsiteX34" fmla="*/ 20087539 w 20349121"/>
                <a:gd name="connsiteY34" fmla="*/ 4748811 h 6061796"/>
                <a:gd name="connsiteX35" fmla="*/ 20064093 w 20349121"/>
                <a:gd name="connsiteY35" fmla="*/ 5182565 h 6061796"/>
                <a:gd name="connsiteX36" fmla="*/ 20157877 w 20349121"/>
                <a:gd name="connsiteY36" fmla="*/ 5475642 h 6061796"/>
                <a:gd name="connsiteX37" fmla="*/ 20052370 w 20349121"/>
                <a:gd name="connsiteY37" fmla="*/ 5510811 h 6061796"/>
                <a:gd name="connsiteX38" fmla="*/ 19548277 w 20349121"/>
                <a:gd name="connsiteY38" fmla="*/ 5534257 h 6061796"/>
                <a:gd name="connsiteX39" fmla="*/ 19454493 w 20349121"/>
                <a:gd name="connsiteY39" fmla="*/ 5756996 h 6061796"/>
                <a:gd name="connsiteX40" fmla="*/ 19290370 w 20349121"/>
                <a:gd name="connsiteY40" fmla="*/ 5780442 h 6061796"/>
                <a:gd name="connsiteX41" fmla="*/ 18223570 w 20349121"/>
                <a:gd name="connsiteY41" fmla="*/ 5768719 h 6061796"/>
                <a:gd name="connsiteX42" fmla="*/ 18223570 w 20349121"/>
                <a:gd name="connsiteY42" fmla="*/ 5581150 h 6061796"/>
                <a:gd name="connsiteX43" fmla="*/ 17989108 w 20349121"/>
                <a:gd name="connsiteY43" fmla="*/ 4725365 h 6061796"/>
                <a:gd name="connsiteX44" fmla="*/ 17602247 w 20349121"/>
                <a:gd name="connsiteY44" fmla="*/ 4162657 h 6061796"/>
                <a:gd name="connsiteX45" fmla="*/ 17145047 w 20349121"/>
                <a:gd name="connsiteY45" fmla="*/ 3857857 h 6061796"/>
                <a:gd name="connsiteX46" fmla="*/ 16429939 w 20349121"/>
                <a:gd name="connsiteY46" fmla="*/ 3682011 h 6061796"/>
                <a:gd name="connsiteX47" fmla="*/ 15902401 w 20349121"/>
                <a:gd name="connsiteY47" fmla="*/ 3728904 h 6061796"/>
                <a:gd name="connsiteX48" fmla="*/ 15386585 w 20349121"/>
                <a:gd name="connsiteY48" fmla="*/ 3951642 h 6061796"/>
                <a:gd name="connsiteX49" fmla="*/ 14964554 w 20349121"/>
                <a:gd name="connsiteY49" fmla="*/ 4397119 h 6061796"/>
                <a:gd name="connsiteX50" fmla="*/ 14636308 w 20349121"/>
                <a:gd name="connsiteY50" fmla="*/ 4912934 h 6061796"/>
                <a:gd name="connsiteX51" fmla="*/ 14542524 w 20349121"/>
                <a:gd name="connsiteY51" fmla="*/ 5393581 h 6061796"/>
                <a:gd name="connsiteX52" fmla="*/ 14542524 w 20349121"/>
                <a:gd name="connsiteY52" fmla="*/ 5768719 h 6061796"/>
                <a:gd name="connsiteX53" fmla="*/ 14554247 w 20349121"/>
                <a:gd name="connsiteY53" fmla="*/ 5991457 h 6061796"/>
                <a:gd name="connsiteX54" fmla="*/ 14472185 w 20349121"/>
                <a:gd name="connsiteY54" fmla="*/ 6014904 h 6061796"/>
                <a:gd name="connsiteX55" fmla="*/ 14073601 w 20349121"/>
                <a:gd name="connsiteY55" fmla="*/ 6014904 h 6061796"/>
                <a:gd name="connsiteX56" fmla="*/ 11693816 w 20349121"/>
                <a:gd name="connsiteY56" fmla="*/ 6038350 h 6061796"/>
                <a:gd name="connsiteX57" fmla="*/ 5457139 w 20349121"/>
                <a:gd name="connsiteY57" fmla="*/ 6061796 h 6061796"/>
                <a:gd name="connsiteX58" fmla="*/ 5328185 w 20349121"/>
                <a:gd name="connsiteY58" fmla="*/ 6003181 h 6061796"/>
                <a:gd name="connsiteX59" fmla="*/ 5351631 w 20349121"/>
                <a:gd name="connsiteY59" fmla="*/ 5604596 h 6061796"/>
                <a:gd name="connsiteX60" fmla="*/ 5222677 w 20349121"/>
                <a:gd name="connsiteY60" fmla="*/ 4678473 h 6061796"/>
                <a:gd name="connsiteX61" fmla="*/ 4554462 w 20349121"/>
                <a:gd name="connsiteY61" fmla="*/ 3881304 h 6061796"/>
                <a:gd name="connsiteX62" fmla="*/ 3804185 w 20349121"/>
                <a:gd name="connsiteY62" fmla="*/ 3635119 h 6061796"/>
                <a:gd name="connsiteX63" fmla="*/ 2995293 w 20349121"/>
                <a:gd name="connsiteY63" fmla="*/ 3693734 h 6061796"/>
                <a:gd name="connsiteX64" fmla="*/ 2432585 w 20349121"/>
                <a:gd name="connsiteY64" fmla="*/ 3975088 h 6061796"/>
                <a:gd name="connsiteX65" fmla="*/ 1987108 w 20349121"/>
                <a:gd name="connsiteY65" fmla="*/ 4584688 h 6061796"/>
                <a:gd name="connsiteX66" fmla="*/ 1799539 w 20349121"/>
                <a:gd name="connsiteY66" fmla="*/ 5159119 h 6061796"/>
                <a:gd name="connsiteX67" fmla="*/ 1787816 w 20349121"/>
                <a:gd name="connsiteY67" fmla="*/ 5745273 h 6061796"/>
                <a:gd name="connsiteX68" fmla="*/ 1776093 w 20349121"/>
                <a:gd name="connsiteY68" fmla="*/ 5944565 h 6061796"/>
                <a:gd name="connsiteX69" fmla="*/ 1647139 w 20349121"/>
                <a:gd name="connsiteY69" fmla="*/ 5956288 h 6061796"/>
                <a:gd name="connsiteX70" fmla="*/ 709293 w 20349121"/>
                <a:gd name="connsiteY70" fmla="*/ 5932842 h 6061796"/>
                <a:gd name="connsiteX71" fmla="*/ 556893 w 20349121"/>
                <a:gd name="connsiteY71" fmla="*/ 5909396 h 6061796"/>
                <a:gd name="connsiteX72" fmla="*/ 474831 w 20349121"/>
                <a:gd name="connsiteY72" fmla="*/ 5803888 h 6061796"/>
                <a:gd name="connsiteX73" fmla="*/ 404493 w 20349121"/>
                <a:gd name="connsiteY73" fmla="*/ 5745273 h 6061796"/>
                <a:gd name="connsiteX74" fmla="*/ 263816 w 20349121"/>
                <a:gd name="connsiteY74" fmla="*/ 5581150 h 6061796"/>
                <a:gd name="connsiteX75" fmla="*/ 404493 w 20349121"/>
                <a:gd name="connsiteY75" fmla="*/ 5534257 h 6061796"/>
                <a:gd name="connsiteX76" fmla="*/ 334154 w 20349121"/>
                <a:gd name="connsiteY76" fmla="*/ 5428750 h 6061796"/>
                <a:gd name="connsiteX77" fmla="*/ 240370 w 20349121"/>
                <a:gd name="connsiteY77" fmla="*/ 5030165 h 6061796"/>
                <a:gd name="connsiteX78" fmla="*/ 205201 w 20349121"/>
                <a:gd name="connsiteY78" fmla="*/ 4983273 h 6061796"/>
                <a:gd name="connsiteX79" fmla="*/ 76247 w 20349121"/>
                <a:gd name="connsiteY79" fmla="*/ 4971550 h 6061796"/>
                <a:gd name="connsiteX80" fmla="*/ 52801 w 20349121"/>
                <a:gd name="connsiteY80" fmla="*/ 4842596 h 6061796"/>
                <a:gd name="connsiteX81" fmla="*/ 5908 w 20349121"/>
                <a:gd name="connsiteY81" fmla="*/ 4385396 h 6061796"/>
                <a:gd name="connsiteX82" fmla="*/ 17631 w 20349121"/>
                <a:gd name="connsiteY82" fmla="*/ 4315057 h 6061796"/>
                <a:gd name="connsiteX83" fmla="*/ 158308 w 20349121"/>
                <a:gd name="connsiteY83" fmla="*/ 4279888 h 6061796"/>
                <a:gd name="connsiteX84" fmla="*/ 240370 w 20349121"/>
                <a:gd name="connsiteY84" fmla="*/ 4150934 h 6061796"/>
                <a:gd name="connsiteX85" fmla="*/ 205201 w 20349121"/>
                <a:gd name="connsiteY85" fmla="*/ 3963365 h 6061796"/>
                <a:gd name="connsiteX86" fmla="*/ 193477 w 20349121"/>
                <a:gd name="connsiteY86" fmla="*/ 3623396 h 6061796"/>
                <a:gd name="connsiteX87" fmla="*/ 357601 w 20349121"/>
                <a:gd name="connsiteY87" fmla="*/ 3283427 h 6061796"/>
                <a:gd name="connsiteX88" fmla="*/ 1154770 w 20349121"/>
                <a:gd name="connsiteY88" fmla="*/ 2861396 h 6061796"/>
                <a:gd name="connsiteX89" fmla="*/ 2104339 w 20349121"/>
                <a:gd name="connsiteY89" fmla="*/ 2626934 h 6061796"/>
                <a:gd name="connsiteX90" fmla="*/ 3780739 w 20349121"/>
                <a:gd name="connsiteY90" fmla="*/ 2333857 h 6061796"/>
                <a:gd name="connsiteX91" fmla="*/ 5199231 w 20349121"/>
                <a:gd name="connsiteY91" fmla="*/ 2169734 h 6061796"/>
                <a:gd name="connsiteX92" fmla="*/ 5574370 w 20349121"/>
                <a:gd name="connsiteY92" fmla="*/ 2146288 h 6061796"/>
                <a:gd name="connsiteX93" fmla="*/ 5726770 w 20349121"/>
                <a:gd name="connsiteY93" fmla="*/ 2158011 h 6061796"/>
                <a:gd name="connsiteX94" fmla="*/ 5937785 w 20349121"/>
                <a:gd name="connsiteY94" fmla="*/ 2251796 h 6061796"/>
                <a:gd name="connsiteX95" fmla="*/ 5996401 w 20349121"/>
                <a:gd name="connsiteY95" fmla="*/ 2228350 h 6061796"/>
                <a:gd name="connsiteX0" fmla="*/ 5996401 w 20349121"/>
                <a:gd name="connsiteY0" fmla="*/ 2228350 h 6045759"/>
                <a:gd name="connsiteX1" fmla="*/ 6899077 w 20349121"/>
                <a:gd name="connsiteY1" fmla="*/ 1700811 h 6045759"/>
                <a:gd name="connsiteX2" fmla="*/ 8212062 w 20349121"/>
                <a:gd name="connsiteY2" fmla="*/ 915365 h 6045759"/>
                <a:gd name="connsiteX3" fmla="*/ 9032677 w 20349121"/>
                <a:gd name="connsiteY3" fmla="*/ 528504 h 6045759"/>
                <a:gd name="connsiteX4" fmla="*/ 9079570 w 20349121"/>
                <a:gd name="connsiteY4" fmla="*/ 469888 h 6045759"/>
                <a:gd name="connsiteX5" fmla="*/ 9220247 w 20349121"/>
                <a:gd name="connsiteY5" fmla="*/ 411273 h 6045759"/>
                <a:gd name="connsiteX6" fmla="*/ 10005693 w 20349121"/>
                <a:gd name="connsiteY6" fmla="*/ 188534 h 6045759"/>
                <a:gd name="connsiteX7" fmla="*/ 11365570 w 20349121"/>
                <a:gd name="connsiteY7" fmla="*/ 47857 h 6045759"/>
                <a:gd name="connsiteX8" fmla="*/ 12948185 w 20349121"/>
                <a:gd name="connsiteY8" fmla="*/ 965 h 6045759"/>
                <a:gd name="connsiteX9" fmla="*/ 14565970 w 20349121"/>
                <a:gd name="connsiteY9" fmla="*/ 83027 h 6045759"/>
                <a:gd name="connsiteX10" fmla="*/ 16054801 w 20349121"/>
                <a:gd name="connsiteY10" fmla="*/ 165088 h 6045759"/>
                <a:gd name="connsiteX11" fmla="*/ 17496739 w 20349121"/>
                <a:gd name="connsiteY11" fmla="*/ 364381 h 6045759"/>
                <a:gd name="connsiteX12" fmla="*/ 18012554 w 20349121"/>
                <a:gd name="connsiteY12" fmla="*/ 481611 h 6045759"/>
                <a:gd name="connsiteX13" fmla="*/ 18352524 w 20349121"/>
                <a:gd name="connsiteY13" fmla="*/ 528504 h 6045759"/>
                <a:gd name="connsiteX14" fmla="*/ 18434585 w 20349121"/>
                <a:gd name="connsiteY14" fmla="*/ 575396 h 6045759"/>
                <a:gd name="connsiteX15" fmla="*/ 18469754 w 20349121"/>
                <a:gd name="connsiteY15" fmla="*/ 634011 h 6045759"/>
                <a:gd name="connsiteX16" fmla="*/ 18903508 w 20349121"/>
                <a:gd name="connsiteY16" fmla="*/ 1091211 h 6045759"/>
                <a:gd name="connsiteX17" fmla="*/ 19560001 w 20349121"/>
                <a:gd name="connsiteY17" fmla="*/ 1853211 h 6045759"/>
                <a:gd name="connsiteX18" fmla="*/ 19665508 w 20349121"/>
                <a:gd name="connsiteY18" fmla="*/ 1993888 h 6045759"/>
                <a:gd name="connsiteX19" fmla="*/ 19864801 w 20349121"/>
                <a:gd name="connsiteY19" fmla="*/ 2099396 h 6045759"/>
                <a:gd name="connsiteX20" fmla="*/ 19946862 w 20349121"/>
                <a:gd name="connsiteY20" fmla="*/ 2228350 h 6045759"/>
                <a:gd name="connsiteX21" fmla="*/ 19911693 w 20349121"/>
                <a:gd name="connsiteY21" fmla="*/ 2415919 h 6045759"/>
                <a:gd name="connsiteX22" fmla="*/ 19888247 w 20349121"/>
                <a:gd name="connsiteY22" fmla="*/ 2802781 h 6045759"/>
                <a:gd name="connsiteX23" fmla="*/ 19888247 w 20349121"/>
                <a:gd name="connsiteY23" fmla="*/ 3060688 h 6045759"/>
                <a:gd name="connsiteX24" fmla="*/ 19993754 w 20349121"/>
                <a:gd name="connsiteY24" fmla="*/ 3271704 h 6045759"/>
                <a:gd name="connsiteX25" fmla="*/ 19982031 w 20349121"/>
                <a:gd name="connsiteY25" fmla="*/ 3447550 h 6045759"/>
                <a:gd name="connsiteX26" fmla="*/ 19935139 w 20349121"/>
                <a:gd name="connsiteY26" fmla="*/ 3635119 h 6045759"/>
                <a:gd name="connsiteX27" fmla="*/ 20134431 w 20349121"/>
                <a:gd name="connsiteY27" fmla="*/ 3705457 h 6045759"/>
                <a:gd name="connsiteX28" fmla="*/ 20275108 w 20349121"/>
                <a:gd name="connsiteY28" fmla="*/ 3752350 h 6045759"/>
                <a:gd name="connsiteX29" fmla="*/ 20345447 w 20349121"/>
                <a:gd name="connsiteY29" fmla="*/ 3846134 h 6045759"/>
                <a:gd name="connsiteX30" fmla="*/ 20333724 w 20349121"/>
                <a:gd name="connsiteY30" fmla="*/ 4010257 h 6045759"/>
                <a:gd name="connsiteX31" fmla="*/ 20286831 w 20349121"/>
                <a:gd name="connsiteY31" fmla="*/ 4186104 h 6045759"/>
                <a:gd name="connsiteX32" fmla="*/ 20275108 w 20349121"/>
                <a:gd name="connsiteY32" fmla="*/ 4397119 h 6045759"/>
                <a:gd name="connsiteX33" fmla="*/ 20181324 w 20349121"/>
                <a:gd name="connsiteY33" fmla="*/ 4397119 h 6045759"/>
                <a:gd name="connsiteX34" fmla="*/ 20087539 w 20349121"/>
                <a:gd name="connsiteY34" fmla="*/ 4748811 h 6045759"/>
                <a:gd name="connsiteX35" fmla="*/ 20064093 w 20349121"/>
                <a:gd name="connsiteY35" fmla="*/ 5182565 h 6045759"/>
                <a:gd name="connsiteX36" fmla="*/ 20157877 w 20349121"/>
                <a:gd name="connsiteY36" fmla="*/ 5475642 h 6045759"/>
                <a:gd name="connsiteX37" fmla="*/ 20052370 w 20349121"/>
                <a:gd name="connsiteY37" fmla="*/ 5510811 h 6045759"/>
                <a:gd name="connsiteX38" fmla="*/ 19548277 w 20349121"/>
                <a:gd name="connsiteY38" fmla="*/ 5534257 h 6045759"/>
                <a:gd name="connsiteX39" fmla="*/ 19454493 w 20349121"/>
                <a:gd name="connsiteY39" fmla="*/ 5756996 h 6045759"/>
                <a:gd name="connsiteX40" fmla="*/ 19290370 w 20349121"/>
                <a:gd name="connsiteY40" fmla="*/ 5780442 h 6045759"/>
                <a:gd name="connsiteX41" fmla="*/ 18223570 w 20349121"/>
                <a:gd name="connsiteY41" fmla="*/ 5768719 h 6045759"/>
                <a:gd name="connsiteX42" fmla="*/ 18223570 w 20349121"/>
                <a:gd name="connsiteY42" fmla="*/ 5581150 h 6045759"/>
                <a:gd name="connsiteX43" fmla="*/ 17989108 w 20349121"/>
                <a:gd name="connsiteY43" fmla="*/ 4725365 h 6045759"/>
                <a:gd name="connsiteX44" fmla="*/ 17602247 w 20349121"/>
                <a:gd name="connsiteY44" fmla="*/ 4162657 h 6045759"/>
                <a:gd name="connsiteX45" fmla="*/ 17145047 w 20349121"/>
                <a:gd name="connsiteY45" fmla="*/ 3857857 h 6045759"/>
                <a:gd name="connsiteX46" fmla="*/ 16429939 w 20349121"/>
                <a:gd name="connsiteY46" fmla="*/ 3682011 h 6045759"/>
                <a:gd name="connsiteX47" fmla="*/ 15902401 w 20349121"/>
                <a:gd name="connsiteY47" fmla="*/ 3728904 h 6045759"/>
                <a:gd name="connsiteX48" fmla="*/ 15386585 w 20349121"/>
                <a:gd name="connsiteY48" fmla="*/ 3951642 h 6045759"/>
                <a:gd name="connsiteX49" fmla="*/ 14964554 w 20349121"/>
                <a:gd name="connsiteY49" fmla="*/ 4397119 h 6045759"/>
                <a:gd name="connsiteX50" fmla="*/ 14636308 w 20349121"/>
                <a:gd name="connsiteY50" fmla="*/ 4912934 h 6045759"/>
                <a:gd name="connsiteX51" fmla="*/ 14542524 w 20349121"/>
                <a:gd name="connsiteY51" fmla="*/ 5393581 h 6045759"/>
                <a:gd name="connsiteX52" fmla="*/ 14542524 w 20349121"/>
                <a:gd name="connsiteY52" fmla="*/ 5768719 h 6045759"/>
                <a:gd name="connsiteX53" fmla="*/ 14554247 w 20349121"/>
                <a:gd name="connsiteY53" fmla="*/ 5991457 h 6045759"/>
                <a:gd name="connsiteX54" fmla="*/ 14472185 w 20349121"/>
                <a:gd name="connsiteY54" fmla="*/ 6014904 h 6045759"/>
                <a:gd name="connsiteX55" fmla="*/ 14073601 w 20349121"/>
                <a:gd name="connsiteY55" fmla="*/ 6014904 h 6045759"/>
                <a:gd name="connsiteX56" fmla="*/ 11693816 w 20349121"/>
                <a:gd name="connsiteY56" fmla="*/ 6038350 h 6045759"/>
                <a:gd name="connsiteX57" fmla="*/ 7121816 w 20349121"/>
                <a:gd name="connsiteY57" fmla="*/ 6038350 h 6045759"/>
                <a:gd name="connsiteX58" fmla="*/ 5328185 w 20349121"/>
                <a:gd name="connsiteY58" fmla="*/ 6003181 h 6045759"/>
                <a:gd name="connsiteX59" fmla="*/ 5351631 w 20349121"/>
                <a:gd name="connsiteY59" fmla="*/ 5604596 h 6045759"/>
                <a:gd name="connsiteX60" fmla="*/ 5222677 w 20349121"/>
                <a:gd name="connsiteY60" fmla="*/ 4678473 h 6045759"/>
                <a:gd name="connsiteX61" fmla="*/ 4554462 w 20349121"/>
                <a:gd name="connsiteY61" fmla="*/ 3881304 h 6045759"/>
                <a:gd name="connsiteX62" fmla="*/ 3804185 w 20349121"/>
                <a:gd name="connsiteY62" fmla="*/ 3635119 h 6045759"/>
                <a:gd name="connsiteX63" fmla="*/ 2995293 w 20349121"/>
                <a:gd name="connsiteY63" fmla="*/ 3693734 h 6045759"/>
                <a:gd name="connsiteX64" fmla="*/ 2432585 w 20349121"/>
                <a:gd name="connsiteY64" fmla="*/ 3975088 h 6045759"/>
                <a:gd name="connsiteX65" fmla="*/ 1987108 w 20349121"/>
                <a:gd name="connsiteY65" fmla="*/ 4584688 h 6045759"/>
                <a:gd name="connsiteX66" fmla="*/ 1799539 w 20349121"/>
                <a:gd name="connsiteY66" fmla="*/ 5159119 h 6045759"/>
                <a:gd name="connsiteX67" fmla="*/ 1787816 w 20349121"/>
                <a:gd name="connsiteY67" fmla="*/ 5745273 h 6045759"/>
                <a:gd name="connsiteX68" fmla="*/ 1776093 w 20349121"/>
                <a:gd name="connsiteY68" fmla="*/ 5944565 h 6045759"/>
                <a:gd name="connsiteX69" fmla="*/ 1647139 w 20349121"/>
                <a:gd name="connsiteY69" fmla="*/ 5956288 h 6045759"/>
                <a:gd name="connsiteX70" fmla="*/ 709293 w 20349121"/>
                <a:gd name="connsiteY70" fmla="*/ 5932842 h 6045759"/>
                <a:gd name="connsiteX71" fmla="*/ 556893 w 20349121"/>
                <a:gd name="connsiteY71" fmla="*/ 5909396 h 6045759"/>
                <a:gd name="connsiteX72" fmla="*/ 474831 w 20349121"/>
                <a:gd name="connsiteY72" fmla="*/ 5803888 h 6045759"/>
                <a:gd name="connsiteX73" fmla="*/ 404493 w 20349121"/>
                <a:gd name="connsiteY73" fmla="*/ 5745273 h 6045759"/>
                <a:gd name="connsiteX74" fmla="*/ 263816 w 20349121"/>
                <a:gd name="connsiteY74" fmla="*/ 5581150 h 6045759"/>
                <a:gd name="connsiteX75" fmla="*/ 404493 w 20349121"/>
                <a:gd name="connsiteY75" fmla="*/ 5534257 h 6045759"/>
                <a:gd name="connsiteX76" fmla="*/ 334154 w 20349121"/>
                <a:gd name="connsiteY76" fmla="*/ 5428750 h 6045759"/>
                <a:gd name="connsiteX77" fmla="*/ 240370 w 20349121"/>
                <a:gd name="connsiteY77" fmla="*/ 5030165 h 6045759"/>
                <a:gd name="connsiteX78" fmla="*/ 205201 w 20349121"/>
                <a:gd name="connsiteY78" fmla="*/ 4983273 h 6045759"/>
                <a:gd name="connsiteX79" fmla="*/ 76247 w 20349121"/>
                <a:gd name="connsiteY79" fmla="*/ 4971550 h 6045759"/>
                <a:gd name="connsiteX80" fmla="*/ 52801 w 20349121"/>
                <a:gd name="connsiteY80" fmla="*/ 4842596 h 6045759"/>
                <a:gd name="connsiteX81" fmla="*/ 5908 w 20349121"/>
                <a:gd name="connsiteY81" fmla="*/ 4385396 h 6045759"/>
                <a:gd name="connsiteX82" fmla="*/ 17631 w 20349121"/>
                <a:gd name="connsiteY82" fmla="*/ 4315057 h 6045759"/>
                <a:gd name="connsiteX83" fmla="*/ 158308 w 20349121"/>
                <a:gd name="connsiteY83" fmla="*/ 4279888 h 6045759"/>
                <a:gd name="connsiteX84" fmla="*/ 240370 w 20349121"/>
                <a:gd name="connsiteY84" fmla="*/ 4150934 h 6045759"/>
                <a:gd name="connsiteX85" fmla="*/ 205201 w 20349121"/>
                <a:gd name="connsiteY85" fmla="*/ 3963365 h 6045759"/>
                <a:gd name="connsiteX86" fmla="*/ 193477 w 20349121"/>
                <a:gd name="connsiteY86" fmla="*/ 3623396 h 6045759"/>
                <a:gd name="connsiteX87" fmla="*/ 357601 w 20349121"/>
                <a:gd name="connsiteY87" fmla="*/ 3283427 h 6045759"/>
                <a:gd name="connsiteX88" fmla="*/ 1154770 w 20349121"/>
                <a:gd name="connsiteY88" fmla="*/ 2861396 h 6045759"/>
                <a:gd name="connsiteX89" fmla="*/ 2104339 w 20349121"/>
                <a:gd name="connsiteY89" fmla="*/ 2626934 h 6045759"/>
                <a:gd name="connsiteX90" fmla="*/ 3780739 w 20349121"/>
                <a:gd name="connsiteY90" fmla="*/ 2333857 h 6045759"/>
                <a:gd name="connsiteX91" fmla="*/ 5199231 w 20349121"/>
                <a:gd name="connsiteY91" fmla="*/ 2169734 h 6045759"/>
                <a:gd name="connsiteX92" fmla="*/ 5574370 w 20349121"/>
                <a:gd name="connsiteY92" fmla="*/ 2146288 h 6045759"/>
                <a:gd name="connsiteX93" fmla="*/ 5726770 w 20349121"/>
                <a:gd name="connsiteY93" fmla="*/ 2158011 h 6045759"/>
                <a:gd name="connsiteX94" fmla="*/ 5937785 w 20349121"/>
                <a:gd name="connsiteY94" fmla="*/ 2251796 h 6045759"/>
                <a:gd name="connsiteX95" fmla="*/ 5996401 w 20349121"/>
                <a:gd name="connsiteY95" fmla="*/ 2228350 h 6045759"/>
                <a:gd name="connsiteX0" fmla="*/ 5996401 w 20349121"/>
                <a:gd name="connsiteY0" fmla="*/ 2228350 h 6080632"/>
                <a:gd name="connsiteX1" fmla="*/ 6899077 w 20349121"/>
                <a:gd name="connsiteY1" fmla="*/ 1700811 h 6080632"/>
                <a:gd name="connsiteX2" fmla="*/ 8212062 w 20349121"/>
                <a:gd name="connsiteY2" fmla="*/ 915365 h 6080632"/>
                <a:gd name="connsiteX3" fmla="*/ 9032677 w 20349121"/>
                <a:gd name="connsiteY3" fmla="*/ 528504 h 6080632"/>
                <a:gd name="connsiteX4" fmla="*/ 9079570 w 20349121"/>
                <a:gd name="connsiteY4" fmla="*/ 469888 h 6080632"/>
                <a:gd name="connsiteX5" fmla="*/ 9220247 w 20349121"/>
                <a:gd name="connsiteY5" fmla="*/ 411273 h 6080632"/>
                <a:gd name="connsiteX6" fmla="*/ 10005693 w 20349121"/>
                <a:gd name="connsiteY6" fmla="*/ 188534 h 6080632"/>
                <a:gd name="connsiteX7" fmla="*/ 11365570 w 20349121"/>
                <a:gd name="connsiteY7" fmla="*/ 47857 h 6080632"/>
                <a:gd name="connsiteX8" fmla="*/ 12948185 w 20349121"/>
                <a:gd name="connsiteY8" fmla="*/ 965 h 6080632"/>
                <a:gd name="connsiteX9" fmla="*/ 14565970 w 20349121"/>
                <a:gd name="connsiteY9" fmla="*/ 83027 h 6080632"/>
                <a:gd name="connsiteX10" fmla="*/ 16054801 w 20349121"/>
                <a:gd name="connsiteY10" fmla="*/ 165088 h 6080632"/>
                <a:gd name="connsiteX11" fmla="*/ 17496739 w 20349121"/>
                <a:gd name="connsiteY11" fmla="*/ 364381 h 6080632"/>
                <a:gd name="connsiteX12" fmla="*/ 18012554 w 20349121"/>
                <a:gd name="connsiteY12" fmla="*/ 481611 h 6080632"/>
                <a:gd name="connsiteX13" fmla="*/ 18352524 w 20349121"/>
                <a:gd name="connsiteY13" fmla="*/ 528504 h 6080632"/>
                <a:gd name="connsiteX14" fmla="*/ 18434585 w 20349121"/>
                <a:gd name="connsiteY14" fmla="*/ 575396 h 6080632"/>
                <a:gd name="connsiteX15" fmla="*/ 18469754 w 20349121"/>
                <a:gd name="connsiteY15" fmla="*/ 634011 h 6080632"/>
                <a:gd name="connsiteX16" fmla="*/ 18903508 w 20349121"/>
                <a:gd name="connsiteY16" fmla="*/ 1091211 h 6080632"/>
                <a:gd name="connsiteX17" fmla="*/ 19560001 w 20349121"/>
                <a:gd name="connsiteY17" fmla="*/ 1853211 h 6080632"/>
                <a:gd name="connsiteX18" fmla="*/ 19665508 w 20349121"/>
                <a:gd name="connsiteY18" fmla="*/ 1993888 h 6080632"/>
                <a:gd name="connsiteX19" fmla="*/ 19864801 w 20349121"/>
                <a:gd name="connsiteY19" fmla="*/ 2099396 h 6080632"/>
                <a:gd name="connsiteX20" fmla="*/ 19946862 w 20349121"/>
                <a:gd name="connsiteY20" fmla="*/ 2228350 h 6080632"/>
                <a:gd name="connsiteX21" fmla="*/ 19911693 w 20349121"/>
                <a:gd name="connsiteY21" fmla="*/ 2415919 h 6080632"/>
                <a:gd name="connsiteX22" fmla="*/ 19888247 w 20349121"/>
                <a:gd name="connsiteY22" fmla="*/ 2802781 h 6080632"/>
                <a:gd name="connsiteX23" fmla="*/ 19888247 w 20349121"/>
                <a:gd name="connsiteY23" fmla="*/ 3060688 h 6080632"/>
                <a:gd name="connsiteX24" fmla="*/ 19993754 w 20349121"/>
                <a:gd name="connsiteY24" fmla="*/ 3271704 h 6080632"/>
                <a:gd name="connsiteX25" fmla="*/ 19982031 w 20349121"/>
                <a:gd name="connsiteY25" fmla="*/ 3447550 h 6080632"/>
                <a:gd name="connsiteX26" fmla="*/ 19935139 w 20349121"/>
                <a:gd name="connsiteY26" fmla="*/ 3635119 h 6080632"/>
                <a:gd name="connsiteX27" fmla="*/ 20134431 w 20349121"/>
                <a:gd name="connsiteY27" fmla="*/ 3705457 h 6080632"/>
                <a:gd name="connsiteX28" fmla="*/ 20275108 w 20349121"/>
                <a:gd name="connsiteY28" fmla="*/ 3752350 h 6080632"/>
                <a:gd name="connsiteX29" fmla="*/ 20345447 w 20349121"/>
                <a:gd name="connsiteY29" fmla="*/ 3846134 h 6080632"/>
                <a:gd name="connsiteX30" fmla="*/ 20333724 w 20349121"/>
                <a:gd name="connsiteY30" fmla="*/ 4010257 h 6080632"/>
                <a:gd name="connsiteX31" fmla="*/ 20286831 w 20349121"/>
                <a:gd name="connsiteY31" fmla="*/ 4186104 h 6080632"/>
                <a:gd name="connsiteX32" fmla="*/ 20275108 w 20349121"/>
                <a:gd name="connsiteY32" fmla="*/ 4397119 h 6080632"/>
                <a:gd name="connsiteX33" fmla="*/ 20181324 w 20349121"/>
                <a:gd name="connsiteY33" fmla="*/ 4397119 h 6080632"/>
                <a:gd name="connsiteX34" fmla="*/ 20087539 w 20349121"/>
                <a:gd name="connsiteY34" fmla="*/ 4748811 h 6080632"/>
                <a:gd name="connsiteX35" fmla="*/ 20064093 w 20349121"/>
                <a:gd name="connsiteY35" fmla="*/ 5182565 h 6080632"/>
                <a:gd name="connsiteX36" fmla="*/ 20157877 w 20349121"/>
                <a:gd name="connsiteY36" fmla="*/ 5475642 h 6080632"/>
                <a:gd name="connsiteX37" fmla="*/ 20052370 w 20349121"/>
                <a:gd name="connsiteY37" fmla="*/ 5510811 h 6080632"/>
                <a:gd name="connsiteX38" fmla="*/ 19548277 w 20349121"/>
                <a:gd name="connsiteY38" fmla="*/ 5534257 h 6080632"/>
                <a:gd name="connsiteX39" fmla="*/ 19454493 w 20349121"/>
                <a:gd name="connsiteY39" fmla="*/ 5756996 h 6080632"/>
                <a:gd name="connsiteX40" fmla="*/ 19290370 w 20349121"/>
                <a:gd name="connsiteY40" fmla="*/ 5780442 h 6080632"/>
                <a:gd name="connsiteX41" fmla="*/ 18223570 w 20349121"/>
                <a:gd name="connsiteY41" fmla="*/ 5768719 h 6080632"/>
                <a:gd name="connsiteX42" fmla="*/ 18223570 w 20349121"/>
                <a:gd name="connsiteY42" fmla="*/ 5581150 h 6080632"/>
                <a:gd name="connsiteX43" fmla="*/ 17989108 w 20349121"/>
                <a:gd name="connsiteY43" fmla="*/ 4725365 h 6080632"/>
                <a:gd name="connsiteX44" fmla="*/ 17602247 w 20349121"/>
                <a:gd name="connsiteY44" fmla="*/ 4162657 h 6080632"/>
                <a:gd name="connsiteX45" fmla="*/ 17145047 w 20349121"/>
                <a:gd name="connsiteY45" fmla="*/ 3857857 h 6080632"/>
                <a:gd name="connsiteX46" fmla="*/ 16429939 w 20349121"/>
                <a:gd name="connsiteY46" fmla="*/ 3682011 h 6080632"/>
                <a:gd name="connsiteX47" fmla="*/ 15902401 w 20349121"/>
                <a:gd name="connsiteY47" fmla="*/ 3728904 h 6080632"/>
                <a:gd name="connsiteX48" fmla="*/ 15386585 w 20349121"/>
                <a:gd name="connsiteY48" fmla="*/ 3951642 h 6080632"/>
                <a:gd name="connsiteX49" fmla="*/ 14964554 w 20349121"/>
                <a:gd name="connsiteY49" fmla="*/ 4397119 h 6080632"/>
                <a:gd name="connsiteX50" fmla="*/ 14636308 w 20349121"/>
                <a:gd name="connsiteY50" fmla="*/ 4912934 h 6080632"/>
                <a:gd name="connsiteX51" fmla="*/ 14542524 w 20349121"/>
                <a:gd name="connsiteY51" fmla="*/ 5393581 h 6080632"/>
                <a:gd name="connsiteX52" fmla="*/ 14542524 w 20349121"/>
                <a:gd name="connsiteY52" fmla="*/ 5768719 h 6080632"/>
                <a:gd name="connsiteX53" fmla="*/ 14554247 w 20349121"/>
                <a:gd name="connsiteY53" fmla="*/ 5991457 h 6080632"/>
                <a:gd name="connsiteX54" fmla="*/ 14472185 w 20349121"/>
                <a:gd name="connsiteY54" fmla="*/ 6014904 h 6080632"/>
                <a:gd name="connsiteX55" fmla="*/ 14073601 w 20349121"/>
                <a:gd name="connsiteY55" fmla="*/ 6014904 h 6080632"/>
                <a:gd name="connsiteX56" fmla="*/ 11693816 w 20349121"/>
                <a:gd name="connsiteY56" fmla="*/ 6038350 h 6080632"/>
                <a:gd name="connsiteX57" fmla="*/ 7121816 w 20349121"/>
                <a:gd name="connsiteY57" fmla="*/ 6038350 h 6080632"/>
                <a:gd name="connsiteX58" fmla="*/ 5328185 w 20349121"/>
                <a:gd name="connsiteY58" fmla="*/ 6003181 h 6080632"/>
                <a:gd name="connsiteX59" fmla="*/ 5351631 w 20349121"/>
                <a:gd name="connsiteY59" fmla="*/ 5604596 h 6080632"/>
                <a:gd name="connsiteX60" fmla="*/ 5222677 w 20349121"/>
                <a:gd name="connsiteY60" fmla="*/ 4678473 h 6080632"/>
                <a:gd name="connsiteX61" fmla="*/ 4554462 w 20349121"/>
                <a:gd name="connsiteY61" fmla="*/ 3881304 h 6080632"/>
                <a:gd name="connsiteX62" fmla="*/ 3804185 w 20349121"/>
                <a:gd name="connsiteY62" fmla="*/ 3635119 h 6080632"/>
                <a:gd name="connsiteX63" fmla="*/ 2995293 w 20349121"/>
                <a:gd name="connsiteY63" fmla="*/ 3693734 h 6080632"/>
                <a:gd name="connsiteX64" fmla="*/ 2432585 w 20349121"/>
                <a:gd name="connsiteY64" fmla="*/ 3975088 h 6080632"/>
                <a:gd name="connsiteX65" fmla="*/ 1987108 w 20349121"/>
                <a:gd name="connsiteY65" fmla="*/ 4584688 h 6080632"/>
                <a:gd name="connsiteX66" fmla="*/ 1799539 w 20349121"/>
                <a:gd name="connsiteY66" fmla="*/ 5159119 h 6080632"/>
                <a:gd name="connsiteX67" fmla="*/ 1787816 w 20349121"/>
                <a:gd name="connsiteY67" fmla="*/ 5745273 h 6080632"/>
                <a:gd name="connsiteX68" fmla="*/ 1776093 w 20349121"/>
                <a:gd name="connsiteY68" fmla="*/ 5944565 h 6080632"/>
                <a:gd name="connsiteX69" fmla="*/ 1647139 w 20349121"/>
                <a:gd name="connsiteY69" fmla="*/ 5956288 h 6080632"/>
                <a:gd name="connsiteX70" fmla="*/ 709293 w 20349121"/>
                <a:gd name="connsiteY70" fmla="*/ 5932842 h 6080632"/>
                <a:gd name="connsiteX71" fmla="*/ 556893 w 20349121"/>
                <a:gd name="connsiteY71" fmla="*/ 5909396 h 6080632"/>
                <a:gd name="connsiteX72" fmla="*/ 474831 w 20349121"/>
                <a:gd name="connsiteY72" fmla="*/ 5803888 h 6080632"/>
                <a:gd name="connsiteX73" fmla="*/ 404493 w 20349121"/>
                <a:gd name="connsiteY73" fmla="*/ 5745273 h 6080632"/>
                <a:gd name="connsiteX74" fmla="*/ 263816 w 20349121"/>
                <a:gd name="connsiteY74" fmla="*/ 5581150 h 6080632"/>
                <a:gd name="connsiteX75" fmla="*/ 404493 w 20349121"/>
                <a:gd name="connsiteY75" fmla="*/ 5534257 h 6080632"/>
                <a:gd name="connsiteX76" fmla="*/ 334154 w 20349121"/>
                <a:gd name="connsiteY76" fmla="*/ 5428750 h 6080632"/>
                <a:gd name="connsiteX77" fmla="*/ 240370 w 20349121"/>
                <a:gd name="connsiteY77" fmla="*/ 5030165 h 6080632"/>
                <a:gd name="connsiteX78" fmla="*/ 205201 w 20349121"/>
                <a:gd name="connsiteY78" fmla="*/ 4983273 h 6080632"/>
                <a:gd name="connsiteX79" fmla="*/ 76247 w 20349121"/>
                <a:gd name="connsiteY79" fmla="*/ 4971550 h 6080632"/>
                <a:gd name="connsiteX80" fmla="*/ 52801 w 20349121"/>
                <a:gd name="connsiteY80" fmla="*/ 4842596 h 6080632"/>
                <a:gd name="connsiteX81" fmla="*/ 5908 w 20349121"/>
                <a:gd name="connsiteY81" fmla="*/ 4385396 h 6080632"/>
                <a:gd name="connsiteX82" fmla="*/ 17631 w 20349121"/>
                <a:gd name="connsiteY82" fmla="*/ 4315057 h 6080632"/>
                <a:gd name="connsiteX83" fmla="*/ 158308 w 20349121"/>
                <a:gd name="connsiteY83" fmla="*/ 4279888 h 6080632"/>
                <a:gd name="connsiteX84" fmla="*/ 240370 w 20349121"/>
                <a:gd name="connsiteY84" fmla="*/ 4150934 h 6080632"/>
                <a:gd name="connsiteX85" fmla="*/ 205201 w 20349121"/>
                <a:gd name="connsiteY85" fmla="*/ 3963365 h 6080632"/>
                <a:gd name="connsiteX86" fmla="*/ 193477 w 20349121"/>
                <a:gd name="connsiteY86" fmla="*/ 3623396 h 6080632"/>
                <a:gd name="connsiteX87" fmla="*/ 357601 w 20349121"/>
                <a:gd name="connsiteY87" fmla="*/ 3283427 h 6080632"/>
                <a:gd name="connsiteX88" fmla="*/ 1154770 w 20349121"/>
                <a:gd name="connsiteY88" fmla="*/ 2861396 h 6080632"/>
                <a:gd name="connsiteX89" fmla="*/ 2104339 w 20349121"/>
                <a:gd name="connsiteY89" fmla="*/ 2626934 h 6080632"/>
                <a:gd name="connsiteX90" fmla="*/ 3780739 w 20349121"/>
                <a:gd name="connsiteY90" fmla="*/ 2333857 h 6080632"/>
                <a:gd name="connsiteX91" fmla="*/ 5199231 w 20349121"/>
                <a:gd name="connsiteY91" fmla="*/ 2169734 h 6080632"/>
                <a:gd name="connsiteX92" fmla="*/ 5574370 w 20349121"/>
                <a:gd name="connsiteY92" fmla="*/ 2146288 h 6080632"/>
                <a:gd name="connsiteX93" fmla="*/ 5726770 w 20349121"/>
                <a:gd name="connsiteY93" fmla="*/ 2158011 h 6080632"/>
                <a:gd name="connsiteX94" fmla="*/ 5937785 w 20349121"/>
                <a:gd name="connsiteY94" fmla="*/ 2251796 h 6080632"/>
                <a:gd name="connsiteX95" fmla="*/ 5996401 w 20349121"/>
                <a:gd name="connsiteY95" fmla="*/ 2228350 h 6080632"/>
                <a:gd name="connsiteX0" fmla="*/ 5996401 w 20349121"/>
                <a:gd name="connsiteY0" fmla="*/ 2228350 h 6055371"/>
                <a:gd name="connsiteX1" fmla="*/ 6899077 w 20349121"/>
                <a:gd name="connsiteY1" fmla="*/ 1700811 h 6055371"/>
                <a:gd name="connsiteX2" fmla="*/ 8212062 w 20349121"/>
                <a:gd name="connsiteY2" fmla="*/ 915365 h 6055371"/>
                <a:gd name="connsiteX3" fmla="*/ 9032677 w 20349121"/>
                <a:gd name="connsiteY3" fmla="*/ 528504 h 6055371"/>
                <a:gd name="connsiteX4" fmla="*/ 9079570 w 20349121"/>
                <a:gd name="connsiteY4" fmla="*/ 469888 h 6055371"/>
                <a:gd name="connsiteX5" fmla="*/ 9220247 w 20349121"/>
                <a:gd name="connsiteY5" fmla="*/ 411273 h 6055371"/>
                <a:gd name="connsiteX6" fmla="*/ 10005693 w 20349121"/>
                <a:gd name="connsiteY6" fmla="*/ 188534 h 6055371"/>
                <a:gd name="connsiteX7" fmla="*/ 11365570 w 20349121"/>
                <a:gd name="connsiteY7" fmla="*/ 47857 h 6055371"/>
                <a:gd name="connsiteX8" fmla="*/ 12948185 w 20349121"/>
                <a:gd name="connsiteY8" fmla="*/ 965 h 6055371"/>
                <a:gd name="connsiteX9" fmla="*/ 14565970 w 20349121"/>
                <a:gd name="connsiteY9" fmla="*/ 83027 h 6055371"/>
                <a:gd name="connsiteX10" fmla="*/ 16054801 w 20349121"/>
                <a:gd name="connsiteY10" fmla="*/ 165088 h 6055371"/>
                <a:gd name="connsiteX11" fmla="*/ 17496739 w 20349121"/>
                <a:gd name="connsiteY11" fmla="*/ 364381 h 6055371"/>
                <a:gd name="connsiteX12" fmla="*/ 18012554 w 20349121"/>
                <a:gd name="connsiteY12" fmla="*/ 481611 h 6055371"/>
                <a:gd name="connsiteX13" fmla="*/ 18352524 w 20349121"/>
                <a:gd name="connsiteY13" fmla="*/ 528504 h 6055371"/>
                <a:gd name="connsiteX14" fmla="*/ 18434585 w 20349121"/>
                <a:gd name="connsiteY14" fmla="*/ 575396 h 6055371"/>
                <a:gd name="connsiteX15" fmla="*/ 18469754 w 20349121"/>
                <a:gd name="connsiteY15" fmla="*/ 634011 h 6055371"/>
                <a:gd name="connsiteX16" fmla="*/ 18903508 w 20349121"/>
                <a:gd name="connsiteY16" fmla="*/ 1091211 h 6055371"/>
                <a:gd name="connsiteX17" fmla="*/ 19560001 w 20349121"/>
                <a:gd name="connsiteY17" fmla="*/ 1853211 h 6055371"/>
                <a:gd name="connsiteX18" fmla="*/ 19665508 w 20349121"/>
                <a:gd name="connsiteY18" fmla="*/ 1993888 h 6055371"/>
                <a:gd name="connsiteX19" fmla="*/ 19864801 w 20349121"/>
                <a:gd name="connsiteY19" fmla="*/ 2099396 h 6055371"/>
                <a:gd name="connsiteX20" fmla="*/ 19946862 w 20349121"/>
                <a:gd name="connsiteY20" fmla="*/ 2228350 h 6055371"/>
                <a:gd name="connsiteX21" fmla="*/ 19911693 w 20349121"/>
                <a:gd name="connsiteY21" fmla="*/ 2415919 h 6055371"/>
                <a:gd name="connsiteX22" fmla="*/ 19888247 w 20349121"/>
                <a:gd name="connsiteY22" fmla="*/ 2802781 h 6055371"/>
                <a:gd name="connsiteX23" fmla="*/ 19888247 w 20349121"/>
                <a:gd name="connsiteY23" fmla="*/ 3060688 h 6055371"/>
                <a:gd name="connsiteX24" fmla="*/ 19993754 w 20349121"/>
                <a:gd name="connsiteY24" fmla="*/ 3271704 h 6055371"/>
                <a:gd name="connsiteX25" fmla="*/ 19982031 w 20349121"/>
                <a:gd name="connsiteY25" fmla="*/ 3447550 h 6055371"/>
                <a:gd name="connsiteX26" fmla="*/ 19935139 w 20349121"/>
                <a:gd name="connsiteY26" fmla="*/ 3635119 h 6055371"/>
                <a:gd name="connsiteX27" fmla="*/ 20134431 w 20349121"/>
                <a:gd name="connsiteY27" fmla="*/ 3705457 h 6055371"/>
                <a:gd name="connsiteX28" fmla="*/ 20275108 w 20349121"/>
                <a:gd name="connsiteY28" fmla="*/ 3752350 h 6055371"/>
                <a:gd name="connsiteX29" fmla="*/ 20345447 w 20349121"/>
                <a:gd name="connsiteY29" fmla="*/ 3846134 h 6055371"/>
                <a:gd name="connsiteX30" fmla="*/ 20333724 w 20349121"/>
                <a:gd name="connsiteY30" fmla="*/ 4010257 h 6055371"/>
                <a:gd name="connsiteX31" fmla="*/ 20286831 w 20349121"/>
                <a:gd name="connsiteY31" fmla="*/ 4186104 h 6055371"/>
                <a:gd name="connsiteX32" fmla="*/ 20275108 w 20349121"/>
                <a:gd name="connsiteY32" fmla="*/ 4397119 h 6055371"/>
                <a:gd name="connsiteX33" fmla="*/ 20181324 w 20349121"/>
                <a:gd name="connsiteY33" fmla="*/ 4397119 h 6055371"/>
                <a:gd name="connsiteX34" fmla="*/ 20087539 w 20349121"/>
                <a:gd name="connsiteY34" fmla="*/ 4748811 h 6055371"/>
                <a:gd name="connsiteX35" fmla="*/ 20064093 w 20349121"/>
                <a:gd name="connsiteY35" fmla="*/ 5182565 h 6055371"/>
                <a:gd name="connsiteX36" fmla="*/ 20157877 w 20349121"/>
                <a:gd name="connsiteY36" fmla="*/ 5475642 h 6055371"/>
                <a:gd name="connsiteX37" fmla="*/ 20052370 w 20349121"/>
                <a:gd name="connsiteY37" fmla="*/ 5510811 h 6055371"/>
                <a:gd name="connsiteX38" fmla="*/ 19548277 w 20349121"/>
                <a:gd name="connsiteY38" fmla="*/ 5534257 h 6055371"/>
                <a:gd name="connsiteX39" fmla="*/ 19454493 w 20349121"/>
                <a:gd name="connsiteY39" fmla="*/ 5756996 h 6055371"/>
                <a:gd name="connsiteX40" fmla="*/ 19290370 w 20349121"/>
                <a:gd name="connsiteY40" fmla="*/ 5780442 h 6055371"/>
                <a:gd name="connsiteX41" fmla="*/ 18223570 w 20349121"/>
                <a:gd name="connsiteY41" fmla="*/ 5768719 h 6055371"/>
                <a:gd name="connsiteX42" fmla="*/ 18223570 w 20349121"/>
                <a:gd name="connsiteY42" fmla="*/ 5581150 h 6055371"/>
                <a:gd name="connsiteX43" fmla="*/ 17989108 w 20349121"/>
                <a:gd name="connsiteY43" fmla="*/ 4725365 h 6055371"/>
                <a:gd name="connsiteX44" fmla="*/ 17602247 w 20349121"/>
                <a:gd name="connsiteY44" fmla="*/ 4162657 h 6055371"/>
                <a:gd name="connsiteX45" fmla="*/ 17145047 w 20349121"/>
                <a:gd name="connsiteY45" fmla="*/ 3857857 h 6055371"/>
                <a:gd name="connsiteX46" fmla="*/ 16429939 w 20349121"/>
                <a:gd name="connsiteY46" fmla="*/ 3682011 h 6055371"/>
                <a:gd name="connsiteX47" fmla="*/ 15902401 w 20349121"/>
                <a:gd name="connsiteY47" fmla="*/ 3728904 h 6055371"/>
                <a:gd name="connsiteX48" fmla="*/ 15386585 w 20349121"/>
                <a:gd name="connsiteY48" fmla="*/ 3951642 h 6055371"/>
                <a:gd name="connsiteX49" fmla="*/ 14964554 w 20349121"/>
                <a:gd name="connsiteY49" fmla="*/ 4397119 h 6055371"/>
                <a:gd name="connsiteX50" fmla="*/ 14636308 w 20349121"/>
                <a:gd name="connsiteY50" fmla="*/ 4912934 h 6055371"/>
                <a:gd name="connsiteX51" fmla="*/ 14542524 w 20349121"/>
                <a:gd name="connsiteY51" fmla="*/ 5393581 h 6055371"/>
                <a:gd name="connsiteX52" fmla="*/ 14542524 w 20349121"/>
                <a:gd name="connsiteY52" fmla="*/ 5768719 h 6055371"/>
                <a:gd name="connsiteX53" fmla="*/ 14554247 w 20349121"/>
                <a:gd name="connsiteY53" fmla="*/ 5991457 h 6055371"/>
                <a:gd name="connsiteX54" fmla="*/ 14472185 w 20349121"/>
                <a:gd name="connsiteY54" fmla="*/ 6014904 h 6055371"/>
                <a:gd name="connsiteX55" fmla="*/ 14073601 w 20349121"/>
                <a:gd name="connsiteY55" fmla="*/ 6014904 h 6055371"/>
                <a:gd name="connsiteX56" fmla="*/ 11693816 w 20349121"/>
                <a:gd name="connsiteY56" fmla="*/ 6038350 h 6055371"/>
                <a:gd name="connsiteX57" fmla="*/ 7121816 w 20349121"/>
                <a:gd name="connsiteY57" fmla="*/ 6038350 h 6055371"/>
                <a:gd name="connsiteX58" fmla="*/ 5328185 w 20349121"/>
                <a:gd name="connsiteY58" fmla="*/ 6003181 h 6055371"/>
                <a:gd name="connsiteX59" fmla="*/ 5351631 w 20349121"/>
                <a:gd name="connsiteY59" fmla="*/ 5604596 h 6055371"/>
                <a:gd name="connsiteX60" fmla="*/ 5222677 w 20349121"/>
                <a:gd name="connsiteY60" fmla="*/ 4678473 h 6055371"/>
                <a:gd name="connsiteX61" fmla="*/ 4554462 w 20349121"/>
                <a:gd name="connsiteY61" fmla="*/ 3881304 h 6055371"/>
                <a:gd name="connsiteX62" fmla="*/ 3804185 w 20349121"/>
                <a:gd name="connsiteY62" fmla="*/ 3635119 h 6055371"/>
                <a:gd name="connsiteX63" fmla="*/ 2995293 w 20349121"/>
                <a:gd name="connsiteY63" fmla="*/ 3693734 h 6055371"/>
                <a:gd name="connsiteX64" fmla="*/ 2432585 w 20349121"/>
                <a:gd name="connsiteY64" fmla="*/ 3975088 h 6055371"/>
                <a:gd name="connsiteX65" fmla="*/ 1987108 w 20349121"/>
                <a:gd name="connsiteY65" fmla="*/ 4584688 h 6055371"/>
                <a:gd name="connsiteX66" fmla="*/ 1799539 w 20349121"/>
                <a:gd name="connsiteY66" fmla="*/ 5159119 h 6055371"/>
                <a:gd name="connsiteX67" fmla="*/ 1787816 w 20349121"/>
                <a:gd name="connsiteY67" fmla="*/ 5745273 h 6055371"/>
                <a:gd name="connsiteX68" fmla="*/ 1776093 w 20349121"/>
                <a:gd name="connsiteY68" fmla="*/ 5944565 h 6055371"/>
                <a:gd name="connsiteX69" fmla="*/ 1647139 w 20349121"/>
                <a:gd name="connsiteY69" fmla="*/ 5956288 h 6055371"/>
                <a:gd name="connsiteX70" fmla="*/ 709293 w 20349121"/>
                <a:gd name="connsiteY70" fmla="*/ 5932842 h 6055371"/>
                <a:gd name="connsiteX71" fmla="*/ 556893 w 20349121"/>
                <a:gd name="connsiteY71" fmla="*/ 5909396 h 6055371"/>
                <a:gd name="connsiteX72" fmla="*/ 474831 w 20349121"/>
                <a:gd name="connsiteY72" fmla="*/ 5803888 h 6055371"/>
                <a:gd name="connsiteX73" fmla="*/ 404493 w 20349121"/>
                <a:gd name="connsiteY73" fmla="*/ 5745273 h 6055371"/>
                <a:gd name="connsiteX74" fmla="*/ 263816 w 20349121"/>
                <a:gd name="connsiteY74" fmla="*/ 5581150 h 6055371"/>
                <a:gd name="connsiteX75" fmla="*/ 404493 w 20349121"/>
                <a:gd name="connsiteY75" fmla="*/ 5534257 h 6055371"/>
                <a:gd name="connsiteX76" fmla="*/ 334154 w 20349121"/>
                <a:gd name="connsiteY76" fmla="*/ 5428750 h 6055371"/>
                <a:gd name="connsiteX77" fmla="*/ 240370 w 20349121"/>
                <a:gd name="connsiteY77" fmla="*/ 5030165 h 6055371"/>
                <a:gd name="connsiteX78" fmla="*/ 205201 w 20349121"/>
                <a:gd name="connsiteY78" fmla="*/ 4983273 h 6055371"/>
                <a:gd name="connsiteX79" fmla="*/ 76247 w 20349121"/>
                <a:gd name="connsiteY79" fmla="*/ 4971550 h 6055371"/>
                <a:gd name="connsiteX80" fmla="*/ 52801 w 20349121"/>
                <a:gd name="connsiteY80" fmla="*/ 4842596 h 6055371"/>
                <a:gd name="connsiteX81" fmla="*/ 5908 w 20349121"/>
                <a:gd name="connsiteY81" fmla="*/ 4385396 h 6055371"/>
                <a:gd name="connsiteX82" fmla="*/ 17631 w 20349121"/>
                <a:gd name="connsiteY82" fmla="*/ 4315057 h 6055371"/>
                <a:gd name="connsiteX83" fmla="*/ 158308 w 20349121"/>
                <a:gd name="connsiteY83" fmla="*/ 4279888 h 6055371"/>
                <a:gd name="connsiteX84" fmla="*/ 240370 w 20349121"/>
                <a:gd name="connsiteY84" fmla="*/ 4150934 h 6055371"/>
                <a:gd name="connsiteX85" fmla="*/ 205201 w 20349121"/>
                <a:gd name="connsiteY85" fmla="*/ 3963365 h 6055371"/>
                <a:gd name="connsiteX86" fmla="*/ 193477 w 20349121"/>
                <a:gd name="connsiteY86" fmla="*/ 3623396 h 6055371"/>
                <a:gd name="connsiteX87" fmla="*/ 357601 w 20349121"/>
                <a:gd name="connsiteY87" fmla="*/ 3283427 h 6055371"/>
                <a:gd name="connsiteX88" fmla="*/ 1154770 w 20349121"/>
                <a:gd name="connsiteY88" fmla="*/ 2861396 h 6055371"/>
                <a:gd name="connsiteX89" fmla="*/ 2104339 w 20349121"/>
                <a:gd name="connsiteY89" fmla="*/ 2626934 h 6055371"/>
                <a:gd name="connsiteX90" fmla="*/ 3780739 w 20349121"/>
                <a:gd name="connsiteY90" fmla="*/ 2333857 h 6055371"/>
                <a:gd name="connsiteX91" fmla="*/ 5199231 w 20349121"/>
                <a:gd name="connsiteY91" fmla="*/ 2169734 h 6055371"/>
                <a:gd name="connsiteX92" fmla="*/ 5574370 w 20349121"/>
                <a:gd name="connsiteY92" fmla="*/ 2146288 h 6055371"/>
                <a:gd name="connsiteX93" fmla="*/ 5726770 w 20349121"/>
                <a:gd name="connsiteY93" fmla="*/ 2158011 h 6055371"/>
                <a:gd name="connsiteX94" fmla="*/ 5937785 w 20349121"/>
                <a:gd name="connsiteY94" fmla="*/ 2251796 h 6055371"/>
                <a:gd name="connsiteX95" fmla="*/ 5996401 w 20349121"/>
                <a:gd name="connsiteY95" fmla="*/ 2228350 h 605537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222677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2995293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32585 w 20349121"/>
                <a:gd name="connsiteY64" fmla="*/ 3975088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554462 w 20349121"/>
                <a:gd name="connsiteY61" fmla="*/ 3881304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99231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888247 w 20349121"/>
                <a:gd name="connsiteY22" fmla="*/ 2802781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81324 w 20349121"/>
                <a:gd name="connsiteY33" fmla="*/ 4397119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9121"/>
                <a:gd name="connsiteY0" fmla="*/ 2228350 h 6050491"/>
                <a:gd name="connsiteX1" fmla="*/ 6899077 w 20349121"/>
                <a:gd name="connsiteY1" fmla="*/ 1700811 h 6050491"/>
                <a:gd name="connsiteX2" fmla="*/ 8212062 w 20349121"/>
                <a:gd name="connsiteY2" fmla="*/ 915365 h 6050491"/>
                <a:gd name="connsiteX3" fmla="*/ 9032677 w 20349121"/>
                <a:gd name="connsiteY3" fmla="*/ 528504 h 6050491"/>
                <a:gd name="connsiteX4" fmla="*/ 9079570 w 20349121"/>
                <a:gd name="connsiteY4" fmla="*/ 469888 h 6050491"/>
                <a:gd name="connsiteX5" fmla="*/ 9220247 w 20349121"/>
                <a:gd name="connsiteY5" fmla="*/ 411273 h 6050491"/>
                <a:gd name="connsiteX6" fmla="*/ 10005693 w 20349121"/>
                <a:gd name="connsiteY6" fmla="*/ 188534 h 6050491"/>
                <a:gd name="connsiteX7" fmla="*/ 11365570 w 20349121"/>
                <a:gd name="connsiteY7" fmla="*/ 47857 h 6050491"/>
                <a:gd name="connsiteX8" fmla="*/ 12948185 w 20349121"/>
                <a:gd name="connsiteY8" fmla="*/ 965 h 6050491"/>
                <a:gd name="connsiteX9" fmla="*/ 14565970 w 20349121"/>
                <a:gd name="connsiteY9" fmla="*/ 83027 h 6050491"/>
                <a:gd name="connsiteX10" fmla="*/ 16054801 w 20349121"/>
                <a:gd name="connsiteY10" fmla="*/ 165088 h 6050491"/>
                <a:gd name="connsiteX11" fmla="*/ 17496739 w 20349121"/>
                <a:gd name="connsiteY11" fmla="*/ 364381 h 6050491"/>
                <a:gd name="connsiteX12" fmla="*/ 18012554 w 20349121"/>
                <a:gd name="connsiteY12" fmla="*/ 481611 h 6050491"/>
                <a:gd name="connsiteX13" fmla="*/ 18352524 w 20349121"/>
                <a:gd name="connsiteY13" fmla="*/ 528504 h 6050491"/>
                <a:gd name="connsiteX14" fmla="*/ 18434585 w 20349121"/>
                <a:gd name="connsiteY14" fmla="*/ 575396 h 6050491"/>
                <a:gd name="connsiteX15" fmla="*/ 18469754 w 20349121"/>
                <a:gd name="connsiteY15" fmla="*/ 634011 h 6050491"/>
                <a:gd name="connsiteX16" fmla="*/ 18903508 w 20349121"/>
                <a:gd name="connsiteY16" fmla="*/ 1091211 h 6050491"/>
                <a:gd name="connsiteX17" fmla="*/ 19560001 w 20349121"/>
                <a:gd name="connsiteY17" fmla="*/ 1853211 h 6050491"/>
                <a:gd name="connsiteX18" fmla="*/ 19665508 w 20349121"/>
                <a:gd name="connsiteY18" fmla="*/ 1993888 h 6050491"/>
                <a:gd name="connsiteX19" fmla="*/ 19864801 w 20349121"/>
                <a:gd name="connsiteY19" fmla="*/ 2099396 h 6050491"/>
                <a:gd name="connsiteX20" fmla="*/ 19946862 w 20349121"/>
                <a:gd name="connsiteY20" fmla="*/ 2228350 h 6050491"/>
                <a:gd name="connsiteX21" fmla="*/ 19911693 w 20349121"/>
                <a:gd name="connsiteY21" fmla="*/ 2415919 h 6050491"/>
                <a:gd name="connsiteX22" fmla="*/ 19923417 w 20349121"/>
                <a:gd name="connsiteY22" fmla="*/ 2779335 h 6050491"/>
                <a:gd name="connsiteX23" fmla="*/ 19888247 w 20349121"/>
                <a:gd name="connsiteY23" fmla="*/ 3060688 h 6050491"/>
                <a:gd name="connsiteX24" fmla="*/ 19993754 w 20349121"/>
                <a:gd name="connsiteY24" fmla="*/ 3271704 h 6050491"/>
                <a:gd name="connsiteX25" fmla="*/ 19982031 w 20349121"/>
                <a:gd name="connsiteY25" fmla="*/ 3447550 h 6050491"/>
                <a:gd name="connsiteX26" fmla="*/ 19935139 w 20349121"/>
                <a:gd name="connsiteY26" fmla="*/ 3635119 h 6050491"/>
                <a:gd name="connsiteX27" fmla="*/ 20134431 w 20349121"/>
                <a:gd name="connsiteY27" fmla="*/ 3705457 h 6050491"/>
                <a:gd name="connsiteX28" fmla="*/ 20275108 w 20349121"/>
                <a:gd name="connsiteY28" fmla="*/ 3752350 h 6050491"/>
                <a:gd name="connsiteX29" fmla="*/ 20345447 w 20349121"/>
                <a:gd name="connsiteY29" fmla="*/ 3846134 h 6050491"/>
                <a:gd name="connsiteX30" fmla="*/ 20333724 w 20349121"/>
                <a:gd name="connsiteY30" fmla="*/ 4010257 h 6050491"/>
                <a:gd name="connsiteX31" fmla="*/ 20286831 w 20349121"/>
                <a:gd name="connsiteY31" fmla="*/ 4186104 h 6050491"/>
                <a:gd name="connsiteX32" fmla="*/ 20275108 w 20349121"/>
                <a:gd name="connsiteY32" fmla="*/ 4397119 h 6050491"/>
                <a:gd name="connsiteX33" fmla="*/ 20169601 w 20349121"/>
                <a:gd name="connsiteY33" fmla="*/ 4432288 h 6050491"/>
                <a:gd name="connsiteX34" fmla="*/ 20087539 w 20349121"/>
                <a:gd name="connsiteY34" fmla="*/ 4748811 h 6050491"/>
                <a:gd name="connsiteX35" fmla="*/ 20064093 w 20349121"/>
                <a:gd name="connsiteY35" fmla="*/ 5182565 h 6050491"/>
                <a:gd name="connsiteX36" fmla="*/ 20157877 w 20349121"/>
                <a:gd name="connsiteY36" fmla="*/ 5475642 h 6050491"/>
                <a:gd name="connsiteX37" fmla="*/ 20052370 w 20349121"/>
                <a:gd name="connsiteY37" fmla="*/ 5510811 h 6050491"/>
                <a:gd name="connsiteX38" fmla="*/ 19548277 w 20349121"/>
                <a:gd name="connsiteY38" fmla="*/ 5534257 h 6050491"/>
                <a:gd name="connsiteX39" fmla="*/ 19454493 w 20349121"/>
                <a:gd name="connsiteY39" fmla="*/ 5756996 h 6050491"/>
                <a:gd name="connsiteX40" fmla="*/ 19290370 w 20349121"/>
                <a:gd name="connsiteY40" fmla="*/ 5780442 h 6050491"/>
                <a:gd name="connsiteX41" fmla="*/ 18223570 w 20349121"/>
                <a:gd name="connsiteY41" fmla="*/ 5768719 h 6050491"/>
                <a:gd name="connsiteX42" fmla="*/ 18223570 w 20349121"/>
                <a:gd name="connsiteY42" fmla="*/ 5581150 h 6050491"/>
                <a:gd name="connsiteX43" fmla="*/ 17989108 w 20349121"/>
                <a:gd name="connsiteY43" fmla="*/ 4725365 h 6050491"/>
                <a:gd name="connsiteX44" fmla="*/ 17602247 w 20349121"/>
                <a:gd name="connsiteY44" fmla="*/ 4162657 h 6050491"/>
                <a:gd name="connsiteX45" fmla="*/ 17145047 w 20349121"/>
                <a:gd name="connsiteY45" fmla="*/ 3857857 h 6050491"/>
                <a:gd name="connsiteX46" fmla="*/ 16429939 w 20349121"/>
                <a:gd name="connsiteY46" fmla="*/ 3682011 h 6050491"/>
                <a:gd name="connsiteX47" fmla="*/ 15902401 w 20349121"/>
                <a:gd name="connsiteY47" fmla="*/ 3728904 h 6050491"/>
                <a:gd name="connsiteX48" fmla="*/ 15386585 w 20349121"/>
                <a:gd name="connsiteY48" fmla="*/ 3951642 h 6050491"/>
                <a:gd name="connsiteX49" fmla="*/ 14964554 w 20349121"/>
                <a:gd name="connsiteY49" fmla="*/ 4397119 h 6050491"/>
                <a:gd name="connsiteX50" fmla="*/ 14636308 w 20349121"/>
                <a:gd name="connsiteY50" fmla="*/ 4912934 h 6050491"/>
                <a:gd name="connsiteX51" fmla="*/ 14542524 w 20349121"/>
                <a:gd name="connsiteY51" fmla="*/ 5393581 h 6050491"/>
                <a:gd name="connsiteX52" fmla="*/ 14542524 w 20349121"/>
                <a:gd name="connsiteY52" fmla="*/ 5768719 h 6050491"/>
                <a:gd name="connsiteX53" fmla="*/ 14554247 w 20349121"/>
                <a:gd name="connsiteY53" fmla="*/ 5991457 h 6050491"/>
                <a:gd name="connsiteX54" fmla="*/ 14472185 w 20349121"/>
                <a:gd name="connsiteY54" fmla="*/ 6014904 h 6050491"/>
                <a:gd name="connsiteX55" fmla="*/ 14073601 w 20349121"/>
                <a:gd name="connsiteY55" fmla="*/ 6014904 h 6050491"/>
                <a:gd name="connsiteX56" fmla="*/ 11693816 w 20349121"/>
                <a:gd name="connsiteY56" fmla="*/ 6038350 h 6050491"/>
                <a:gd name="connsiteX57" fmla="*/ 7121816 w 20349121"/>
                <a:gd name="connsiteY57" fmla="*/ 6038350 h 6050491"/>
                <a:gd name="connsiteX58" fmla="*/ 5328185 w 20349121"/>
                <a:gd name="connsiteY58" fmla="*/ 6003181 h 6050491"/>
                <a:gd name="connsiteX59" fmla="*/ 5351631 w 20349121"/>
                <a:gd name="connsiteY59" fmla="*/ 5604596 h 6050491"/>
                <a:gd name="connsiteX60" fmla="*/ 5187508 w 20349121"/>
                <a:gd name="connsiteY60" fmla="*/ 4678473 h 6050491"/>
                <a:gd name="connsiteX61" fmla="*/ 4613077 w 20349121"/>
                <a:gd name="connsiteY61" fmla="*/ 3939920 h 6050491"/>
                <a:gd name="connsiteX62" fmla="*/ 3804185 w 20349121"/>
                <a:gd name="connsiteY62" fmla="*/ 3635119 h 6050491"/>
                <a:gd name="connsiteX63" fmla="*/ 3077355 w 20349121"/>
                <a:gd name="connsiteY63" fmla="*/ 3693734 h 6050491"/>
                <a:gd name="connsiteX64" fmla="*/ 2479477 w 20349121"/>
                <a:gd name="connsiteY64" fmla="*/ 3998534 h 6050491"/>
                <a:gd name="connsiteX65" fmla="*/ 1987108 w 20349121"/>
                <a:gd name="connsiteY65" fmla="*/ 4584688 h 6050491"/>
                <a:gd name="connsiteX66" fmla="*/ 1799539 w 20349121"/>
                <a:gd name="connsiteY66" fmla="*/ 5159119 h 6050491"/>
                <a:gd name="connsiteX67" fmla="*/ 1787816 w 20349121"/>
                <a:gd name="connsiteY67" fmla="*/ 5745273 h 6050491"/>
                <a:gd name="connsiteX68" fmla="*/ 1776093 w 20349121"/>
                <a:gd name="connsiteY68" fmla="*/ 5944565 h 6050491"/>
                <a:gd name="connsiteX69" fmla="*/ 1647139 w 20349121"/>
                <a:gd name="connsiteY69" fmla="*/ 5956288 h 6050491"/>
                <a:gd name="connsiteX70" fmla="*/ 709293 w 20349121"/>
                <a:gd name="connsiteY70" fmla="*/ 5932842 h 6050491"/>
                <a:gd name="connsiteX71" fmla="*/ 556893 w 20349121"/>
                <a:gd name="connsiteY71" fmla="*/ 5909396 h 6050491"/>
                <a:gd name="connsiteX72" fmla="*/ 474831 w 20349121"/>
                <a:gd name="connsiteY72" fmla="*/ 5803888 h 6050491"/>
                <a:gd name="connsiteX73" fmla="*/ 404493 w 20349121"/>
                <a:gd name="connsiteY73" fmla="*/ 5745273 h 6050491"/>
                <a:gd name="connsiteX74" fmla="*/ 263816 w 20349121"/>
                <a:gd name="connsiteY74" fmla="*/ 5581150 h 6050491"/>
                <a:gd name="connsiteX75" fmla="*/ 404493 w 20349121"/>
                <a:gd name="connsiteY75" fmla="*/ 5534257 h 6050491"/>
                <a:gd name="connsiteX76" fmla="*/ 334154 w 20349121"/>
                <a:gd name="connsiteY76" fmla="*/ 5428750 h 6050491"/>
                <a:gd name="connsiteX77" fmla="*/ 240370 w 20349121"/>
                <a:gd name="connsiteY77" fmla="*/ 5030165 h 6050491"/>
                <a:gd name="connsiteX78" fmla="*/ 205201 w 20349121"/>
                <a:gd name="connsiteY78" fmla="*/ 4983273 h 6050491"/>
                <a:gd name="connsiteX79" fmla="*/ 76247 w 20349121"/>
                <a:gd name="connsiteY79" fmla="*/ 4971550 h 6050491"/>
                <a:gd name="connsiteX80" fmla="*/ 52801 w 20349121"/>
                <a:gd name="connsiteY80" fmla="*/ 4842596 h 6050491"/>
                <a:gd name="connsiteX81" fmla="*/ 5908 w 20349121"/>
                <a:gd name="connsiteY81" fmla="*/ 4385396 h 6050491"/>
                <a:gd name="connsiteX82" fmla="*/ 17631 w 20349121"/>
                <a:gd name="connsiteY82" fmla="*/ 4315057 h 6050491"/>
                <a:gd name="connsiteX83" fmla="*/ 158308 w 20349121"/>
                <a:gd name="connsiteY83" fmla="*/ 4279888 h 6050491"/>
                <a:gd name="connsiteX84" fmla="*/ 240370 w 20349121"/>
                <a:gd name="connsiteY84" fmla="*/ 4150934 h 6050491"/>
                <a:gd name="connsiteX85" fmla="*/ 205201 w 20349121"/>
                <a:gd name="connsiteY85" fmla="*/ 3963365 h 6050491"/>
                <a:gd name="connsiteX86" fmla="*/ 193477 w 20349121"/>
                <a:gd name="connsiteY86" fmla="*/ 3623396 h 6050491"/>
                <a:gd name="connsiteX87" fmla="*/ 357601 w 20349121"/>
                <a:gd name="connsiteY87" fmla="*/ 3283427 h 6050491"/>
                <a:gd name="connsiteX88" fmla="*/ 1154770 w 20349121"/>
                <a:gd name="connsiteY88" fmla="*/ 2861396 h 6050491"/>
                <a:gd name="connsiteX89" fmla="*/ 2104339 w 20349121"/>
                <a:gd name="connsiteY89" fmla="*/ 2626934 h 6050491"/>
                <a:gd name="connsiteX90" fmla="*/ 3780739 w 20349121"/>
                <a:gd name="connsiteY90" fmla="*/ 2333857 h 6050491"/>
                <a:gd name="connsiteX91" fmla="*/ 5199231 w 20349121"/>
                <a:gd name="connsiteY91" fmla="*/ 2169734 h 6050491"/>
                <a:gd name="connsiteX92" fmla="*/ 5574370 w 20349121"/>
                <a:gd name="connsiteY92" fmla="*/ 2146288 h 6050491"/>
                <a:gd name="connsiteX93" fmla="*/ 5726770 w 20349121"/>
                <a:gd name="connsiteY93" fmla="*/ 2158011 h 6050491"/>
                <a:gd name="connsiteX94" fmla="*/ 5937785 w 20349121"/>
                <a:gd name="connsiteY94" fmla="*/ 2251796 h 6050491"/>
                <a:gd name="connsiteX95" fmla="*/ 5996401 w 20349121"/>
                <a:gd name="connsiteY95" fmla="*/ 2228350 h 6050491"/>
                <a:gd name="connsiteX0" fmla="*/ 5996401 w 20348166"/>
                <a:gd name="connsiteY0" fmla="*/ 2228350 h 6050491"/>
                <a:gd name="connsiteX1" fmla="*/ 6899077 w 20348166"/>
                <a:gd name="connsiteY1" fmla="*/ 1700811 h 6050491"/>
                <a:gd name="connsiteX2" fmla="*/ 8212062 w 20348166"/>
                <a:gd name="connsiteY2" fmla="*/ 915365 h 6050491"/>
                <a:gd name="connsiteX3" fmla="*/ 9032677 w 20348166"/>
                <a:gd name="connsiteY3" fmla="*/ 528504 h 6050491"/>
                <a:gd name="connsiteX4" fmla="*/ 9079570 w 20348166"/>
                <a:gd name="connsiteY4" fmla="*/ 469888 h 6050491"/>
                <a:gd name="connsiteX5" fmla="*/ 9220247 w 20348166"/>
                <a:gd name="connsiteY5" fmla="*/ 411273 h 6050491"/>
                <a:gd name="connsiteX6" fmla="*/ 10005693 w 20348166"/>
                <a:gd name="connsiteY6" fmla="*/ 188534 h 6050491"/>
                <a:gd name="connsiteX7" fmla="*/ 11365570 w 20348166"/>
                <a:gd name="connsiteY7" fmla="*/ 47857 h 6050491"/>
                <a:gd name="connsiteX8" fmla="*/ 12948185 w 20348166"/>
                <a:gd name="connsiteY8" fmla="*/ 965 h 6050491"/>
                <a:gd name="connsiteX9" fmla="*/ 14565970 w 20348166"/>
                <a:gd name="connsiteY9" fmla="*/ 83027 h 6050491"/>
                <a:gd name="connsiteX10" fmla="*/ 16054801 w 20348166"/>
                <a:gd name="connsiteY10" fmla="*/ 165088 h 6050491"/>
                <a:gd name="connsiteX11" fmla="*/ 17496739 w 20348166"/>
                <a:gd name="connsiteY11" fmla="*/ 364381 h 6050491"/>
                <a:gd name="connsiteX12" fmla="*/ 18012554 w 20348166"/>
                <a:gd name="connsiteY12" fmla="*/ 481611 h 6050491"/>
                <a:gd name="connsiteX13" fmla="*/ 18352524 w 20348166"/>
                <a:gd name="connsiteY13" fmla="*/ 528504 h 6050491"/>
                <a:gd name="connsiteX14" fmla="*/ 18434585 w 20348166"/>
                <a:gd name="connsiteY14" fmla="*/ 575396 h 6050491"/>
                <a:gd name="connsiteX15" fmla="*/ 18469754 w 20348166"/>
                <a:gd name="connsiteY15" fmla="*/ 634011 h 6050491"/>
                <a:gd name="connsiteX16" fmla="*/ 18903508 w 20348166"/>
                <a:gd name="connsiteY16" fmla="*/ 1091211 h 6050491"/>
                <a:gd name="connsiteX17" fmla="*/ 19560001 w 20348166"/>
                <a:gd name="connsiteY17" fmla="*/ 1853211 h 6050491"/>
                <a:gd name="connsiteX18" fmla="*/ 19665508 w 20348166"/>
                <a:gd name="connsiteY18" fmla="*/ 1993888 h 6050491"/>
                <a:gd name="connsiteX19" fmla="*/ 19864801 w 20348166"/>
                <a:gd name="connsiteY19" fmla="*/ 2099396 h 6050491"/>
                <a:gd name="connsiteX20" fmla="*/ 19946862 w 20348166"/>
                <a:gd name="connsiteY20" fmla="*/ 2228350 h 6050491"/>
                <a:gd name="connsiteX21" fmla="*/ 19911693 w 20348166"/>
                <a:gd name="connsiteY21" fmla="*/ 2415919 h 6050491"/>
                <a:gd name="connsiteX22" fmla="*/ 19923417 w 20348166"/>
                <a:gd name="connsiteY22" fmla="*/ 2779335 h 6050491"/>
                <a:gd name="connsiteX23" fmla="*/ 19888247 w 20348166"/>
                <a:gd name="connsiteY23" fmla="*/ 3060688 h 6050491"/>
                <a:gd name="connsiteX24" fmla="*/ 19993754 w 20348166"/>
                <a:gd name="connsiteY24" fmla="*/ 3271704 h 6050491"/>
                <a:gd name="connsiteX25" fmla="*/ 19982031 w 20348166"/>
                <a:gd name="connsiteY25" fmla="*/ 3447550 h 6050491"/>
                <a:gd name="connsiteX26" fmla="*/ 19935139 w 20348166"/>
                <a:gd name="connsiteY26" fmla="*/ 3635119 h 6050491"/>
                <a:gd name="connsiteX27" fmla="*/ 20134431 w 20348166"/>
                <a:gd name="connsiteY27" fmla="*/ 3705457 h 6050491"/>
                <a:gd name="connsiteX28" fmla="*/ 20275108 w 20348166"/>
                <a:gd name="connsiteY28" fmla="*/ 3752350 h 6050491"/>
                <a:gd name="connsiteX29" fmla="*/ 20345447 w 20348166"/>
                <a:gd name="connsiteY29" fmla="*/ 3846134 h 6050491"/>
                <a:gd name="connsiteX30" fmla="*/ 20333724 w 20348166"/>
                <a:gd name="connsiteY30" fmla="*/ 4010257 h 6050491"/>
                <a:gd name="connsiteX31" fmla="*/ 20333725 w 20348166"/>
                <a:gd name="connsiteY31" fmla="*/ 4209550 h 6050491"/>
                <a:gd name="connsiteX32" fmla="*/ 20275108 w 20348166"/>
                <a:gd name="connsiteY32" fmla="*/ 4397119 h 6050491"/>
                <a:gd name="connsiteX33" fmla="*/ 20169601 w 20348166"/>
                <a:gd name="connsiteY33" fmla="*/ 4432288 h 6050491"/>
                <a:gd name="connsiteX34" fmla="*/ 20087539 w 20348166"/>
                <a:gd name="connsiteY34" fmla="*/ 4748811 h 6050491"/>
                <a:gd name="connsiteX35" fmla="*/ 20064093 w 20348166"/>
                <a:gd name="connsiteY35" fmla="*/ 5182565 h 6050491"/>
                <a:gd name="connsiteX36" fmla="*/ 20157877 w 20348166"/>
                <a:gd name="connsiteY36" fmla="*/ 5475642 h 6050491"/>
                <a:gd name="connsiteX37" fmla="*/ 20052370 w 20348166"/>
                <a:gd name="connsiteY37" fmla="*/ 5510811 h 6050491"/>
                <a:gd name="connsiteX38" fmla="*/ 19548277 w 20348166"/>
                <a:gd name="connsiteY38" fmla="*/ 5534257 h 6050491"/>
                <a:gd name="connsiteX39" fmla="*/ 19454493 w 20348166"/>
                <a:gd name="connsiteY39" fmla="*/ 5756996 h 6050491"/>
                <a:gd name="connsiteX40" fmla="*/ 19290370 w 20348166"/>
                <a:gd name="connsiteY40" fmla="*/ 5780442 h 6050491"/>
                <a:gd name="connsiteX41" fmla="*/ 18223570 w 20348166"/>
                <a:gd name="connsiteY41" fmla="*/ 5768719 h 6050491"/>
                <a:gd name="connsiteX42" fmla="*/ 18223570 w 20348166"/>
                <a:gd name="connsiteY42" fmla="*/ 5581150 h 6050491"/>
                <a:gd name="connsiteX43" fmla="*/ 17989108 w 20348166"/>
                <a:gd name="connsiteY43" fmla="*/ 4725365 h 6050491"/>
                <a:gd name="connsiteX44" fmla="*/ 17602247 w 20348166"/>
                <a:gd name="connsiteY44" fmla="*/ 4162657 h 6050491"/>
                <a:gd name="connsiteX45" fmla="*/ 17145047 w 20348166"/>
                <a:gd name="connsiteY45" fmla="*/ 3857857 h 6050491"/>
                <a:gd name="connsiteX46" fmla="*/ 16429939 w 20348166"/>
                <a:gd name="connsiteY46" fmla="*/ 3682011 h 6050491"/>
                <a:gd name="connsiteX47" fmla="*/ 15902401 w 20348166"/>
                <a:gd name="connsiteY47" fmla="*/ 3728904 h 6050491"/>
                <a:gd name="connsiteX48" fmla="*/ 15386585 w 20348166"/>
                <a:gd name="connsiteY48" fmla="*/ 3951642 h 6050491"/>
                <a:gd name="connsiteX49" fmla="*/ 14964554 w 20348166"/>
                <a:gd name="connsiteY49" fmla="*/ 4397119 h 6050491"/>
                <a:gd name="connsiteX50" fmla="*/ 14636308 w 20348166"/>
                <a:gd name="connsiteY50" fmla="*/ 4912934 h 6050491"/>
                <a:gd name="connsiteX51" fmla="*/ 14542524 w 20348166"/>
                <a:gd name="connsiteY51" fmla="*/ 5393581 h 6050491"/>
                <a:gd name="connsiteX52" fmla="*/ 14542524 w 20348166"/>
                <a:gd name="connsiteY52" fmla="*/ 5768719 h 6050491"/>
                <a:gd name="connsiteX53" fmla="*/ 14554247 w 20348166"/>
                <a:gd name="connsiteY53" fmla="*/ 5991457 h 6050491"/>
                <a:gd name="connsiteX54" fmla="*/ 14472185 w 20348166"/>
                <a:gd name="connsiteY54" fmla="*/ 6014904 h 6050491"/>
                <a:gd name="connsiteX55" fmla="*/ 14073601 w 20348166"/>
                <a:gd name="connsiteY55" fmla="*/ 6014904 h 6050491"/>
                <a:gd name="connsiteX56" fmla="*/ 11693816 w 20348166"/>
                <a:gd name="connsiteY56" fmla="*/ 6038350 h 6050491"/>
                <a:gd name="connsiteX57" fmla="*/ 7121816 w 20348166"/>
                <a:gd name="connsiteY57" fmla="*/ 6038350 h 6050491"/>
                <a:gd name="connsiteX58" fmla="*/ 5328185 w 20348166"/>
                <a:gd name="connsiteY58" fmla="*/ 6003181 h 6050491"/>
                <a:gd name="connsiteX59" fmla="*/ 5351631 w 20348166"/>
                <a:gd name="connsiteY59" fmla="*/ 5604596 h 6050491"/>
                <a:gd name="connsiteX60" fmla="*/ 5187508 w 20348166"/>
                <a:gd name="connsiteY60" fmla="*/ 4678473 h 6050491"/>
                <a:gd name="connsiteX61" fmla="*/ 4613077 w 20348166"/>
                <a:gd name="connsiteY61" fmla="*/ 3939920 h 6050491"/>
                <a:gd name="connsiteX62" fmla="*/ 3804185 w 20348166"/>
                <a:gd name="connsiteY62" fmla="*/ 3635119 h 6050491"/>
                <a:gd name="connsiteX63" fmla="*/ 3077355 w 20348166"/>
                <a:gd name="connsiteY63" fmla="*/ 3693734 h 6050491"/>
                <a:gd name="connsiteX64" fmla="*/ 2479477 w 20348166"/>
                <a:gd name="connsiteY64" fmla="*/ 3998534 h 6050491"/>
                <a:gd name="connsiteX65" fmla="*/ 1987108 w 20348166"/>
                <a:gd name="connsiteY65" fmla="*/ 4584688 h 6050491"/>
                <a:gd name="connsiteX66" fmla="*/ 1799539 w 20348166"/>
                <a:gd name="connsiteY66" fmla="*/ 5159119 h 6050491"/>
                <a:gd name="connsiteX67" fmla="*/ 1787816 w 20348166"/>
                <a:gd name="connsiteY67" fmla="*/ 5745273 h 6050491"/>
                <a:gd name="connsiteX68" fmla="*/ 1776093 w 20348166"/>
                <a:gd name="connsiteY68" fmla="*/ 5944565 h 6050491"/>
                <a:gd name="connsiteX69" fmla="*/ 1647139 w 20348166"/>
                <a:gd name="connsiteY69" fmla="*/ 5956288 h 6050491"/>
                <a:gd name="connsiteX70" fmla="*/ 709293 w 20348166"/>
                <a:gd name="connsiteY70" fmla="*/ 5932842 h 6050491"/>
                <a:gd name="connsiteX71" fmla="*/ 556893 w 20348166"/>
                <a:gd name="connsiteY71" fmla="*/ 5909396 h 6050491"/>
                <a:gd name="connsiteX72" fmla="*/ 474831 w 20348166"/>
                <a:gd name="connsiteY72" fmla="*/ 5803888 h 6050491"/>
                <a:gd name="connsiteX73" fmla="*/ 404493 w 20348166"/>
                <a:gd name="connsiteY73" fmla="*/ 5745273 h 6050491"/>
                <a:gd name="connsiteX74" fmla="*/ 263816 w 20348166"/>
                <a:gd name="connsiteY74" fmla="*/ 5581150 h 6050491"/>
                <a:gd name="connsiteX75" fmla="*/ 404493 w 20348166"/>
                <a:gd name="connsiteY75" fmla="*/ 5534257 h 6050491"/>
                <a:gd name="connsiteX76" fmla="*/ 334154 w 20348166"/>
                <a:gd name="connsiteY76" fmla="*/ 5428750 h 6050491"/>
                <a:gd name="connsiteX77" fmla="*/ 240370 w 20348166"/>
                <a:gd name="connsiteY77" fmla="*/ 5030165 h 6050491"/>
                <a:gd name="connsiteX78" fmla="*/ 205201 w 20348166"/>
                <a:gd name="connsiteY78" fmla="*/ 4983273 h 6050491"/>
                <a:gd name="connsiteX79" fmla="*/ 76247 w 20348166"/>
                <a:gd name="connsiteY79" fmla="*/ 4971550 h 6050491"/>
                <a:gd name="connsiteX80" fmla="*/ 52801 w 20348166"/>
                <a:gd name="connsiteY80" fmla="*/ 4842596 h 6050491"/>
                <a:gd name="connsiteX81" fmla="*/ 5908 w 20348166"/>
                <a:gd name="connsiteY81" fmla="*/ 4385396 h 6050491"/>
                <a:gd name="connsiteX82" fmla="*/ 17631 w 20348166"/>
                <a:gd name="connsiteY82" fmla="*/ 4315057 h 6050491"/>
                <a:gd name="connsiteX83" fmla="*/ 158308 w 20348166"/>
                <a:gd name="connsiteY83" fmla="*/ 4279888 h 6050491"/>
                <a:gd name="connsiteX84" fmla="*/ 240370 w 20348166"/>
                <a:gd name="connsiteY84" fmla="*/ 4150934 h 6050491"/>
                <a:gd name="connsiteX85" fmla="*/ 205201 w 20348166"/>
                <a:gd name="connsiteY85" fmla="*/ 3963365 h 6050491"/>
                <a:gd name="connsiteX86" fmla="*/ 193477 w 20348166"/>
                <a:gd name="connsiteY86" fmla="*/ 3623396 h 6050491"/>
                <a:gd name="connsiteX87" fmla="*/ 357601 w 20348166"/>
                <a:gd name="connsiteY87" fmla="*/ 3283427 h 6050491"/>
                <a:gd name="connsiteX88" fmla="*/ 1154770 w 20348166"/>
                <a:gd name="connsiteY88" fmla="*/ 2861396 h 6050491"/>
                <a:gd name="connsiteX89" fmla="*/ 2104339 w 20348166"/>
                <a:gd name="connsiteY89" fmla="*/ 2626934 h 6050491"/>
                <a:gd name="connsiteX90" fmla="*/ 3780739 w 20348166"/>
                <a:gd name="connsiteY90" fmla="*/ 2333857 h 6050491"/>
                <a:gd name="connsiteX91" fmla="*/ 5199231 w 20348166"/>
                <a:gd name="connsiteY91" fmla="*/ 2169734 h 6050491"/>
                <a:gd name="connsiteX92" fmla="*/ 5574370 w 20348166"/>
                <a:gd name="connsiteY92" fmla="*/ 2146288 h 6050491"/>
                <a:gd name="connsiteX93" fmla="*/ 5726770 w 20348166"/>
                <a:gd name="connsiteY93" fmla="*/ 2158011 h 6050491"/>
                <a:gd name="connsiteX94" fmla="*/ 5937785 w 20348166"/>
                <a:gd name="connsiteY94" fmla="*/ 2251796 h 6050491"/>
                <a:gd name="connsiteX95" fmla="*/ 5996401 w 20348166"/>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12554 w 20358094"/>
                <a:gd name="connsiteY12" fmla="*/ 481611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50491"/>
                <a:gd name="connsiteX1" fmla="*/ 6899077 w 20358094"/>
                <a:gd name="connsiteY1" fmla="*/ 1700811 h 6050491"/>
                <a:gd name="connsiteX2" fmla="*/ 8212062 w 20358094"/>
                <a:gd name="connsiteY2" fmla="*/ 915365 h 6050491"/>
                <a:gd name="connsiteX3" fmla="*/ 9032677 w 20358094"/>
                <a:gd name="connsiteY3" fmla="*/ 528504 h 6050491"/>
                <a:gd name="connsiteX4" fmla="*/ 9079570 w 20358094"/>
                <a:gd name="connsiteY4" fmla="*/ 469888 h 6050491"/>
                <a:gd name="connsiteX5" fmla="*/ 9220247 w 20358094"/>
                <a:gd name="connsiteY5" fmla="*/ 411273 h 6050491"/>
                <a:gd name="connsiteX6" fmla="*/ 10005693 w 20358094"/>
                <a:gd name="connsiteY6" fmla="*/ 188534 h 6050491"/>
                <a:gd name="connsiteX7" fmla="*/ 11365570 w 20358094"/>
                <a:gd name="connsiteY7" fmla="*/ 47857 h 6050491"/>
                <a:gd name="connsiteX8" fmla="*/ 12948185 w 20358094"/>
                <a:gd name="connsiteY8" fmla="*/ 965 h 6050491"/>
                <a:gd name="connsiteX9" fmla="*/ 14565970 w 20358094"/>
                <a:gd name="connsiteY9" fmla="*/ 83027 h 6050491"/>
                <a:gd name="connsiteX10" fmla="*/ 16054801 w 20358094"/>
                <a:gd name="connsiteY10" fmla="*/ 165088 h 6050491"/>
                <a:gd name="connsiteX11" fmla="*/ 17496739 w 20358094"/>
                <a:gd name="connsiteY11" fmla="*/ 364381 h 6050491"/>
                <a:gd name="connsiteX12" fmla="*/ 18036001 w 20358094"/>
                <a:gd name="connsiteY12" fmla="*/ 469888 h 6050491"/>
                <a:gd name="connsiteX13" fmla="*/ 18352524 w 20358094"/>
                <a:gd name="connsiteY13" fmla="*/ 528504 h 6050491"/>
                <a:gd name="connsiteX14" fmla="*/ 18434585 w 20358094"/>
                <a:gd name="connsiteY14" fmla="*/ 575396 h 6050491"/>
                <a:gd name="connsiteX15" fmla="*/ 18469754 w 20358094"/>
                <a:gd name="connsiteY15" fmla="*/ 634011 h 6050491"/>
                <a:gd name="connsiteX16" fmla="*/ 18903508 w 20358094"/>
                <a:gd name="connsiteY16" fmla="*/ 1091211 h 6050491"/>
                <a:gd name="connsiteX17" fmla="*/ 19560001 w 20358094"/>
                <a:gd name="connsiteY17" fmla="*/ 1853211 h 6050491"/>
                <a:gd name="connsiteX18" fmla="*/ 19665508 w 20358094"/>
                <a:gd name="connsiteY18" fmla="*/ 1993888 h 6050491"/>
                <a:gd name="connsiteX19" fmla="*/ 19864801 w 20358094"/>
                <a:gd name="connsiteY19" fmla="*/ 2099396 h 6050491"/>
                <a:gd name="connsiteX20" fmla="*/ 19946862 w 20358094"/>
                <a:gd name="connsiteY20" fmla="*/ 2228350 h 6050491"/>
                <a:gd name="connsiteX21" fmla="*/ 19911693 w 20358094"/>
                <a:gd name="connsiteY21" fmla="*/ 2415919 h 6050491"/>
                <a:gd name="connsiteX22" fmla="*/ 19923417 w 20358094"/>
                <a:gd name="connsiteY22" fmla="*/ 2779335 h 6050491"/>
                <a:gd name="connsiteX23" fmla="*/ 19888247 w 20358094"/>
                <a:gd name="connsiteY23" fmla="*/ 3060688 h 6050491"/>
                <a:gd name="connsiteX24" fmla="*/ 19993754 w 20358094"/>
                <a:gd name="connsiteY24" fmla="*/ 3271704 h 6050491"/>
                <a:gd name="connsiteX25" fmla="*/ 19982031 w 20358094"/>
                <a:gd name="connsiteY25" fmla="*/ 3447550 h 6050491"/>
                <a:gd name="connsiteX26" fmla="*/ 19935139 w 20358094"/>
                <a:gd name="connsiteY26" fmla="*/ 3635119 h 6050491"/>
                <a:gd name="connsiteX27" fmla="*/ 20134431 w 20358094"/>
                <a:gd name="connsiteY27" fmla="*/ 3705457 h 6050491"/>
                <a:gd name="connsiteX28" fmla="*/ 20275108 w 20358094"/>
                <a:gd name="connsiteY28" fmla="*/ 3752350 h 6050491"/>
                <a:gd name="connsiteX29" fmla="*/ 20345447 w 20358094"/>
                <a:gd name="connsiteY29" fmla="*/ 3846134 h 6050491"/>
                <a:gd name="connsiteX30" fmla="*/ 20357170 w 20358094"/>
                <a:gd name="connsiteY30" fmla="*/ 4010257 h 6050491"/>
                <a:gd name="connsiteX31" fmla="*/ 20333725 w 20358094"/>
                <a:gd name="connsiteY31" fmla="*/ 4209550 h 6050491"/>
                <a:gd name="connsiteX32" fmla="*/ 20275108 w 20358094"/>
                <a:gd name="connsiteY32" fmla="*/ 4397119 h 6050491"/>
                <a:gd name="connsiteX33" fmla="*/ 20169601 w 20358094"/>
                <a:gd name="connsiteY33" fmla="*/ 4432288 h 6050491"/>
                <a:gd name="connsiteX34" fmla="*/ 20087539 w 20358094"/>
                <a:gd name="connsiteY34" fmla="*/ 4748811 h 6050491"/>
                <a:gd name="connsiteX35" fmla="*/ 20064093 w 20358094"/>
                <a:gd name="connsiteY35" fmla="*/ 5182565 h 6050491"/>
                <a:gd name="connsiteX36" fmla="*/ 20157877 w 20358094"/>
                <a:gd name="connsiteY36" fmla="*/ 5475642 h 6050491"/>
                <a:gd name="connsiteX37" fmla="*/ 20052370 w 20358094"/>
                <a:gd name="connsiteY37" fmla="*/ 5510811 h 6050491"/>
                <a:gd name="connsiteX38" fmla="*/ 19548277 w 20358094"/>
                <a:gd name="connsiteY38" fmla="*/ 5534257 h 6050491"/>
                <a:gd name="connsiteX39" fmla="*/ 19454493 w 20358094"/>
                <a:gd name="connsiteY39" fmla="*/ 5756996 h 6050491"/>
                <a:gd name="connsiteX40" fmla="*/ 19290370 w 20358094"/>
                <a:gd name="connsiteY40" fmla="*/ 5780442 h 6050491"/>
                <a:gd name="connsiteX41" fmla="*/ 18223570 w 20358094"/>
                <a:gd name="connsiteY41" fmla="*/ 5768719 h 6050491"/>
                <a:gd name="connsiteX42" fmla="*/ 18223570 w 20358094"/>
                <a:gd name="connsiteY42" fmla="*/ 5581150 h 6050491"/>
                <a:gd name="connsiteX43" fmla="*/ 17989108 w 20358094"/>
                <a:gd name="connsiteY43" fmla="*/ 4725365 h 6050491"/>
                <a:gd name="connsiteX44" fmla="*/ 17602247 w 20358094"/>
                <a:gd name="connsiteY44" fmla="*/ 4162657 h 6050491"/>
                <a:gd name="connsiteX45" fmla="*/ 17145047 w 20358094"/>
                <a:gd name="connsiteY45" fmla="*/ 3857857 h 6050491"/>
                <a:gd name="connsiteX46" fmla="*/ 16429939 w 20358094"/>
                <a:gd name="connsiteY46" fmla="*/ 3682011 h 6050491"/>
                <a:gd name="connsiteX47" fmla="*/ 15902401 w 20358094"/>
                <a:gd name="connsiteY47" fmla="*/ 3728904 h 6050491"/>
                <a:gd name="connsiteX48" fmla="*/ 15386585 w 20358094"/>
                <a:gd name="connsiteY48" fmla="*/ 3951642 h 6050491"/>
                <a:gd name="connsiteX49" fmla="*/ 14964554 w 20358094"/>
                <a:gd name="connsiteY49" fmla="*/ 4397119 h 6050491"/>
                <a:gd name="connsiteX50" fmla="*/ 14636308 w 20358094"/>
                <a:gd name="connsiteY50" fmla="*/ 4912934 h 6050491"/>
                <a:gd name="connsiteX51" fmla="*/ 14542524 w 20358094"/>
                <a:gd name="connsiteY51" fmla="*/ 5393581 h 6050491"/>
                <a:gd name="connsiteX52" fmla="*/ 14542524 w 20358094"/>
                <a:gd name="connsiteY52" fmla="*/ 5768719 h 6050491"/>
                <a:gd name="connsiteX53" fmla="*/ 14554247 w 20358094"/>
                <a:gd name="connsiteY53" fmla="*/ 5991457 h 6050491"/>
                <a:gd name="connsiteX54" fmla="*/ 14472185 w 20358094"/>
                <a:gd name="connsiteY54" fmla="*/ 6014904 h 6050491"/>
                <a:gd name="connsiteX55" fmla="*/ 14073601 w 20358094"/>
                <a:gd name="connsiteY55" fmla="*/ 6014904 h 6050491"/>
                <a:gd name="connsiteX56" fmla="*/ 11693816 w 20358094"/>
                <a:gd name="connsiteY56" fmla="*/ 6038350 h 6050491"/>
                <a:gd name="connsiteX57" fmla="*/ 7121816 w 20358094"/>
                <a:gd name="connsiteY57" fmla="*/ 6038350 h 6050491"/>
                <a:gd name="connsiteX58" fmla="*/ 5328185 w 20358094"/>
                <a:gd name="connsiteY58" fmla="*/ 6003181 h 6050491"/>
                <a:gd name="connsiteX59" fmla="*/ 5351631 w 20358094"/>
                <a:gd name="connsiteY59" fmla="*/ 5604596 h 6050491"/>
                <a:gd name="connsiteX60" fmla="*/ 5187508 w 20358094"/>
                <a:gd name="connsiteY60" fmla="*/ 4678473 h 6050491"/>
                <a:gd name="connsiteX61" fmla="*/ 4613077 w 20358094"/>
                <a:gd name="connsiteY61" fmla="*/ 3939920 h 6050491"/>
                <a:gd name="connsiteX62" fmla="*/ 3804185 w 20358094"/>
                <a:gd name="connsiteY62" fmla="*/ 3635119 h 6050491"/>
                <a:gd name="connsiteX63" fmla="*/ 3077355 w 20358094"/>
                <a:gd name="connsiteY63" fmla="*/ 3693734 h 6050491"/>
                <a:gd name="connsiteX64" fmla="*/ 2479477 w 20358094"/>
                <a:gd name="connsiteY64" fmla="*/ 3998534 h 6050491"/>
                <a:gd name="connsiteX65" fmla="*/ 1987108 w 20358094"/>
                <a:gd name="connsiteY65" fmla="*/ 4584688 h 6050491"/>
                <a:gd name="connsiteX66" fmla="*/ 1799539 w 20358094"/>
                <a:gd name="connsiteY66" fmla="*/ 5159119 h 6050491"/>
                <a:gd name="connsiteX67" fmla="*/ 1787816 w 20358094"/>
                <a:gd name="connsiteY67" fmla="*/ 5745273 h 6050491"/>
                <a:gd name="connsiteX68" fmla="*/ 1776093 w 20358094"/>
                <a:gd name="connsiteY68" fmla="*/ 5944565 h 6050491"/>
                <a:gd name="connsiteX69" fmla="*/ 1647139 w 20358094"/>
                <a:gd name="connsiteY69" fmla="*/ 5956288 h 6050491"/>
                <a:gd name="connsiteX70" fmla="*/ 709293 w 20358094"/>
                <a:gd name="connsiteY70" fmla="*/ 5932842 h 6050491"/>
                <a:gd name="connsiteX71" fmla="*/ 556893 w 20358094"/>
                <a:gd name="connsiteY71" fmla="*/ 5909396 h 6050491"/>
                <a:gd name="connsiteX72" fmla="*/ 474831 w 20358094"/>
                <a:gd name="connsiteY72" fmla="*/ 5803888 h 6050491"/>
                <a:gd name="connsiteX73" fmla="*/ 404493 w 20358094"/>
                <a:gd name="connsiteY73" fmla="*/ 5745273 h 6050491"/>
                <a:gd name="connsiteX74" fmla="*/ 263816 w 20358094"/>
                <a:gd name="connsiteY74" fmla="*/ 5581150 h 6050491"/>
                <a:gd name="connsiteX75" fmla="*/ 404493 w 20358094"/>
                <a:gd name="connsiteY75" fmla="*/ 5534257 h 6050491"/>
                <a:gd name="connsiteX76" fmla="*/ 334154 w 20358094"/>
                <a:gd name="connsiteY76" fmla="*/ 5428750 h 6050491"/>
                <a:gd name="connsiteX77" fmla="*/ 240370 w 20358094"/>
                <a:gd name="connsiteY77" fmla="*/ 5030165 h 6050491"/>
                <a:gd name="connsiteX78" fmla="*/ 205201 w 20358094"/>
                <a:gd name="connsiteY78" fmla="*/ 4983273 h 6050491"/>
                <a:gd name="connsiteX79" fmla="*/ 76247 w 20358094"/>
                <a:gd name="connsiteY79" fmla="*/ 4971550 h 6050491"/>
                <a:gd name="connsiteX80" fmla="*/ 52801 w 20358094"/>
                <a:gd name="connsiteY80" fmla="*/ 4842596 h 6050491"/>
                <a:gd name="connsiteX81" fmla="*/ 5908 w 20358094"/>
                <a:gd name="connsiteY81" fmla="*/ 4385396 h 6050491"/>
                <a:gd name="connsiteX82" fmla="*/ 17631 w 20358094"/>
                <a:gd name="connsiteY82" fmla="*/ 4315057 h 6050491"/>
                <a:gd name="connsiteX83" fmla="*/ 158308 w 20358094"/>
                <a:gd name="connsiteY83" fmla="*/ 4279888 h 6050491"/>
                <a:gd name="connsiteX84" fmla="*/ 240370 w 20358094"/>
                <a:gd name="connsiteY84" fmla="*/ 4150934 h 6050491"/>
                <a:gd name="connsiteX85" fmla="*/ 205201 w 20358094"/>
                <a:gd name="connsiteY85" fmla="*/ 3963365 h 6050491"/>
                <a:gd name="connsiteX86" fmla="*/ 193477 w 20358094"/>
                <a:gd name="connsiteY86" fmla="*/ 3623396 h 6050491"/>
                <a:gd name="connsiteX87" fmla="*/ 357601 w 20358094"/>
                <a:gd name="connsiteY87" fmla="*/ 3283427 h 6050491"/>
                <a:gd name="connsiteX88" fmla="*/ 1154770 w 20358094"/>
                <a:gd name="connsiteY88" fmla="*/ 2861396 h 6050491"/>
                <a:gd name="connsiteX89" fmla="*/ 2104339 w 20358094"/>
                <a:gd name="connsiteY89" fmla="*/ 2626934 h 6050491"/>
                <a:gd name="connsiteX90" fmla="*/ 3780739 w 20358094"/>
                <a:gd name="connsiteY90" fmla="*/ 2333857 h 6050491"/>
                <a:gd name="connsiteX91" fmla="*/ 5199231 w 20358094"/>
                <a:gd name="connsiteY91" fmla="*/ 2169734 h 6050491"/>
                <a:gd name="connsiteX92" fmla="*/ 5574370 w 20358094"/>
                <a:gd name="connsiteY92" fmla="*/ 2146288 h 6050491"/>
                <a:gd name="connsiteX93" fmla="*/ 5726770 w 20358094"/>
                <a:gd name="connsiteY93" fmla="*/ 2158011 h 6050491"/>
                <a:gd name="connsiteX94" fmla="*/ 5937785 w 20358094"/>
                <a:gd name="connsiteY94" fmla="*/ 2251796 h 6050491"/>
                <a:gd name="connsiteX95" fmla="*/ 5996401 w 20358094"/>
                <a:gd name="connsiteY95" fmla="*/ 2228350 h 6050491"/>
                <a:gd name="connsiteX0" fmla="*/ 5996401 w 20358094"/>
                <a:gd name="connsiteY0" fmla="*/ 2228350 h 6049690"/>
                <a:gd name="connsiteX1" fmla="*/ 6899077 w 20358094"/>
                <a:gd name="connsiteY1" fmla="*/ 1700811 h 6049690"/>
                <a:gd name="connsiteX2" fmla="*/ 8212062 w 20358094"/>
                <a:gd name="connsiteY2" fmla="*/ 915365 h 6049690"/>
                <a:gd name="connsiteX3" fmla="*/ 9032677 w 20358094"/>
                <a:gd name="connsiteY3" fmla="*/ 528504 h 6049690"/>
                <a:gd name="connsiteX4" fmla="*/ 9079570 w 20358094"/>
                <a:gd name="connsiteY4" fmla="*/ 469888 h 6049690"/>
                <a:gd name="connsiteX5" fmla="*/ 9220247 w 20358094"/>
                <a:gd name="connsiteY5" fmla="*/ 411273 h 6049690"/>
                <a:gd name="connsiteX6" fmla="*/ 10005693 w 20358094"/>
                <a:gd name="connsiteY6" fmla="*/ 188534 h 6049690"/>
                <a:gd name="connsiteX7" fmla="*/ 11365570 w 20358094"/>
                <a:gd name="connsiteY7" fmla="*/ 47857 h 6049690"/>
                <a:gd name="connsiteX8" fmla="*/ 12948185 w 20358094"/>
                <a:gd name="connsiteY8" fmla="*/ 965 h 6049690"/>
                <a:gd name="connsiteX9" fmla="*/ 14565970 w 20358094"/>
                <a:gd name="connsiteY9" fmla="*/ 83027 h 6049690"/>
                <a:gd name="connsiteX10" fmla="*/ 16054801 w 20358094"/>
                <a:gd name="connsiteY10" fmla="*/ 165088 h 6049690"/>
                <a:gd name="connsiteX11" fmla="*/ 17496739 w 20358094"/>
                <a:gd name="connsiteY11" fmla="*/ 364381 h 6049690"/>
                <a:gd name="connsiteX12" fmla="*/ 18036001 w 20358094"/>
                <a:gd name="connsiteY12" fmla="*/ 469888 h 6049690"/>
                <a:gd name="connsiteX13" fmla="*/ 18352524 w 20358094"/>
                <a:gd name="connsiteY13" fmla="*/ 528504 h 6049690"/>
                <a:gd name="connsiteX14" fmla="*/ 18434585 w 20358094"/>
                <a:gd name="connsiteY14" fmla="*/ 575396 h 6049690"/>
                <a:gd name="connsiteX15" fmla="*/ 18469754 w 20358094"/>
                <a:gd name="connsiteY15" fmla="*/ 634011 h 6049690"/>
                <a:gd name="connsiteX16" fmla="*/ 18903508 w 20358094"/>
                <a:gd name="connsiteY16" fmla="*/ 1091211 h 6049690"/>
                <a:gd name="connsiteX17" fmla="*/ 19560001 w 20358094"/>
                <a:gd name="connsiteY17" fmla="*/ 1853211 h 6049690"/>
                <a:gd name="connsiteX18" fmla="*/ 19665508 w 20358094"/>
                <a:gd name="connsiteY18" fmla="*/ 1993888 h 6049690"/>
                <a:gd name="connsiteX19" fmla="*/ 19864801 w 20358094"/>
                <a:gd name="connsiteY19" fmla="*/ 2099396 h 6049690"/>
                <a:gd name="connsiteX20" fmla="*/ 19946862 w 20358094"/>
                <a:gd name="connsiteY20" fmla="*/ 2228350 h 6049690"/>
                <a:gd name="connsiteX21" fmla="*/ 19911693 w 20358094"/>
                <a:gd name="connsiteY21" fmla="*/ 2415919 h 6049690"/>
                <a:gd name="connsiteX22" fmla="*/ 19923417 w 20358094"/>
                <a:gd name="connsiteY22" fmla="*/ 2779335 h 6049690"/>
                <a:gd name="connsiteX23" fmla="*/ 19888247 w 20358094"/>
                <a:gd name="connsiteY23" fmla="*/ 3060688 h 6049690"/>
                <a:gd name="connsiteX24" fmla="*/ 19993754 w 20358094"/>
                <a:gd name="connsiteY24" fmla="*/ 3271704 h 6049690"/>
                <a:gd name="connsiteX25" fmla="*/ 19982031 w 20358094"/>
                <a:gd name="connsiteY25" fmla="*/ 3447550 h 6049690"/>
                <a:gd name="connsiteX26" fmla="*/ 19935139 w 20358094"/>
                <a:gd name="connsiteY26" fmla="*/ 3635119 h 6049690"/>
                <a:gd name="connsiteX27" fmla="*/ 20134431 w 20358094"/>
                <a:gd name="connsiteY27" fmla="*/ 3705457 h 6049690"/>
                <a:gd name="connsiteX28" fmla="*/ 20275108 w 20358094"/>
                <a:gd name="connsiteY28" fmla="*/ 3752350 h 6049690"/>
                <a:gd name="connsiteX29" fmla="*/ 20345447 w 20358094"/>
                <a:gd name="connsiteY29" fmla="*/ 3846134 h 6049690"/>
                <a:gd name="connsiteX30" fmla="*/ 20357170 w 20358094"/>
                <a:gd name="connsiteY30" fmla="*/ 4010257 h 6049690"/>
                <a:gd name="connsiteX31" fmla="*/ 20333725 w 20358094"/>
                <a:gd name="connsiteY31" fmla="*/ 4209550 h 6049690"/>
                <a:gd name="connsiteX32" fmla="*/ 20275108 w 20358094"/>
                <a:gd name="connsiteY32" fmla="*/ 4397119 h 6049690"/>
                <a:gd name="connsiteX33" fmla="*/ 20169601 w 20358094"/>
                <a:gd name="connsiteY33" fmla="*/ 4432288 h 6049690"/>
                <a:gd name="connsiteX34" fmla="*/ 20087539 w 20358094"/>
                <a:gd name="connsiteY34" fmla="*/ 4748811 h 6049690"/>
                <a:gd name="connsiteX35" fmla="*/ 20064093 w 20358094"/>
                <a:gd name="connsiteY35" fmla="*/ 5182565 h 6049690"/>
                <a:gd name="connsiteX36" fmla="*/ 20157877 w 20358094"/>
                <a:gd name="connsiteY36" fmla="*/ 5475642 h 6049690"/>
                <a:gd name="connsiteX37" fmla="*/ 20052370 w 20358094"/>
                <a:gd name="connsiteY37" fmla="*/ 5510811 h 6049690"/>
                <a:gd name="connsiteX38" fmla="*/ 19548277 w 20358094"/>
                <a:gd name="connsiteY38" fmla="*/ 5534257 h 6049690"/>
                <a:gd name="connsiteX39" fmla="*/ 19454493 w 20358094"/>
                <a:gd name="connsiteY39" fmla="*/ 5756996 h 6049690"/>
                <a:gd name="connsiteX40" fmla="*/ 19290370 w 20358094"/>
                <a:gd name="connsiteY40" fmla="*/ 5780442 h 6049690"/>
                <a:gd name="connsiteX41" fmla="*/ 18223570 w 20358094"/>
                <a:gd name="connsiteY41" fmla="*/ 5768719 h 6049690"/>
                <a:gd name="connsiteX42" fmla="*/ 18223570 w 20358094"/>
                <a:gd name="connsiteY42" fmla="*/ 5581150 h 6049690"/>
                <a:gd name="connsiteX43" fmla="*/ 17989108 w 20358094"/>
                <a:gd name="connsiteY43" fmla="*/ 4725365 h 6049690"/>
                <a:gd name="connsiteX44" fmla="*/ 17602247 w 20358094"/>
                <a:gd name="connsiteY44" fmla="*/ 4162657 h 6049690"/>
                <a:gd name="connsiteX45" fmla="*/ 17145047 w 20358094"/>
                <a:gd name="connsiteY45" fmla="*/ 3857857 h 6049690"/>
                <a:gd name="connsiteX46" fmla="*/ 16429939 w 20358094"/>
                <a:gd name="connsiteY46" fmla="*/ 3682011 h 6049690"/>
                <a:gd name="connsiteX47" fmla="*/ 15902401 w 20358094"/>
                <a:gd name="connsiteY47" fmla="*/ 3728904 h 6049690"/>
                <a:gd name="connsiteX48" fmla="*/ 15386585 w 20358094"/>
                <a:gd name="connsiteY48" fmla="*/ 3951642 h 6049690"/>
                <a:gd name="connsiteX49" fmla="*/ 14964554 w 20358094"/>
                <a:gd name="connsiteY49" fmla="*/ 4397119 h 6049690"/>
                <a:gd name="connsiteX50" fmla="*/ 14636308 w 20358094"/>
                <a:gd name="connsiteY50" fmla="*/ 4912934 h 6049690"/>
                <a:gd name="connsiteX51" fmla="*/ 14542524 w 20358094"/>
                <a:gd name="connsiteY51" fmla="*/ 5393581 h 6049690"/>
                <a:gd name="connsiteX52" fmla="*/ 14542524 w 20358094"/>
                <a:gd name="connsiteY52" fmla="*/ 5768719 h 6049690"/>
                <a:gd name="connsiteX53" fmla="*/ 14554247 w 20358094"/>
                <a:gd name="connsiteY53" fmla="*/ 5991457 h 6049690"/>
                <a:gd name="connsiteX54" fmla="*/ 14472185 w 20358094"/>
                <a:gd name="connsiteY54" fmla="*/ 6014904 h 6049690"/>
                <a:gd name="connsiteX55" fmla="*/ 14073601 w 20358094"/>
                <a:gd name="connsiteY55" fmla="*/ 6014904 h 6049690"/>
                <a:gd name="connsiteX56" fmla="*/ 11693816 w 20358094"/>
                <a:gd name="connsiteY56" fmla="*/ 6038350 h 6049690"/>
                <a:gd name="connsiteX57" fmla="*/ 7121816 w 20358094"/>
                <a:gd name="connsiteY57" fmla="*/ 6038350 h 6049690"/>
                <a:gd name="connsiteX58" fmla="*/ 5328185 w 20358094"/>
                <a:gd name="connsiteY58" fmla="*/ 6003181 h 6049690"/>
                <a:gd name="connsiteX59" fmla="*/ 5375077 w 20358094"/>
                <a:gd name="connsiteY59" fmla="*/ 5545980 h 6049690"/>
                <a:gd name="connsiteX60" fmla="*/ 5187508 w 20358094"/>
                <a:gd name="connsiteY60" fmla="*/ 4678473 h 6049690"/>
                <a:gd name="connsiteX61" fmla="*/ 4613077 w 20358094"/>
                <a:gd name="connsiteY61" fmla="*/ 3939920 h 6049690"/>
                <a:gd name="connsiteX62" fmla="*/ 3804185 w 20358094"/>
                <a:gd name="connsiteY62" fmla="*/ 3635119 h 6049690"/>
                <a:gd name="connsiteX63" fmla="*/ 3077355 w 20358094"/>
                <a:gd name="connsiteY63" fmla="*/ 3693734 h 6049690"/>
                <a:gd name="connsiteX64" fmla="*/ 2479477 w 20358094"/>
                <a:gd name="connsiteY64" fmla="*/ 3998534 h 6049690"/>
                <a:gd name="connsiteX65" fmla="*/ 1987108 w 20358094"/>
                <a:gd name="connsiteY65" fmla="*/ 4584688 h 6049690"/>
                <a:gd name="connsiteX66" fmla="*/ 1799539 w 20358094"/>
                <a:gd name="connsiteY66" fmla="*/ 5159119 h 6049690"/>
                <a:gd name="connsiteX67" fmla="*/ 1787816 w 20358094"/>
                <a:gd name="connsiteY67" fmla="*/ 5745273 h 6049690"/>
                <a:gd name="connsiteX68" fmla="*/ 1776093 w 20358094"/>
                <a:gd name="connsiteY68" fmla="*/ 5944565 h 6049690"/>
                <a:gd name="connsiteX69" fmla="*/ 1647139 w 20358094"/>
                <a:gd name="connsiteY69" fmla="*/ 5956288 h 6049690"/>
                <a:gd name="connsiteX70" fmla="*/ 709293 w 20358094"/>
                <a:gd name="connsiteY70" fmla="*/ 5932842 h 6049690"/>
                <a:gd name="connsiteX71" fmla="*/ 556893 w 20358094"/>
                <a:gd name="connsiteY71" fmla="*/ 5909396 h 6049690"/>
                <a:gd name="connsiteX72" fmla="*/ 474831 w 20358094"/>
                <a:gd name="connsiteY72" fmla="*/ 5803888 h 6049690"/>
                <a:gd name="connsiteX73" fmla="*/ 404493 w 20358094"/>
                <a:gd name="connsiteY73" fmla="*/ 5745273 h 6049690"/>
                <a:gd name="connsiteX74" fmla="*/ 263816 w 20358094"/>
                <a:gd name="connsiteY74" fmla="*/ 5581150 h 6049690"/>
                <a:gd name="connsiteX75" fmla="*/ 404493 w 20358094"/>
                <a:gd name="connsiteY75" fmla="*/ 5534257 h 6049690"/>
                <a:gd name="connsiteX76" fmla="*/ 334154 w 20358094"/>
                <a:gd name="connsiteY76" fmla="*/ 5428750 h 6049690"/>
                <a:gd name="connsiteX77" fmla="*/ 240370 w 20358094"/>
                <a:gd name="connsiteY77" fmla="*/ 5030165 h 6049690"/>
                <a:gd name="connsiteX78" fmla="*/ 205201 w 20358094"/>
                <a:gd name="connsiteY78" fmla="*/ 4983273 h 6049690"/>
                <a:gd name="connsiteX79" fmla="*/ 76247 w 20358094"/>
                <a:gd name="connsiteY79" fmla="*/ 4971550 h 6049690"/>
                <a:gd name="connsiteX80" fmla="*/ 52801 w 20358094"/>
                <a:gd name="connsiteY80" fmla="*/ 4842596 h 6049690"/>
                <a:gd name="connsiteX81" fmla="*/ 5908 w 20358094"/>
                <a:gd name="connsiteY81" fmla="*/ 4385396 h 6049690"/>
                <a:gd name="connsiteX82" fmla="*/ 17631 w 20358094"/>
                <a:gd name="connsiteY82" fmla="*/ 4315057 h 6049690"/>
                <a:gd name="connsiteX83" fmla="*/ 158308 w 20358094"/>
                <a:gd name="connsiteY83" fmla="*/ 4279888 h 6049690"/>
                <a:gd name="connsiteX84" fmla="*/ 240370 w 20358094"/>
                <a:gd name="connsiteY84" fmla="*/ 4150934 h 6049690"/>
                <a:gd name="connsiteX85" fmla="*/ 205201 w 20358094"/>
                <a:gd name="connsiteY85" fmla="*/ 3963365 h 6049690"/>
                <a:gd name="connsiteX86" fmla="*/ 193477 w 20358094"/>
                <a:gd name="connsiteY86" fmla="*/ 3623396 h 6049690"/>
                <a:gd name="connsiteX87" fmla="*/ 357601 w 20358094"/>
                <a:gd name="connsiteY87" fmla="*/ 3283427 h 6049690"/>
                <a:gd name="connsiteX88" fmla="*/ 1154770 w 20358094"/>
                <a:gd name="connsiteY88" fmla="*/ 2861396 h 6049690"/>
                <a:gd name="connsiteX89" fmla="*/ 2104339 w 20358094"/>
                <a:gd name="connsiteY89" fmla="*/ 2626934 h 6049690"/>
                <a:gd name="connsiteX90" fmla="*/ 3780739 w 20358094"/>
                <a:gd name="connsiteY90" fmla="*/ 2333857 h 6049690"/>
                <a:gd name="connsiteX91" fmla="*/ 5199231 w 20358094"/>
                <a:gd name="connsiteY91" fmla="*/ 2169734 h 6049690"/>
                <a:gd name="connsiteX92" fmla="*/ 5574370 w 20358094"/>
                <a:gd name="connsiteY92" fmla="*/ 2146288 h 6049690"/>
                <a:gd name="connsiteX93" fmla="*/ 5726770 w 20358094"/>
                <a:gd name="connsiteY93" fmla="*/ 2158011 h 6049690"/>
                <a:gd name="connsiteX94" fmla="*/ 5937785 w 20358094"/>
                <a:gd name="connsiteY94" fmla="*/ 2251796 h 6049690"/>
                <a:gd name="connsiteX95" fmla="*/ 5996401 w 20358094"/>
                <a:gd name="connsiteY95" fmla="*/ 2228350 h 6049690"/>
                <a:gd name="connsiteX0" fmla="*/ 5996401 w 20358094"/>
                <a:gd name="connsiteY0" fmla="*/ 2228350 h 6054551"/>
                <a:gd name="connsiteX1" fmla="*/ 6899077 w 20358094"/>
                <a:gd name="connsiteY1" fmla="*/ 1700811 h 6054551"/>
                <a:gd name="connsiteX2" fmla="*/ 8212062 w 20358094"/>
                <a:gd name="connsiteY2" fmla="*/ 915365 h 6054551"/>
                <a:gd name="connsiteX3" fmla="*/ 9032677 w 20358094"/>
                <a:gd name="connsiteY3" fmla="*/ 528504 h 6054551"/>
                <a:gd name="connsiteX4" fmla="*/ 9079570 w 20358094"/>
                <a:gd name="connsiteY4" fmla="*/ 469888 h 6054551"/>
                <a:gd name="connsiteX5" fmla="*/ 9220247 w 20358094"/>
                <a:gd name="connsiteY5" fmla="*/ 411273 h 6054551"/>
                <a:gd name="connsiteX6" fmla="*/ 10005693 w 20358094"/>
                <a:gd name="connsiteY6" fmla="*/ 188534 h 6054551"/>
                <a:gd name="connsiteX7" fmla="*/ 11365570 w 20358094"/>
                <a:gd name="connsiteY7" fmla="*/ 47857 h 6054551"/>
                <a:gd name="connsiteX8" fmla="*/ 12948185 w 20358094"/>
                <a:gd name="connsiteY8" fmla="*/ 965 h 6054551"/>
                <a:gd name="connsiteX9" fmla="*/ 14565970 w 20358094"/>
                <a:gd name="connsiteY9" fmla="*/ 83027 h 6054551"/>
                <a:gd name="connsiteX10" fmla="*/ 16054801 w 20358094"/>
                <a:gd name="connsiteY10" fmla="*/ 165088 h 6054551"/>
                <a:gd name="connsiteX11" fmla="*/ 17496739 w 20358094"/>
                <a:gd name="connsiteY11" fmla="*/ 364381 h 6054551"/>
                <a:gd name="connsiteX12" fmla="*/ 18036001 w 20358094"/>
                <a:gd name="connsiteY12" fmla="*/ 469888 h 6054551"/>
                <a:gd name="connsiteX13" fmla="*/ 18352524 w 20358094"/>
                <a:gd name="connsiteY13" fmla="*/ 528504 h 6054551"/>
                <a:gd name="connsiteX14" fmla="*/ 18434585 w 20358094"/>
                <a:gd name="connsiteY14" fmla="*/ 575396 h 6054551"/>
                <a:gd name="connsiteX15" fmla="*/ 18469754 w 20358094"/>
                <a:gd name="connsiteY15" fmla="*/ 634011 h 6054551"/>
                <a:gd name="connsiteX16" fmla="*/ 18903508 w 20358094"/>
                <a:gd name="connsiteY16" fmla="*/ 1091211 h 6054551"/>
                <a:gd name="connsiteX17" fmla="*/ 19560001 w 20358094"/>
                <a:gd name="connsiteY17" fmla="*/ 1853211 h 6054551"/>
                <a:gd name="connsiteX18" fmla="*/ 19665508 w 20358094"/>
                <a:gd name="connsiteY18" fmla="*/ 1993888 h 6054551"/>
                <a:gd name="connsiteX19" fmla="*/ 19864801 w 20358094"/>
                <a:gd name="connsiteY19" fmla="*/ 2099396 h 6054551"/>
                <a:gd name="connsiteX20" fmla="*/ 19946862 w 20358094"/>
                <a:gd name="connsiteY20" fmla="*/ 2228350 h 6054551"/>
                <a:gd name="connsiteX21" fmla="*/ 19911693 w 20358094"/>
                <a:gd name="connsiteY21" fmla="*/ 2415919 h 6054551"/>
                <a:gd name="connsiteX22" fmla="*/ 19923417 w 20358094"/>
                <a:gd name="connsiteY22" fmla="*/ 2779335 h 6054551"/>
                <a:gd name="connsiteX23" fmla="*/ 19888247 w 20358094"/>
                <a:gd name="connsiteY23" fmla="*/ 3060688 h 6054551"/>
                <a:gd name="connsiteX24" fmla="*/ 19993754 w 20358094"/>
                <a:gd name="connsiteY24" fmla="*/ 3271704 h 6054551"/>
                <a:gd name="connsiteX25" fmla="*/ 19982031 w 20358094"/>
                <a:gd name="connsiteY25" fmla="*/ 3447550 h 6054551"/>
                <a:gd name="connsiteX26" fmla="*/ 19935139 w 20358094"/>
                <a:gd name="connsiteY26" fmla="*/ 3635119 h 6054551"/>
                <a:gd name="connsiteX27" fmla="*/ 20134431 w 20358094"/>
                <a:gd name="connsiteY27" fmla="*/ 3705457 h 6054551"/>
                <a:gd name="connsiteX28" fmla="*/ 20275108 w 20358094"/>
                <a:gd name="connsiteY28" fmla="*/ 3752350 h 6054551"/>
                <a:gd name="connsiteX29" fmla="*/ 20345447 w 20358094"/>
                <a:gd name="connsiteY29" fmla="*/ 3846134 h 6054551"/>
                <a:gd name="connsiteX30" fmla="*/ 20357170 w 20358094"/>
                <a:gd name="connsiteY30" fmla="*/ 4010257 h 6054551"/>
                <a:gd name="connsiteX31" fmla="*/ 20333725 w 20358094"/>
                <a:gd name="connsiteY31" fmla="*/ 4209550 h 6054551"/>
                <a:gd name="connsiteX32" fmla="*/ 20275108 w 20358094"/>
                <a:gd name="connsiteY32" fmla="*/ 4397119 h 6054551"/>
                <a:gd name="connsiteX33" fmla="*/ 20169601 w 20358094"/>
                <a:gd name="connsiteY33" fmla="*/ 4432288 h 6054551"/>
                <a:gd name="connsiteX34" fmla="*/ 20087539 w 20358094"/>
                <a:gd name="connsiteY34" fmla="*/ 4748811 h 6054551"/>
                <a:gd name="connsiteX35" fmla="*/ 20064093 w 20358094"/>
                <a:gd name="connsiteY35" fmla="*/ 5182565 h 6054551"/>
                <a:gd name="connsiteX36" fmla="*/ 20157877 w 20358094"/>
                <a:gd name="connsiteY36" fmla="*/ 5475642 h 6054551"/>
                <a:gd name="connsiteX37" fmla="*/ 20052370 w 20358094"/>
                <a:gd name="connsiteY37" fmla="*/ 5510811 h 6054551"/>
                <a:gd name="connsiteX38" fmla="*/ 19548277 w 20358094"/>
                <a:gd name="connsiteY38" fmla="*/ 5534257 h 6054551"/>
                <a:gd name="connsiteX39" fmla="*/ 19454493 w 20358094"/>
                <a:gd name="connsiteY39" fmla="*/ 5756996 h 6054551"/>
                <a:gd name="connsiteX40" fmla="*/ 19290370 w 20358094"/>
                <a:gd name="connsiteY40" fmla="*/ 5780442 h 6054551"/>
                <a:gd name="connsiteX41" fmla="*/ 18223570 w 20358094"/>
                <a:gd name="connsiteY41" fmla="*/ 5768719 h 6054551"/>
                <a:gd name="connsiteX42" fmla="*/ 18223570 w 20358094"/>
                <a:gd name="connsiteY42" fmla="*/ 5581150 h 6054551"/>
                <a:gd name="connsiteX43" fmla="*/ 17989108 w 20358094"/>
                <a:gd name="connsiteY43" fmla="*/ 4725365 h 6054551"/>
                <a:gd name="connsiteX44" fmla="*/ 17602247 w 20358094"/>
                <a:gd name="connsiteY44" fmla="*/ 4162657 h 6054551"/>
                <a:gd name="connsiteX45" fmla="*/ 17145047 w 20358094"/>
                <a:gd name="connsiteY45" fmla="*/ 3857857 h 6054551"/>
                <a:gd name="connsiteX46" fmla="*/ 16429939 w 20358094"/>
                <a:gd name="connsiteY46" fmla="*/ 3682011 h 6054551"/>
                <a:gd name="connsiteX47" fmla="*/ 15902401 w 20358094"/>
                <a:gd name="connsiteY47" fmla="*/ 3728904 h 6054551"/>
                <a:gd name="connsiteX48" fmla="*/ 15386585 w 20358094"/>
                <a:gd name="connsiteY48" fmla="*/ 3951642 h 6054551"/>
                <a:gd name="connsiteX49" fmla="*/ 14964554 w 20358094"/>
                <a:gd name="connsiteY49" fmla="*/ 4397119 h 6054551"/>
                <a:gd name="connsiteX50" fmla="*/ 14636308 w 20358094"/>
                <a:gd name="connsiteY50" fmla="*/ 4912934 h 6054551"/>
                <a:gd name="connsiteX51" fmla="*/ 14542524 w 20358094"/>
                <a:gd name="connsiteY51" fmla="*/ 5393581 h 6054551"/>
                <a:gd name="connsiteX52" fmla="*/ 14542524 w 20358094"/>
                <a:gd name="connsiteY52" fmla="*/ 5768719 h 6054551"/>
                <a:gd name="connsiteX53" fmla="*/ 14554247 w 20358094"/>
                <a:gd name="connsiteY53" fmla="*/ 5991457 h 6054551"/>
                <a:gd name="connsiteX54" fmla="*/ 14472185 w 20358094"/>
                <a:gd name="connsiteY54" fmla="*/ 6014904 h 6054551"/>
                <a:gd name="connsiteX55" fmla="*/ 14073601 w 20358094"/>
                <a:gd name="connsiteY55" fmla="*/ 6014904 h 6054551"/>
                <a:gd name="connsiteX56" fmla="*/ 11693816 w 20358094"/>
                <a:gd name="connsiteY56" fmla="*/ 6038350 h 6054551"/>
                <a:gd name="connsiteX57" fmla="*/ 7121816 w 20358094"/>
                <a:gd name="connsiteY57" fmla="*/ 6038350 h 6054551"/>
                <a:gd name="connsiteX58" fmla="*/ 5328185 w 20358094"/>
                <a:gd name="connsiteY58" fmla="*/ 6003181 h 6054551"/>
                <a:gd name="connsiteX59" fmla="*/ 5375077 w 20358094"/>
                <a:gd name="connsiteY59" fmla="*/ 5545980 h 6054551"/>
                <a:gd name="connsiteX60" fmla="*/ 5187508 w 20358094"/>
                <a:gd name="connsiteY60" fmla="*/ 4678473 h 6054551"/>
                <a:gd name="connsiteX61" fmla="*/ 4613077 w 20358094"/>
                <a:gd name="connsiteY61" fmla="*/ 3939920 h 6054551"/>
                <a:gd name="connsiteX62" fmla="*/ 3804185 w 20358094"/>
                <a:gd name="connsiteY62" fmla="*/ 3635119 h 6054551"/>
                <a:gd name="connsiteX63" fmla="*/ 3077355 w 20358094"/>
                <a:gd name="connsiteY63" fmla="*/ 3693734 h 6054551"/>
                <a:gd name="connsiteX64" fmla="*/ 2479477 w 20358094"/>
                <a:gd name="connsiteY64" fmla="*/ 3998534 h 6054551"/>
                <a:gd name="connsiteX65" fmla="*/ 1987108 w 20358094"/>
                <a:gd name="connsiteY65" fmla="*/ 4584688 h 6054551"/>
                <a:gd name="connsiteX66" fmla="*/ 1799539 w 20358094"/>
                <a:gd name="connsiteY66" fmla="*/ 5159119 h 6054551"/>
                <a:gd name="connsiteX67" fmla="*/ 1787816 w 20358094"/>
                <a:gd name="connsiteY67" fmla="*/ 5745273 h 6054551"/>
                <a:gd name="connsiteX68" fmla="*/ 1776093 w 20358094"/>
                <a:gd name="connsiteY68" fmla="*/ 5944565 h 6054551"/>
                <a:gd name="connsiteX69" fmla="*/ 1647139 w 20358094"/>
                <a:gd name="connsiteY69" fmla="*/ 5956288 h 6054551"/>
                <a:gd name="connsiteX70" fmla="*/ 709293 w 20358094"/>
                <a:gd name="connsiteY70" fmla="*/ 5932842 h 6054551"/>
                <a:gd name="connsiteX71" fmla="*/ 556893 w 20358094"/>
                <a:gd name="connsiteY71" fmla="*/ 5909396 h 6054551"/>
                <a:gd name="connsiteX72" fmla="*/ 474831 w 20358094"/>
                <a:gd name="connsiteY72" fmla="*/ 5803888 h 6054551"/>
                <a:gd name="connsiteX73" fmla="*/ 404493 w 20358094"/>
                <a:gd name="connsiteY73" fmla="*/ 5745273 h 6054551"/>
                <a:gd name="connsiteX74" fmla="*/ 263816 w 20358094"/>
                <a:gd name="connsiteY74" fmla="*/ 5581150 h 6054551"/>
                <a:gd name="connsiteX75" fmla="*/ 404493 w 20358094"/>
                <a:gd name="connsiteY75" fmla="*/ 5534257 h 6054551"/>
                <a:gd name="connsiteX76" fmla="*/ 334154 w 20358094"/>
                <a:gd name="connsiteY76" fmla="*/ 5428750 h 6054551"/>
                <a:gd name="connsiteX77" fmla="*/ 240370 w 20358094"/>
                <a:gd name="connsiteY77" fmla="*/ 5030165 h 6054551"/>
                <a:gd name="connsiteX78" fmla="*/ 205201 w 20358094"/>
                <a:gd name="connsiteY78" fmla="*/ 4983273 h 6054551"/>
                <a:gd name="connsiteX79" fmla="*/ 76247 w 20358094"/>
                <a:gd name="connsiteY79" fmla="*/ 4971550 h 6054551"/>
                <a:gd name="connsiteX80" fmla="*/ 52801 w 20358094"/>
                <a:gd name="connsiteY80" fmla="*/ 4842596 h 6054551"/>
                <a:gd name="connsiteX81" fmla="*/ 5908 w 20358094"/>
                <a:gd name="connsiteY81" fmla="*/ 4385396 h 6054551"/>
                <a:gd name="connsiteX82" fmla="*/ 17631 w 20358094"/>
                <a:gd name="connsiteY82" fmla="*/ 4315057 h 6054551"/>
                <a:gd name="connsiteX83" fmla="*/ 158308 w 20358094"/>
                <a:gd name="connsiteY83" fmla="*/ 4279888 h 6054551"/>
                <a:gd name="connsiteX84" fmla="*/ 240370 w 20358094"/>
                <a:gd name="connsiteY84" fmla="*/ 4150934 h 6054551"/>
                <a:gd name="connsiteX85" fmla="*/ 205201 w 20358094"/>
                <a:gd name="connsiteY85" fmla="*/ 3963365 h 6054551"/>
                <a:gd name="connsiteX86" fmla="*/ 193477 w 20358094"/>
                <a:gd name="connsiteY86" fmla="*/ 3623396 h 6054551"/>
                <a:gd name="connsiteX87" fmla="*/ 357601 w 20358094"/>
                <a:gd name="connsiteY87" fmla="*/ 3283427 h 6054551"/>
                <a:gd name="connsiteX88" fmla="*/ 1154770 w 20358094"/>
                <a:gd name="connsiteY88" fmla="*/ 2861396 h 6054551"/>
                <a:gd name="connsiteX89" fmla="*/ 2104339 w 20358094"/>
                <a:gd name="connsiteY89" fmla="*/ 2626934 h 6054551"/>
                <a:gd name="connsiteX90" fmla="*/ 3780739 w 20358094"/>
                <a:gd name="connsiteY90" fmla="*/ 2333857 h 6054551"/>
                <a:gd name="connsiteX91" fmla="*/ 5199231 w 20358094"/>
                <a:gd name="connsiteY91" fmla="*/ 2169734 h 6054551"/>
                <a:gd name="connsiteX92" fmla="*/ 5574370 w 20358094"/>
                <a:gd name="connsiteY92" fmla="*/ 2146288 h 6054551"/>
                <a:gd name="connsiteX93" fmla="*/ 5726770 w 20358094"/>
                <a:gd name="connsiteY93" fmla="*/ 2158011 h 6054551"/>
                <a:gd name="connsiteX94" fmla="*/ 5937785 w 20358094"/>
                <a:gd name="connsiteY94" fmla="*/ 2251796 h 6054551"/>
                <a:gd name="connsiteX95" fmla="*/ 5996401 w 20358094"/>
                <a:gd name="connsiteY95" fmla="*/ 2228350 h 6054551"/>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86800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52105"/>
                <a:gd name="connsiteX1" fmla="*/ 6899077 w 20358094"/>
                <a:gd name="connsiteY1" fmla="*/ 1700811 h 6052105"/>
                <a:gd name="connsiteX2" fmla="*/ 8212062 w 20358094"/>
                <a:gd name="connsiteY2" fmla="*/ 915365 h 6052105"/>
                <a:gd name="connsiteX3" fmla="*/ 9032677 w 20358094"/>
                <a:gd name="connsiteY3" fmla="*/ 528504 h 6052105"/>
                <a:gd name="connsiteX4" fmla="*/ 9079570 w 20358094"/>
                <a:gd name="connsiteY4" fmla="*/ 469888 h 6052105"/>
                <a:gd name="connsiteX5" fmla="*/ 9220247 w 20358094"/>
                <a:gd name="connsiteY5" fmla="*/ 411273 h 6052105"/>
                <a:gd name="connsiteX6" fmla="*/ 10005693 w 20358094"/>
                <a:gd name="connsiteY6" fmla="*/ 188534 h 6052105"/>
                <a:gd name="connsiteX7" fmla="*/ 11365570 w 20358094"/>
                <a:gd name="connsiteY7" fmla="*/ 47857 h 6052105"/>
                <a:gd name="connsiteX8" fmla="*/ 12948185 w 20358094"/>
                <a:gd name="connsiteY8" fmla="*/ 965 h 6052105"/>
                <a:gd name="connsiteX9" fmla="*/ 14565970 w 20358094"/>
                <a:gd name="connsiteY9" fmla="*/ 83027 h 6052105"/>
                <a:gd name="connsiteX10" fmla="*/ 16054801 w 20358094"/>
                <a:gd name="connsiteY10" fmla="*/ 165088 h 6052105"/>
                <a:gd name="connsiteX11" fmla="*/ 17496739 w 20358094"/>
                <a:gd name="connsiteY11" fmla="*/ 364381 h 6052105"/>
                <a:gd name="connsiteX12" fmla="*/ 18036001 w 20358094"/>
                <a:gd name="connsiteY12" fmla="*/ 469888 h 6052105"/>
                <a:gd name="connsiteX13" fmla="*/ 18352524 w 20358094"/>
                <a:gd name="connsiteY13" fmla="*/ 528504 h 6052105"/>
                <a:gd name="connsiteX14" fmla="*/ 18434585 w 20358094"/>
                <a:gd name="connsiteY14" fmla="*/ 575396 h 6052105"/>
                <a:gd name="connsiteX15" fmla="*/ 18469754 w 20358094"/>
                <a:gd name="connsiteY15" fmla="*/ 634011 h 6052105"/>
                <a:gd name="connsiteX16" fmla="*/ 18903508 w 20358094"/>
                <a:gd name="connsiteY16" fmla="*/ 1091211 h 6052105"/>
                <a:gd name="connsiteX17" fmla="*/ 19560001 w 20358094"/>
                <a:gd name="connsiteY17" fmla="*/ 1853211 h 6052105"/>
                <a:gd name="connsiteX18" fmla="*/ 19665508 w 20358094"/>
                <a:gd name="connsiteY18" fmla="*/ 1993888 h 6052105"/>
                <a:gd name="connsiteX19" fmla="*/ 19864801 w 20358094"/>
                <a:gd name="connsiteY19" fmla="*/ 2099396 h 6052105"/>
                <a:gd name="connsiteX20" fmla="*/ 19946862 w 20358094"/>
                <a:gd name="connsiteY20" fmla="*/ 2228350 h 6052105"/>
                <a:gd name="connsiteX21" fmla="*/ 19911693 w 20358094"/>
                <a:gd name="connsiteY21" fmla="*/ 2415919 h 6052105"/>
                <a:gd name="connsiteX22" fmla="*/ 19923417 w 20358094"/>
                <a:gd name="connsiteY22" fmla="*/ 2779335 h 6052105"/>
                <a:gd name="connsiteX23" fmla="*/ 19888247 w 20358094"/>
                <a:gd name="connsiteY23" fmla="*/ 3060688 h 6052105"/>
                <a:gd name="connsiteX24" fmla="*/ 19993754 w 20358094"/>
                <a:gd name="connsiteY24" fmla="*/ 3271704 h 6052105"/>
                <a:gd name="connsiteX25" fmla="*/ 19982031 w 20358094"/>
                <a:gd name="connsiteY25" fmla="*/ 3447550 h 6052105"/>
                <a:gd name="connsiteX26" fmla="*/ 19935139 w 20358094"/>
                <a:gd name="connsiteY26" fmla="*/ 3635119 h 6052105"/>
                <a:gd name="connsiteX27" fmla="*/ 20134431 w 20358094"/>
                <a:gd name="connsiteY27" fmla="*/ 3705457 h 6052105"/>
                <a:gd name="connsiteX28" fmla="*/ 20275108 w 20358094"/>
                <a:gd name="connsiteY28" fmla="*/ 3752350 h 6052105"/>
                <a:gd name="connsiteX29" fmla="*/ 20345447 w 20358094"/>
                <a:gd name="connsiteY29" fmla="*/ 3846134 h 6052105"/>
                <a:gd name="connsiteX30" fmla="*/ 20357170 w 20358094"/>
                <a:gd name="connsiteY30" fmla="*/ 4010257 h 6052105"/>
                <a:gd name="connsiteX31" fmla="*/ 20333725 w 20358094"/>
                <a:gd name="connsiteY31" fmla="*/ 4209550 h 6052105"/>
                <a:gd name="connsiteX32" fmla="*/ 20275108 w 20358094"/>
                <a:gd name="connsiteY32" fmla="*/ 4397119 h 6052105"/>
                <a:gd name="connsiteX33" fmla="*/ 20169601 w 20358094"/>
                <a:gd name="connsiteY33" fmla="*/ 4432288 h 6052105"/>
                <a:gd name="connsiteX34" fmla="*/ 20087539 w 20358094"/>
                <a:gd name="connsiteY34" fmla="*/ 4748811 h 6052105"/>
                <a:gd name="connsiteX35" fmla="*/ 20064093 w 20358094"/>
                <a:gd name="connsiteY35" fmla="*/ 5182565 h 6052105"/>
                <a:gd name="connsiteX36" fmla="*/ 20157877 w 20358094"/>
                <a:gd name="connsiteY36" fmla="*/ 5475642 h 6052105"/>
                <a:gd name="connsiteX37" fmla="*/ 20052370 w 20358094"/>
                <a:gd name="connsiteY37" fmla="*/ 5510811 h 6052105"/>
                <a:gd name="connsiteX38" fmla="*/ 19548277 w 20358094"/>
                <a:gd name="connsiteY38" fmla="*/ 5534257 h 6052105"/>
                <a:gd name="connsiteX39" fmla="*/ 19454493 w 20358094"/>
                <a:gd name="connsiteY39" fmla="*/ 5756996 h 6052105"/>
                <a:gd name="connsiteX40" fmla="*/ 19290370 w 20358094"/>
                <a:gd name="connsiteY40" fmla="*/ 5780442 h 6052105"/>
                <a:gd name="connsiteX41" fmla="*/ 18223570 w 20358094"/>
                <a:gd name="connsiteY41" fmla="*/ 5768719 h 6052105"/>
                <a:gd name="connsiteX42" fmla="*/ 18223570 w 20358094"/>
                <a:gd name="connsiteY42" fmla="*/ 5581150 h 6052105"/>
                <a:gd name="connsiteX43" fmla="*/ 17989108 w 20358094"/>
                <a:gd name="connsiteY43" fmla="*/ 4725365 h 6052105"/>
                <a:gd name="connsiteX44" fmla="*/ 17602247 w 20358094"/>
                <a:gd name="connsiteY44" fmla="*/ 4162657 h 6052105"/>
                <a:gd name="connsiteX45" fmla="*/ 17145047 w 20358094"/>
                <a:gd name="connsiteY45" fmla="*/ 3857857 h 6052105"/>
                <a:gd name="connsiteX46" fmla="*/ 16429939 w 20358094"/>
                <a:gd name="connsiteY46" fmla="*/ 3682011 h 6052105"/>
                <a:gd name="connsiteX47" fmla="*/ 15902401 w 20358094"/>
                <a:gd name="connsiteY47" fmla="*/ 3728904 h 6052105"/>
                <a:gd name="connsiteX48" fmla="*/ 15386585 w 20358094"/>
                <a:gd name="connsiteY48" fmla="*/ 3951642 h 6052105"/>
                <a:gd name="connsiteX49" fmla="*/ 14964554 w 20358094"/>
                <a:gd name="connsiteY49" fmla="*/ 4397119 h 6052105"/>
                <a:gd name="connsiteX50" fmla="*/ 14636308 w 20358094"/>
                <a:gd name="connsiteY50" fmla="*/ 4912934 h 6052105"/>
                <a:gd name="connsiteX51" fmla="*/ 14542524 w 20358094"/>
                <a:gd name="connsiteY51" fmla="*/ 5393581 h 6052105"/>
                <a:gd name="connsiteX52" fmla="*/ 14542524 w 20358094"/>
                <a:gd name="connsiteY52" fmla="*/ 5768719 h 6052105"/>
                <a:gd name="connsiteX53" fmla="*/ 14554247 w 20358094"/>
                <a:gd name="connsiteY53" fmla="*/ 5991457 h 6052105"/>
                <a:gd name="connsiteX54" fmla="*/ 14472185 w 20358094"/>
                <a:gd name="connsiteY54" fmla="*/ 6014904 h 6052105"/>
                <a:gd name="connsiteX55" fmla="*/ 14073601 w 20358094"/>
                <a:gd name="connsiteY55" fmla="*/ 6014904 h 6052105"/>
                <a:gd name="connsiteX56" fmla="*/ 11693816 w 20358094"/>
                <a:gd name="connsiteY56" fmla="*/ 6038350 h 6052105"/>
                <a:gd name="connsiteX57" fmla="*/ 7121816 w 20358094"/>
                <a:gd name="connsiteY57" fmla="*/ 6038350 h 6052105"/>
                <a:gd name="connsiteX58" fmla="*/ 5328185 w 20358094"/>
                <a:gd name="connsiteY58" fmla="*/ 6003181 h 6052105"/>
                <a:gd name="connsiteX59" fmla="*/ 5351631 w 20358094"/>
                <a:gd name="connsiteY59" fmla="*/ 5510811 h 6052105"/>
                <a:gd name="connsiteX60" fmla="*/ 5187508 w 20358094"/>
                <a:gd name="connsiteY60" fmla="*/ 4678473 h 6052105"/>
                <a:gd name="connsiteX61" fmla="*/ 4613077 w 20358094"/>
                <a:gd name="connsiteY61" fmla="*/ 3939920 h 6052105"/>
                <a:gd name="connsiteX62" fmla="*/ 3804185 w 20358094"/>
                <a:gd name="connsiteY62" fmla="*/ 3635119 h 6052105"/>
                <a:gd name="connsiteX63" fmla="*/ 3077355 w 20358094"/>
                <a:gd name="connsiteY63" fmla="*/ 3693734 h 6052105"/>
                <a:gd name="connsiteX64" fmla="*/ 2479477 w 20358094"/>
                <a:gd name="connsiteY64" fmla="*/ 3998534 h 6052105"/>
                <a:gd name="connsiteX65" fmla="*/ 1987108 w 20358094"/>
                <a:gd name="connsiteY65" fmla="*/ 4584688 h 6052105"/>
                <a:gd name="connsiteX66" fmla="*/ 1799539 w 20358094"/>
                <a:gd name="connsiteY66" fmla="*/ 5159119 h 6052105"/>
                <a:gd name="connsiteX67" fmla="*/ 1787816 w 20358094"/>
                <a:gd name="connsiteY67" fmla="*/ 5745273 h 6052105"/>
                <a:gd name="connsiteX68" fmla="*/ 1776093 w 20358094"/>
                <a:gd name="connsiteY68" fmla="*/ 5944565 h 6052105"/>
                <a:gd name="connsiteX69" fmla="*/ 1647139 w 20358094"/>
                <a:gd name="connsiteY69" fmla="*/ 5956288 h 6052105"/>
                <a:gd name="connsiteX70" fmla="*/ 709293 w 20358094"/>
                <a:gd name="connsiteY70" fmla="*/ 5932842 h 6052105"/>
                <a:gd name="connsiteX71" fmla="*/ 556893 w 20358094"/>
                <a:gd name="connsiteY71" fmla="*/ 5909396 h 6052105"/>
                <a:gd name="connsiteX72" fmla="*/ 474831 w 20358094"/>
                <a:gd name="connsiteY72" fmla="*/ 5803888 h 6052105"/>
                <a:gd name="connsiteX73" fmla="*/ 404493 w 20358094"/>
                <a:gd name="connsiteY73" fmla="*/ 5745273 h 6052105"/>
                <a:gd name="connsiteX74" fmla="*/ 263816 w 20358094"/>
                <a:gd name="connsiteY74" fmla="*/ 5581150 h 6052105"/>
                <a:gd name="connsiteX75" fmla="*/ 404493 w 20358094"/>
                <a:gd name="connsiteY75" fmla="*/ 5534257 h 6052105"/>
                <a:gd name="connsiteX76" fmla="*/ 334154 w 20358094"/>
                <a:gd name="connsiteY76" fmla="*/ 5428750 h 6052105"/>
                <a:gd name="connsiteX77" fmla="*/ 240370 w 20358094"/>
                <a:gd name="connsiteY77" fmla="*/ 5030165 h 6052105"/>
                <a:gd name="connsiteX78" fmla="*/ 205201 w 20358094"/>
                <a:gd name="connsiteY78" fmla="*/ 4983273 h 6052105"/>
                <a:gd name="connsiteX79" fmla="*/ 76247 w 20358094"/>
                <a:gd name="connsiteY79" fmla="*/ 4971550 h 6052105"/>
                <a:gd name="connsiteX80" fmla="*/ 52801 w 20358094"/>
                <a:gd name="connsiteY80" fmla="*/ 4842596 h 6052105"/>
                <a:gd name="connsiteX81" fmla="*/ 5908 w 20358094"/>
                <a:gd name="connsiteY81" fmla="*/ 4385396 h 6052105"/>
                <a:gd name="connsiteX82" fmla="*/ 17631 w 20358094"/>
                <a:gd name="connsiteY82" fmla="*/ 4315057 h 6052105"/>
                <a:gd name="connsiteX83" fmla="*/ 158308 w 20358094"/>
                <a:gd name="connsiteY83" fmla="*/ 4279888 h 6052105"/>
                <a:gd name="connsiteX84" fmla="*/ 240370 w 20358094"/>
                <a:gd name="connsiteY84" fmla="*/ 4150934 h 6052105"/>
                <a:gd name="connsiteX85" fmla="*/ 205201 w 20358094"/>
                <a:gd name="connsiteY85" fmla="*/ 3963365 h 6052105"/>
                <a:gd name="connsiteX86" fmla="*/ 193477 w 20358094"/>
                <a:gd name="connsiteY86" fmla="*/ 3623396 h 6052105"/>
                <a:gd name="connsiteX87" fmla="*/ 357601 w 20358094"/>
                <a:gd name="connsiteY87" fmla="*/ 3283427 h 6052105"/>
                <a:gd name="connsiteX88" fmla="*/ 1154770 w 20358094"/>
                <a:gd name="connsiteY88" fmla="*/ 2861396 h 6052105"/>
                <a:gd name="connsiteX89" fmla="*/ 2104339 w 20358094"/>
                <a:gd name="connsiteY89" fmla="*/ 2626934 h 6052105"/>
                <a:gd name="connsiteX90" fmla="*/ 3780739 w 20358094"/>
                <a:gd name="connsiteY90" fmla="*/ 2333857 h 6052105"/>
                <a:gd name="connsiteX91" fmla="*/ 5199231 w 20358094"/>
                <a:gd name="connsiteY91" fmla="*/ 2169734 h 6052105"/>
                <a:gd name="connsiteX92" fmla="*/ 5574370 w 20358094"/>
                <a:gd name="connsiteY92" fmla="*/ 2146288 h 6052105"/>
                <a:gd name="connsiteX93" fmla="*/ 5726770 w 20358094"/>
                <a:gd name="connsiteY93" fmla="*/ 2158011 h 6052105"/>
                <a:gd name="connsiteX94" fmla="*/ 5937785 w 20358094"/>
                <a:gd name="connsiteY94" fmla="*/ 2251796 h 6052105"/>
                <a:gd name="connsiteX95" fmla="*/ 5996401 w 20358094"/>
                <a:gd name="connsiteY95" fmla="*/ 2228350 h 6052105"/>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36308 w 20358094"/>
                <a:gd name="connsiteY50" fmla="*/ 4912934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51642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71477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7989108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888247 w 20358094"/>
                <a:gd name="connsiteY23" fmla="*/ 3060688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23417 w 20358094"/>
                <a:gd name="connsiteY22" fmla="*/ 2779335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35139 w 20358094"/>
                <a:gd name="connsiteY26" fmla="*/ 3635119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48994 w 20358094"/>
                <a:gd name="connsiteY26" fmla="*/ 3648974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96401 w 20358094"/>
                <a:gd name="connsiteY0" fmla="*/ 2228350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95" fmla="*/ 5996401 w 20358094"/>
                <a:gd name="connsiteY95" fmla="*/ 2228350 h 6042746"/>
                <a:gd name="connsiteX0" fmla="*/ 5937785 w 20358094"/>
                <a:gd name="connsiteY0" fmla="*/ 2251796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37785 w 20358094"/>
                <a:gd name="connsiteY94" fmla="*/ 2251796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2062 w 20358094"/>
                <a:gd name="connsiteY2" fmla="*/ 915365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700811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014 h 6042746"/>
                <a:gd name="connsiteX1" fmla="*/ 6899077 w 20358094"/>
                <a:gd name="connsiteY1" fmla="*/ 1680029 h 6042746"/>
                <a:gd name="connsiteX2" fmla="*/ 8218989 w 20358094"/>
                <a:gd name="connsiteY2" fmla="*/ 929220 h 6042746"/>
                <a:gd name="connsiteX3" fmla="*/ 9032677 w 20358094"/>
                <a:gd name="connsiteY3" fmla="*/ 528504 h 6042746"/>
                <a:gd name="connsiteX4" fmla="*/ 9079570 w 20358094"/>
                <a:gd name="connsiteY4" fmla="*/ 469888 h 6042746"/>
                <a:gd name="connsiteX5" fmla="*/ 9220247 w 20358094"/>
                <a:gd name="connsiteY5" fmla="*/ 411273 h 6042746"/>
                <a:gd name="connsiteX6" fmla="*/ 10005693 w 20358094"/>
                <a:gd name="connsiteY6" fmla="*/ 188534 h 6042746"/>
                <a:gd name="connsiteX7" fmla="*/ 11365570 w 20358094"/>
                <a:gd name="connsiteY7" fmla="*/ 47857 h 6042746"/>
                <a:gd name="connsiteX8" fmla="*/ 12948185 w 20358094"/>
                <a:gd name="connsiteY8" fmla="*/ 965 h 6042746"/>
                <a:gd name="connsiteX9" fmla="*/ 14565970 w 20358094"/>
                <a:gd name="connsiteY9" fmla="*/ 83027 h 6042746"/>
                <a:gd name="connsiteX10" fmla="*/ 16054801 w 20358094"/>
                <a:gd name="connsiteY10" fmla="*/ 165088 h 6042746"/>
                <a:gd name="connsiteX11" fmla="*/ 17496739 w 20358094"/>
                <a:gd name="connsiteY11" fmla="*/ 364381 h 6042746"/>
                <a:gd name="connsiteX12" fmla="*/ 18036001 w 20358094"/>
                <a:gd name="connsiteY12" fmla="*/ 469888 h 6042746"/>
                <a:gd name="connsiteX13" fmla="*/ 18352524 w 20358094"/>
                <a:gd name="connsiteY13" fmla="*/ 528504 h 6042746"/>
                <a:gd name="connsiteX14" fmla="*/ 18434585 w 20358094"/>
                <a:gd name="connsiteY14" fmla="*/ 575396 h 6042746"/>
                <a:gd name="connsiteX15" fmla="*/ 18469754 w 20358094"/>
                <a:gd name="connsiteY15" fmla="*/ 634011 h 6042746"/>
                <a:gd name="connsiteX16" fmla="*/ 18903508 w 20358094"/>
                <a:gd name="connsiteY16" fmla="*/ 1091211 h 6042746"/>
                <a:gd name="connsiteX17" fmla="*/ 19560001 w 20358094"/>
                <a:gd name="connsiteY17" fmla="*/ 1853211 h 6042746"/>
                <a:gd name="connsiteX18" fmla="*/ 19665508 w 20358094"/>
                <a:gd name="connsiteY18" fmla="*/ 1993888 h 6042746"/>
                <a:gd name="connsiteX19" fmla="*/ 19864801 w 20358094"/>
                <a:gd name="connsiteY19" fmla="*/ 2099396 h 6042746"/>
                <a:gd name="connsiteX20" fmla="*/ 19946862 w 20358094"/>
                <a:gd name="connsiteY20" fmla="*/ 2228350 h 6042746"/>
                <a:gd name="connsiteX21" fmla="*/ 19911693 w 20358094"/>
                <a:gd name="connsiteY21" fmla="*/ 2415919 h 6042746"/>
                <a:gd name="connsiteX22" fmla="*/ 19958052 w 20358094"/>
                <a:gd name="connsiteY22" fmla="*/ 2744698 h 6042746"/>
                <a:gd name="connsiteX23" fmla="*/ 19922884 w 20358094"/>
                <a:gd name="connsiteY23" fmla="*/ 3046833 h 6042746"/>
                <a:gd name="connsiteX24" fmla="*/ 19993754 w 20358094"/>
                <a:gd name="connsiteY24" fmla="*/ 3271704 h 6042746"/>
                <a:gd name="connsiteX25" fmla="*/ 19982031 w 20358094"/>
                <a:gd name="connsiteY25" fmla="*/ 3447550 h 6042746"/>
                <a:gd name="connsiteX26" fmla="*/ 19962849 w 20358094"/>
                <a:gd name="connsiteY26" fmla="*/ 3642047 h 6042746"/>
                <a:gd name="connsiteX27" fmla="*/ 20134431 w 20358094"/>
                <a:gd name="connsiteY27" fmla="*/ 3705457 h 6042746"/>
                <a:gd name="connsiteX28" fmla="*/ 20275108 w 20358094"/>
                <a:gd name="connsiteY28" fmla="*/ 3752350 h 6042746"/>
                <a:gd name="connsiteX29" fmla="*/ 20345447 w 20358094"/>
                <a:gd name="connsiteY29" fmla="*/ 3846134 h 6042746"/>
                <a:gd name="connsiteX30" fmla="*/ 20357170 w 20358094"/>
                <a:gd name="connsiteY30" fmla="*/ 4010257 h 6042746"/>
                <a:gd name="connsiteX31" fmla="*/ 20333725 w 20358094"/>
                <a:gd name="connsiteY31" fmla="*/ 4209550 h 6042746"/>
                <a:gd name="connsiteX32" fmla="*/ 20275108 w 20358094"/>
                <a:gd name="connsiteY32" fmla="*/ 4397119 h 6042746"/>
                <a:gd name="connsiteX33" fmla="*/ 20169601 w 20358094"/>
                <a:gd name="connsiteY33" fmla="*/ 4432288 h 6042746"/>
                <a:gd name="connsiteX34" fmla="*/ 20087539 w 20358094"/>
                <a:gd name="connsiteY34" fmla="*/ 4748811 h 6042746"/>
                <a:gd name="connsiteX35" fmla="*/ 20064093 w 20358094"/>
                <a:gd name="connsiteY35" fmla="*/ 5182565 h 6042746"/>
                <a:gd name="connsiteX36" fmla="*/ 20157877 w 20358094"/>
                <a:gd name="connsiteY36" fmla="*/ 5475642 h 6042746"/>
                <a:gd name="connsiteX37" fmla="*/ 20052370 w 20358094"/>
                <a:gd name="connsiteY37" fmla="*/ 5510811 h 6042746"/>
                <a:gd name="connsiteX38" fmla="*/ 19548277 w 20358094"/>
                <a:gd name="connsiteY38" fmla="*/ 5534257 h 6042746"/>
                <a:gd name="connsiteX39" fmla="*/ 19454493 w 20358094"/>
                <a:gd name="connsiteY39" fmla="*/ 5756996 h 6042746"/>
                <a:gd name="connsiteX40" fmla="*/ 19290370 w 20358094"/>
                <a:gd name="connsiteY40" fmla="*/ 5780442 h 6042746"/>
                <a:gd name="connsiteX41" fmla="*/ 18223570 w 20358094"/>
                <a:gd name="connsiteY41" fmla="*/ 5768719 h 6042746"/>
                <a:gd name="connsiteX42" fmla="*/ 18223570 w 20358094"/>
                <a:gd name="connsiteY42" fmla="*/ 5581150 h 6042746"/>
                <a:gd name="connsiteX43" fmla="*/ 18009890 w 20358094"/>
                <a:gd name="connsiteY43" fmla="*/ 4725365 h 6042746"/>
                <a:gd name="connsiteX44" fmla="*/ 17602247 w 20358094"/>
                <a:gd name="connsiteY44" fmla="*/ 4162657 h 6042746"/>
                <a:gd name="connsiteX45" fmla="*/ 17145047 w 20358094"/>
                <a:gd name="connsiteY45" fmla="*/ 3857857 h 6042746"/>
                <a:gd name="connsiteX46" fmla="*/ 16429939 w 20358094"/>
                <a:gd name="connsiteY46" fmla="*/ 3682011 h 6042746"/>
                <a:gd name="connsiteX47" fmla="*/ 15902401 w 20358094"/>
                <a:gd name="connsiteY47" fmla="*/ 3728904 h 6042746"/>
                <a:gd name="connsiteX48" fmla="*/ 15386585 w 20358094"/>
                <a:gd name="connsiteY48" fmla="*/ 3979351 h 6042746"/>
                <a:gd name="connsiteX49" fmla="*/ 14964554 w 20358094"/>
                <a:gd name="connsiteY49" fmla="*/ 4397119 h 6042746"/>
                <a:gd name="connsiteX50" fmla="*/ 14664550 w 20358094"/>
                <a:gd name="connsiteY50" fmla="*/ 4936380 h 6042746"/>
                <a:gd name="connsiteX51" fmla="*/ 14542524 w 20358094"/>
                <a:gd name="connsiteY51" fmla="*/ 5393581 h 6042746"/>
                <a:gd name="connsiteX52" fmla="*/ 14542524 w 20358094"/>
                <a:gd name="connsiteY52" fmla="*/ 5768719 h 6042746"/>
                <a:gd name="connsiteX53" fmla="*/ 14554247 w 20358094"/>
                <a:gd name="connsiteY53" fmla="*/ 5991457 h 6042746"/>
                <a:gd name="connsiteX54" fmla="*/ 14472185 w 20358094"/>
                <a:gd name="connsiteY54" fmla="*/ 6014904 h 6042746"/>
                <a:gd name="connsiteX55" fmla="*/ 14073601 w 20358094"/>
                <a:gd name="connsiteY55" fmla="*/ 6014904 h 6042746"/>
                <a:gd name="connsiteX56" fmla="*/ 11693816 w 20358094"/>
                <a:gd name="connsiteY56" fmla="*/ 6038350 h 6042746"/>
                <a:gd name="connsiteX57" fmla="*/ 7121816 w 20358094"/>
                <a:gd name="connsiteY57" fmla="*/ 6038350 h 6042746"/>
                <a:gd name="connsiteX58" fmla="*/ 5328185 w 20358094"/>
                <a:gd name="connsiteY58" fmla="*/ 6003181 h 6042746"/>
                <a:gd name="connsiteX59" fmla="*/ 5351631 w 20358094"/>
                <a:gd name="connsiteY59" fmla="*/ 5510811 h 6042746"/>
                <a:gd name="connsiteX60" fmla="*/ 5187508 w 20358094"/>
                <a:gd name="connsiteY60" fmla="*/ 4678473 h 6042746"/>
                <a:gd name="connsiteX61" fmla="*/ 4613077 w 20358094"/>
                <a:gd name="connsiteY61" fmla="*/ 3939920 h 6042746"/>
                <a:gd name="connsiteX62" fmla="*/ 3804185 w 20358094"/>
                <a:gd name="connsiteY62" fmla="*/ 3635119 h 6042746"/>
                <a:gd name="connsiteX63" fmla="*/ 3077355 w 20358094"/>
                <a:gd name="connsiteY63" fmla="*/ 3693734 h 6042746"/>
                <a:gd name="connsiteX64" fmla="*/ 2479477 w 20358094"/>
                <a:gd name="connsiteY64" fmla="*/ 3998534 h 6042746"/>
                <a:gd name="connsiteX65" fmla="*/ 1987108 w 20358094"/>
                <a:gd name="connsiteY65" fmla="*/ 4584688 h 6042746"/>
                <a:gd name="connsiteX66" fmla="*/ 1799539 w 20358094"/>
                <a:gd name="connsiteY66" fmla="*/ 5159119 h 6042746"/>
                <a:gd name="connsiteX67" fmla="*/ 1787816 w 20358094"/>
                <a:gd name="connsiteY67" fmla="*/ 5745273 h 6042746"/>
                <a:gd name="connsiteX68" fmla="*/ 1776093 w 20358094"/>
                <a:gd name="connsiteY68" fmla="*/ 5944565 h 6042746"/>
                <a:gd name="connsiteX69" fmla="*/ 1647139 w 20358094"/>
                <a:gd name="connsiteY69" fmla="*/ 5956288 h 6042746"/>
                <a:gd name="connsiteX70" fmla="*/ 709293 w 20358094"/>
                <a:gd name="connsiteY70" fmla="*/ 5932842 h 6042746"/>
                <a:gd name="connsiteX71" fmla="*/ 556893 w 20358094"/>
                <a:gd name="connsiteY71" fmla="*/ 5909396 h 6042746"/>
                <a:gd name="connsiteX72" fmla="*/ 474831 w 20358094"/>
                <a:gd name="connsiteY72" fmla="*/ 5803888 h 6042746"/>
                <a:gd name="connsiteX73" fmla="*/ 404493 w 20358094"/>
                <a:gd name="connsiteY73" fmla="*/ 5745273 h 6042746"/>
                <a:gd name="connsiteX74" fmla="*/ 263816 w 20358094"/>
                <a:gd name="connsiteY74" fmla="*/ 5581150 h 6042746"/>
                <a:gd name="connsiteX75" fmla="*/ 404493 w 20358094"/>
                <a:gd name="connsiteY75" fmla="*/ 5534257 h 6042746"/>
                <a:gd name="connsiteX76" fmla="*/ 334154 w 20358094"/>
                <a:gd name="connsiteY76" fmla="*/ 5428750 h 6042746"/>
                <a:gd name="connsiteX77" fmla="*/ 240370 w 20358094"/>
                <a:gd name="connsiteY77" fmla="*/ 5030165 h 6042746"/>
                <a:gd name="connsiteX78" fmla="*/ 205201 w 20358094"/>
                <a:gd name="connsiteY78" fmla="*/ 4983273 h 6042746"/>
                <a:gd name="connsiteX79" fmla="*/ 76247 w 20358094"/>
                <a:gd name="connsiteY79" fmla="*/ 4971550 h 6042746"/>
                <a:gd name="connsiteX80" fmla="*/ 52801 w 20358094"/>
                <a:gd name="connsiteY80" fmla="*/ 4842596 h 6042746"/>
                <a:gd name="connsiteX81" fmla="*/ 5908 w 20358094"/>
                <a:gd name="connsiteY81" fmla="*/ 4385396 h 6042746"/>
                <a:gd name="connsiteX82" fmla="*/ 17631 w 20358094"/>
                <a:gd name="connsiteY82" fmla="*/ 4315057 h 6042746"/>
                <a:gd name="connsiteX83" fmla="*/ 158308 w 20358094"/>
                <a:gd name="connsiteY83" fmla="*/ 4279888 h 6042746"/>
                <a:gd name="connsiteX84" fmla="*/ 240370 w 20358094"/>
                <a:gd name="connsiteY84" fmla="*/ 4150934 h 6042746"/>
                <a:gd name="connsiteX85" fmla="*/ 205201 w 20358094"/>
                <a:gd name="connsiteY85" fmla="*/ 3963365 h 6042746"/>
                <a:gd name="connsiteX86" fmla="*/ 193477 w 20358094"/>
                <a:gd name="connsiteY86" fmla="*/ 3623396 h 6042746"/>
                <a:gd name="connsiteX87" fmla="*/ 357601 w 20358094"/>
                <a:gd name="connsiteY87" fmla="*/ 3283427 h 6042746"/>
                <a:gd name="connsiteX88" fmla="*/ 1154770 w 20358094"/>
                <a:gd name="connsiteY88" fmla="*/ 2861396 h 6042746"/>
                <a:gd name="connsiteX89" fmla="*/ 2104339 w 20358094"/>
                <a:gd name="connsiteY89" fmla="*/ 2626934 h 6042746"/>
                <a:gd name="connsiteX90" fmla="*/ 3780739 w 20358094"/>
                <a:gd name="connsiteY90" fmla="*/ 2333857 h 6042746"/>
                <a:gd name="connsiteX91" fmla="*/ 5199231 w 20358094"/>
                <a:gd name="connsiteY91" fmla="*/ 2169734 h 6042746"/>
                <a:gd name="connsiteX92" fmla="*/ 5574370 w 20358094"/>
                <a:gd name="connsiteY92" fmla="*/ 2146288 h 6042746"/>
                <a:gd name="connsiteX93" fmla="*/ 5726770 w 20358094"/>
                <a:gd name="connsiteY93" fmla="*/ 2158011 h 6042746"/>
                <a:gd name="connsiteX94" fmla="*/ 5972421 w 20358094"/>
                <a:gd name="connsiteY94" fmla="*/ 2231014 h 6042746"/>
                <a:gd name="connsiteX0" fmla="*/ 5972421 w 20358094"/>
                <a:gd name="connsiteY0" fmla="*/ 2231144 h 6042876"/>
                <a:gd name="connsiteX1" fmla="*/ 6899077 w 20358094"/>
                <a:gd name="connsiteY1" fmla="*/ 1680159 h 6042876"/>
                <a:gd name="connsiteX2" fmla="*/ 8218989 w 20358094"/>
                <a:gd name="connsiteY2" fmla="*/ 929350 h 6042876"/>
                <a:gd name="connsiteX3" fmla="*/ 9032677 w 20358094"/>
                <a:gd name="connsiteY3" fmla="*/ 528634 h 6042876"/>
                <a:gd name="connsiteX4" fmla="*/ 9079570 w 20358094"/>
                <a:gd name="connsiteY4" fmla="*/ 470018 h 6042876"/>
                <a:gd name="connsiteX5" fmla="*/ 9220247 w 20358094"/>
                <a:gd name="connsiteY5" fmla="*/ 411403 h 6042876"/>
                <a:gd name="connsiteX6" fmla="*/ 10022627 w 20358094"/>
                <a:gd name="connsiteY6" fmla="*/ 209830 h 6042876"/>
                <a:gd name="connsiteX7" fmla="*/ 11365570 w 20358094"/>
                <a:gd name="connsiteY7" fmla="*/ 47987 h 6042876"/>
                <a:gd name="connsiteX8" fmla="*/ 12948185 w 20358094"/>
                <a:gd name="connsiteY8" fmla="*/ 1095 h 6042876"/>
                <a:gd name="connsiteX9" fmla="*/ 14565970 w 20358094"/>
                <a:gd name="connsiteY9" fmla="*/ 83157 h 6042876"/>
                <a:gd name="connsiteX10" fmla="*/ 16054801 w 20358094"/>
                <a:gd name="connsiteY10" fmla="*/ 165218 h 6042876"/>
                <a:gd name="connsiteX11" fmla="*/ 17496739 w 20358094"/>
                <a:gd name="connsiteY11" fmla="*/ 364511 h 6042876"/>
                <a:gd name="connsiteX12" fmla="*/ 18036001 w 20358094"/>
                <a:gd name="connsiteY12" fmla="*/ 470018 h 6042876"/>
                <a:gd name="connsiteX13" fmla="*/ 18352524 w 20358094"/>
                <a:gd name="connsiteY13" fmla="*/ 528634 h 6042876"/>
                <a:gd name="connsiteX14" fmla="*/ 18434585 w 20358094"/>
                <a:gd name="connsiteY14" fmla="*/ 575526 h 6042876"/>
                <a:gd name="connsiteX15" fmla="*/ 18469754 w 20358094"/>
                <a:gd name="connsiteY15" fmla="*/ 634141 h 6042876"/>
                <a:gd name="connsiteX16" fmla="*/ 18903508 w 20358094"/>
                <a:gd name="connsiteY16" fmla="*/ 1091341 h 6042876"/>
                <a:gd name="connsiteX17" fmla="*/ 19560001 w 20358094"/>
                <a:gd name="connsiteY17" fmla="*/ 1853341 h 6042876"/>
                <a:gd name="connsiteX18" fmla="*/ 19665508 w 20358094"/>
                <a:gd name="connsiteY18" fmla="*/ 1994018 h 6042876"/>
                <a:gd name="connsiteX19" fmla="*/ 19864801 w 20358094"/>
                <a:gd name="connsiteY19" fmla="*/ 2099526 h 6042876"/>
                <a:gd name="connsiteX20" fmla="*/ 19946862 w 20358094"/>
                <a:gd name="connsiteY20" fmla="*/ 2228480 h 6042876"/>
                <a:gd name="connsiteX21" fmla="*/ 19911693 w 20358094"/>
                <a:gd name="connsiteY21" fmla="*/ 2416049 h 6042876"/>
                <a:gd name="connsiteX22" fmla="*/ 19958052 w 20358094"/>
                <a:gd name="connsiteY22" fmla="*/ 2744828 h 6042876"/>
                <a:gd name="connsiteX23" fmla="*/ 19922884 w 20358094"/>
                <a:gd name="connsiteY23" fmla="*/ 3046963 h 6042876"/>
                <a:gd name="connsiteX24" fmla="*/ 19993754 w 20358094"/>
                <a:gd name="connsiteY24" fmla="*/ 3271834 h 6042876"/>
                <a:gd name="connsiteX25" fmla="*/ 19982031 w 20358094"/>
                <a:gd name="connsiteY25" fmla="*/ 3447680 h 6042876"/>
                <a:gd name="connsiteX26" fmla="*/ 19962849 w 20358094"/>
                <a:gd name="connsiteY26" fmla="*/ 3642177 h 6042876"/>
                <a:gd name="connsiteX27" fmla="*/ 20134431 w 20358094"/>
                <a:gd name="connsiteY27" fmla="*/ 3705587 h 6042876"/>
                <a:gd name="connsiteX28" fmla="*/ 20275108 w 20358094"/>
                <a:gd name="connsiteY28" fmla="*/ 3752480 h 6042876"/>
                <a:gd name="connsiteX29" fmla="*/ 20345447 w 20358094"/>
                <a:gd name="connsiteY29" fmla="*/ 3846264 h 6042876"/>
                <a:gd name="connsiteX30" fmla="*/ 20357170 w 20358094"/>
                <a:gd name="connsiteY30" fmla="*/ 4010387 h 6042876"/>
                <a:gd name="connsiteX31" fmla="*/ 20333725 w 20358094"/>
                <a:gd name="connsiteY31" fmla="*/ 4209680 h 6042876"/>
                <a:gd name="connsiteX32" fmla="*/ 20275108 w 20358094"/>
                <a:gd name="connsiteY32" fmla="*/ 4397249 h 6042876"/>
                <a:gd name="connsiteX33" fmla="*/ 20169601 w 20358094"/>
                <a:gd name="connsiteY33" fmla="*/ 4432418 h 6042876"/>
                <a:gd name="connsiteX34" fmla="*/ 20087539 w 20358094"/>
                <a:gd name="connsiteY34" fmla="*/ 4748941 h 6042876"/>
                <a:gd name="connsiteX35" fmla="*/ 20064093 w 20358094"/>
                <a:gd name="connsiteY35" fmla="*/ 5182695 h 6042876"/>
                <a:gd name="connsiteX36" fmla="*/ 20157877 w 20358094"/>
                <a:gd name="connsiteY36" fmla="*/ 5475772 h 6042876"/>
                <a:gd name="connsiteX37" fmla="*/ 20052370 w 20358094"/>
                <a:gd name="connsiteY37" fmla="*/ 5510941 h 6042876"/>
                <a:gd name="connsiteX38" fmla="*/ 19548277 w 20358094"/>
                <a:gd name="connsiteY38" fmla="*/ 5534387 h 6042876"/>
                <a:gd name="connsiteX39" fmla="*/ 19454493 w 20358094"/>
                <a:gd name="connsiteY39" fmla="*/ 5757126 h 6042876"/>
                <a:gd name="connsiteX40" fmla="*/ 19290370 w 20358094"/>
                <a:gd name="connsiteY40" fmla="*/ 5780572 h 6042876"/>
                <a:gd name="connsiteX41" fmla="*/ 18223570 w 20358094"/>
                <a:gd name="connsiteY41" fmla="*/ 5768849 h 6042876"/>
                <a:gd name="connsiteX42" fmla="*/ 18223570 w 20358094"/>
                <a:gd name="connsiteY42" fmla="*/ 5581280 h 6042876"/>
                <a:gd name="connsiteX43" fmla="*/ 18009890 w 20358094"/>
                <a:gd name="connsiteY43" fmla="*/ 4725495 h 6042876"/>
                <a:gd name="connsiteX44" fmla="*/ 17602247 w 20358094"/>
                <a:gd name="connsiteY44" fmla="*/ 4162787 h 6042876"/>
                <a:gd name="connsiteX45" fmla="*/ 17145047 w 20358094"/>
                <a:gd name="connsiteY45" fmla="*/ 3857987 h 6042876"/>
                <a:gd name="connsiteX46" fmla="*/ 16429939 w 20358094"/>
                <a:gd name="connsiteY46" fmla="*/ 3682141 h 6042876"/>
                <a:gd name="connsiteX47" fmla="*/ 15902401 w 20358094"/>
                <a:gd name="connsiteY47" fmla="*/ 3729034 h 6042876"/>
                <a:gd name="connsiteX48" fmla="*/ 15386585 w 20358094"/>
                <a:gd name="connsiteY48" fmla="*/ 3979481 h 6042876"/>
                <a:gd name="connsiteX49" fmla="*/ 14964554 w 20358094"/>
                <a:gd name="connsiteY49" fmla="*/ 4397249 h 6042876"/>
                <a:gd name="connsiteX50" fmla="*/ 14664550 w 20358094"/>
                <a:gd name="connsiteY50" fmla="*/ 4936510 h 6042876"/>
                <a:gd name="connsiteX51" fmla="*/ 14542524 w 20358094"/>
                <a:gd name="connsiteY51" fmla="*/ 5393711 h 6042876"/>
                <a:gd name="connsiteX52" fmla="*/ 14542524 w 20358094"/>
                <a:gd name="connsiteY52" fmla="*/ 5768849 h 6042876"/>
                <a:gd name="connsiteX53" fmla="*/ 14554247 w 20358094"/>
                <a:gd name="connsiteY53" fmla="*/ 5991587 h 6042876"/>
                <a:gd name="connsiteX54" fmla="*/ 14472185 w 20358094"/>
                <a:gd name="connsiteY54" fmla="*/ 6015034 h 6042876"/>
                <a:gd name="connsiteX55" fmla="*/ 14073601 w 20358094"/>
                <a:gd name="connsiteY55" fmla="*/ 6015034 h 6042876"/>
                <a:gd name="connsiteX56" fmla="*/ 11693816 w 20358094"/>
                <a:gd name="connsiteY56" fmla="*/ 6038480 h 6042876"/>
                <a:gd name="connsiteX57" fmla="*/ 7121816 w 20358094"/>
                <a:gd name="connsiteY57" fmla="*/ 6038480 h 6042876"/>
                <a:gd name="connsiteX58" fmla="*/ 5328185 w 20358094"/>
                <a:gd name="connsiteY58" fmla="*/ 6003311 h 6042876"/>
                <a:gd name="connsiteX59" fmla="*/ 5351631 w 20358094"/>
                <a:gd name="connsiteY59" fmla="*/ 5510941 h 6042876"/>
                <a:gd name="connsiteX60" fmla="*/ 5187508 w 20358094"/>
                <a:gd name="connsiteY60" fmla="*/ 4678603 h 6042876"/>
                <a:gd name="connsiteX61" fmla="*/ 4613077 w 20358094"/>
                <a:gd name="connsiteY61" fmla="*/ 3940050 h 6042876"/>
                <a:gd name="connsiteX62" fmla="*/ 3804185 w 20358094"/>
                <a:gd name="connsiteY62" fmla="*/ 3635249 h 6042876"/>
                <a:gd name="connsiteX63" fmla="*/ 3077355 w 20358094"/>
                <a:gd name="connsiteY63" fmla="*/ 3693864 h 6042876"/>
                <a:gd name="connsiteX64" fmla="*/ 2479477 w 20358094"/>
                <a:gd name="connsiteY64" fmla="*/ 3998664 h 6042876"/>
                <a:gd name="connsiteX65" fmla="*/ 1987108 w 20358094"/>
                <a:gd name="connsiteY65" fmla="*/ 4584818 h 6042876"/>
                <a:gd name="connsiteX66" fmla="*/ 1799539 w 20358094"/>
                <a:gd name="connsiteY66" fmla="*/ 5159249 h 6042876"/>
                <a:gd name="connsiteX67" fmla="*/ 1787816 w 20358094"/>
                <a:gd name="connsiteY67" fmla="*/ 5745403 h 6042876"/>
                <a:gd name="connsiteX68" fmla="*/ 1776093 w 20358094"/>
                <a:gd name="connsiteY68" fmla="*/ 5944695 h 6042876"/>
                <a:gd name="connsiteX69" fmla="*/ 1647139 w 20358094"/>
                <a:gd name="connsiteY69" fmla="*/ 5956418 h 6042876"/>
                <a:gd name="connsiteX70" fmla="*/ 709293 w 20358094"/>
                <a:gd name="connsiteY70" fmla="*/ 5932972 h 6042876"/>
                <a:gd name="connsiteX71" fmla="*/ 556893 w 20358094"/>
                <a:gd name="connsiteY71" fmla="*/ 5909526 h 6042876"/>
                <a:gd name="connsiteX72" fmla="*/ 474831 w 20358094"/>
                <a:gd name="connsiteY72" fmla="*/ 5804018 h 6042876"/>
                <a:gd name="connsiteX73" fmla="*/ 404493 w 20358094"/>
                <a:gd name="connsiteY73" fmla="*/ 5745403 h 6042876"/>
                <a:gd name="connsiteX74" fmla="*/ 263816 w 20358094"/>
                <a:gd name="connsiteY74" fmla="*/ 5581280 h 6042876"/>
                <a:gd name="connsiteX75" fmla="*/ 404493 w 20358094"/>
                <a:gd name="connsiteY75" fmla="*/ 5534387 h 6042876"/>
                <a:gd name="connsiteX76" fmla="*/ 334154 w 20358094"/>
                <a:gd name="connsiteY76" fmla="*/ 5428880 h 6042876"/>
                <a:gd name="connsiteX77" fmla="*/ 240370 w 20358094"/>
                <a:gd name="connsiteY77" fmla="*/ 5030295 h 6042876"/>
                <a:gd name="connsiteX78" fmla="*/ 205201 w 20358094"/>
                <a:gd name="connsiteY78" fmla="*/ 4983403 h 6042876"/>
                <a:gd name="connsiteX79" fmla="*/ 76247 w 20358094"/>
                <a:gd name="connsiteY79" fmla="*/ 4971680 h 6042876"/>
                <a:gd name="connsiteX80" fmla="*/ 52801 w 20358094"/>
                <a:gd name="connsiteY80" fmla="*/ 4842726 h 6042876"/>
                <a:gd name="connsiteX81" fmla="*/ 5908 w 20358094"/>
                <a:gd name="connsiteY81" fmla="*/ 4385526 h 6042876"/>
                <a:gd name="connsiteX82" fmla="*/ 17631 w 20358094"/>
                <a:gd name="connsiteY82" fmla="*/ 4315187 h 6042876"/>
                <a:gd name="connsiteX83" fmla="*/ 158308 w 20358094"/>
                <a:gd name="connsiteY83" fmla="*/ 4280018 h 6042876"/>
                <a:gd name="connsiteX84" fmla="*/ 240370 w 20358094"/>
                <a:gd name="connsiteY84" fmla="*/ 4151064 h 6042876"/>
                <a:gd name="connsiteX85" fmla="*/ 205201 w 20358094"/>
                <a:gd name="connsiteY85" fmla="*/ 3963495 h 6042876"/>
                <a:gd name="connsiteX86" fmla="*/ 193477 w 20358094"/>
                <a:gd name="connsiteY86" fmla="*/ 3623526 h 6042876"/>
                <a:gd name="connsiteX87" fmla="*/ 357601 w 20358094"/>
                <a:gd name="connsiteY87" fmla="*/ 3283557 h 6042876"/>
                <a:gd name="connsiteX88" fmla="*/ 1154770 w 20358094"/>
                <a:gd name="connsiteY88" fmla="*/ 2861526 h 6042876"/>
                <a:gd name="connsiteX89" fmla="*/ 2104339 w 20358094"/>
                <a:gd name="connsiteY89" fmla="*/ 2627064 h 6042876"/>
                <a:gd name="connsiteX90" fmla="*/ 3780739 w 20358094"/>
                <a:gd name="connsiteY90" fmla="*/ 2333987 h 6042876"/>
                <a:gd name="connsiteX91" fmla="*/ 5199231 w 20358094"/>
                <a:gd name="connsiteY91" fmla="*/ 2169864 h 6042876"/>
                <a:gd name="connsiteX92" fmla="*/ 5574370 w 20358094"/>
                <a:gd name="connsiteY92" fmla="*/ 2146418 h 6042876"/>
                <a:gd name="connsiteX93" fmla="*/ 5726770 w 20358094"/>
                <a:gd name="connsiteY93" fmla="*/ 2158141 h 6042876"/>
                <a:gd name="connsiteX94" fmla="*/ 5972421 w 20358094"/>
                <a:gd name="connsiteY94" fmla="*/ 2231144 h 6042876"/>
                <a:gd name="connsiteX0" fmla="*/ 5972421 w 20358094"/>
                <a:gd name="connsiteY0" fmla="*/ 2219181 h 6030913"/>
                <a:gd name="connsiteX1" fmla="*/ 6899077 w 20358094"/>
                <a:gd name="connsiteY1" fmla="*/ 1668196 h 6030913"/>
                <a:gd name="connsiteX2" fmla="*/ 8218989 w 20358094"/>
                <a:gd name="connsiteY2" fmla="*/ 917387 h 6030913"/>
                <a:gd name="connsiteX3" fmla="*/ 9032677 w 20358094"/>
                <a:gd name="connsiteY3" fmla="*/ 516671 h 6030913"/>
                <a:gd name="connsiteX4" fmla="*/ 9079570 w 20358094"/>
                <a:gd name="connsiteY4" fmla="*/ 458055 h 6030913"/>
                <a:gd name="connsiteX5" fmla="*/ 9220247 w 20358094"/>
                <a:gd name="connsiteY5" fmla="*/ 399440 h 6030913"/>
                <a:gd name="connsiteX6" fmla="*/ 10022627 w 20358094"/>
                <a:gd name="connsiteY6" fmla="*/ 197867 h 6030913"/>
                <a:gd name="connsiteX7" fmla="*/ 11365570 w 20358094"/>
                <a:gd name="connsiteY7" fmla="*/ 36024 h 6030913"/>
                <a:gd name="connsiteX8" fmla="*/ 12943952 w 20358094"/>
                <a:gd name="connsiteY8" fmla="*/ 1832 h 6030913"/>
                <a:gd name="connsiteX9" fmla="*/ 14565970 w 20358094"/>
                <a:gd name="connsiteY9" fmla="*/ 71194 h 6030913"/>
                <a:gd name="connsiteX10" fmla="*/ 16054801 w 20358094"/>
                <a:gd name="connsiteY10" fmla="*/ 153255 h 6030913"/>
                <a:gd name="connsiteX11" fmla="*/ 17496739 w 20358094"/>
                <a:gd name="connsiteY11" fmla="*/ 352548 h 6030913"/>
                <a:gd name="connsiteX12" fmla="*/ 18036001 w 20358094"/>
                <a:gd name="connsiteY12" fmla="*/ 458055 h 6030913"/>
                <a:gd name="connsiteX13" fmla="*/ 18352524 w 20358094"/>
                <a:gd name="connsiteY13" fmla="*/ 516671 h 6030913"/>
                <a:gd name="connsiteX14" fmla="*/ 18434585 w 20358094"/>
                <a:gd name="connsiteY14" fmla="*/ 563563 h 6030913"/>
                <a:gd name="connsiteX15" fmla="*/ 18469754 w 20358094"/>
                <a:gd name="connsiteY15" fmla="*/ 622178 h 6030913"/>
                <a:gd name="connsiteX16" fmla="*/ 18903508 w 20358094"/>
                <a:gd name="connsiteY16" fmla="*/ 1079378 h 6030913"/>
                <a:gd name="connsiteX17" fmla="*/ 19560001 w 20358094"/>
                <a:gd name="connsiteY17" fmla="*/ 1841378 h 6030913"/>
                <a:gd name="connsiteX18" fmla="*/ 19665508 w 20358094"/>
                <a:gd name="connsiteY18" fmla="*/ 1982055 h 6030913"/>
                <a:gd name="connsiteX19" fmla="*/ 19864801 w 20358094"/>
                <a:gd name="connsiteY19" fmla="*/ 2087563 h 6030913"/>
                <a:gd name="connsiteX20" fmla="*/ 19946862 w 20358094"/>
                <a:gd name="connsiteY20" fmla="*/ 2216517 h 6030913"/>
                <a:gd name="connsiteX21" fmla="*/ 19911693 w 20358094"/>
                <a:gd name="connsiteY21" fmla="*/ 2404086 h 6030913"/>
                <a:gd name="connsiteX22" fmla="*/ 19958052 w 20358094"/>
                <a:gd name="connsiteY22" fmla="*/ 2732865 h 6030913"/>
                <a:gd name="connsiteX23" fmla="*/ 19922884 w 20358094"/>
                <a:gd name="connsiteY23" fmla="*/ 3035000 h 6030913"/>
                <a:gd name="connsiteX24" fmla="*/ 19993754 w 20358094"/>
                <a:gd name="connsiteY24" fmla="*/ 3259871 h 6030913"/>
                <a:gd name="connsiteX25" fmla="*/ 19982031 w 20358094"/>
                <a:gd name="connsiteY25" fmla="*/ 3435717 h 6030913"/>
                <a:gd name="connsiteX26" fmla="*/ 19962849 w 20358094"/>
                <a:gd name="connsiteY26" fmla="*/ 3630214 h 6030913"/>
                <a:gd name="connsiteX27" fmla="*/ 20134431 w 20358094"/>
                <a:gd name="connsiteY27" fmla="*/ 3693624 h 6030913"/>
                <a:gd name="connsiteX28" fmla="*/ 20275108 w 20358094"/>
                <a:gd name="connsiteY28" fmla="*/ 3740517 h 6030913"/>
                <a:gd name="connsiteX29" fmla="*/ 20345447 w 20358094"/>
                <a:gd name="connsiteY29" fmla="*/ 3834301 h 6030913"/>
                <a:gd name="connsiteX30" fmla="*/ 20357170 w 20358094"/>
                <a:gd name="connsiteY30" fmla="*/ 3998424 h 6030913"/>
                <a:gd name="connsiteX31" fmla="*/ 20333725 w 20358094"/>
                <a:gd name="connsiteY31" fmla="*/ 4197717 h 6030913"/>
                <a:gd name="connsiteX32" fmla="*/ 20275108 w 20358094"/>
                <a:gd name="connsiteY32" fmla="*/ 4385286 h 6030913"/>
                <a:gd name="connsiteX33" fmla="*/ 20169601 w 20358094"/>
                <a:gd name="connsiteY33" fmla="*/ 4420455 h 6030913"/>
                <a:gd name="connsiteX34" fmla="*/ 20087539 w 20358094"/>
                <a:gd name="connsiteY34" fmla="*/ 4736978 h 6030913"/>
                <a:gd name="connsiteX35" fmla="*/ 20064093 w 20358094"/>
                <a:gd name="connsiteY35" fmla="*/ 5170732 h 6030913"/>
                <a:gd name="connsiteX36" fmla="*/ 20157877 w 20358094"/>
                <a:gd name="connsiteY36" fmla="*/ 5463809 h 6030913"/>
                <a:gd name="connsiteX37" fmla="*/ 20052370 w 20358094"/>
                <a:gd name="connsiteY37" fmla="*/ 5498978 h 6030913"/>
                <a:gd name="connsiteX38" fmla="*/ 19548277 w 20358094"/>
                <a:gd name="connsiteY38" fmla="*/ 5522424 h 6030913"/>
                <a:gd name="connsiteX39" fmla="*/ 19454493 w 20358094"/>
                <a:gd name="connsiteY39" fmla="*/ 5745163 h 6030913"/>
                <a:gd name="connsiteX40" fmla="*/ 19290370 w 20358094"/>
                <a:gd name="connsiteY40" fmla="*/ 5768609 h 6030913"/>
                <a:gd name="connsiteX41" fmla="*/ 18223570 w 20358094"/>
                <a:gd name="connsiteY41" fmla="*/ 5756886 h 6030913"/>
                <a:gd name="connsiteX42" fmla="*/ 18223570 w 20358094"/>
                <a:gd name="connsiteY42" fmla="*/ 5569317 h 6030913"/>
                <a:gd name="connsiteX43" fmla="*/ 18009890 w 20358094"/>
                <a:gd name="connsiteY43" fmla="*/ 4713532 h 6030913"/>
                <a:gd name="connsiteX44" fmla="*/ 17602247 w 20358094"/>
                <a:gd name="connsiteY44" fmla="*/ 4150824 h 6030913"/>
                <a:gd name="connsiteX45" fmla="*/ 17145047 w 20358094"/>
                <a:gd name="connsiteY45" fmla="*/ 3846024 h 6030913"/>
                <a:gd name="connsiteX46" fmla="*/ 16429939 w 20358094"/>
                <a:gd name="connsiteY46" fmla="*/ 3670178 h 6030913"/>
                <a:gd name="connsiteX47" fmla="*/ 15902401 w 20358094"/>
                <a:gd name="connsiteY47" fmla="*/ 3717071 h 6030913"/>
                <a:gd name="connsiteX48" fmla="*/ 15386585 w 20358094"/>
                <a:gd name="connsiteY48" fmla="*/ 3967518 h 6030913"/>
                <a:gd name="connsiteX49" fmla="*/ 14964554 w 20358094"/>
                <a:gd name="connsiteY49" fmla="*/ 4385286 h 6030913"/>
                <a:gd name="connsiteX50" fmla="*/ 14664550 w 20358094"/>
                <a:gd name="connsiteY50" fmla="*/ 4924547 h 6030913"/>
                <a:gd name="connsiteX51" fmla="*/ 14542524 w 20358094"/>
                <a:gd name="connsiteY51" fmla="*/ 5381748 h 6030913"/>
                <a:gd name="connsiteX52" fmla="*/ 14542524 w 20358094"/>
                <a:gd name="connsiteY52" fmla="*/ 5756886 h 6030913"/>
                <a:gd name="connsiteX53" fmla="*/ 14554247 w 20358094"/>
                <a:gd name="connsiteY53" fmla="*/ 5979624 h 6030913"/>
                <a:gd name="connsiteX54" fmla="*/ 14472185 w 20358094"/>
                <a:gd name="connsiteY54" fmla="*/ 6003071 h 6030913"/>
                <a:gd name="connsiteX55" fmla="*/ 14073601 w 20358094"/>
                <a:gd name="connsiteY55" fmla="*/ 6003071 h 6030913"/>
                <a:gd name="connsiteX56" fmla="*/ 11693816 w 20358094"/>
                <a:gd name="connsiteY56" fmla="*/ 6026517 h 6030913"/>
                <a:gd name="connsiteX57" fmla="*/ 7121816 w 20358094"/>
                <a:gd name="connsiteY57" fmla="*/ 6026517 h 6030913"/>
                <a:gd name="connsiteX58" fmla="*/ 5328185 w 20358094"/>
                <a:gd name="connsiteY58" fmla="*/ 5991348 h 6030913"/>
                <a:gd name="connsiteX59" fmla="*/ 5351631 w 20358094"/>
                <a:gd name="connsiteY59" fmla="*/ 5498978 h 6030913"/>
                <a:gd name="connsiteX60" fmla="*/ 5187508 w 20358094"/>
                <a:gd name="connsiteY60" fmla="*/ 4666640 h 6030913"/>
                <a:gd name="connsiteX61" fmla="*/ 4613077 w 20358094"/>
                <a:gd name="connsiteY61" fmla="*/ 3928087 h 6030913"/>
                <a:gd name="connsiteX62" fmla="*/ 3804185 w 20358094"/>
                <a:gd name="connsiteY62" fmla="*/ 3623286 h 6030913"/>
                <a:gd name="connsiteX63" fmla="*/ 3077355 w 20358094"/>
                <a:gd name="connsiteY63" fmla="*/ 3681901 h 6030913"/>
                <a:gd name="connsiteX64" fmla="*/ 2479477 w 20358094"/>
                <a:gd name="connsiteY64" fmla="*/ 3986701 h 6030913"/>
                <a:gd name="connsiteX65" fmla="*/ 1987108 w 20358094"/>
                <a:gd name="connsiteY65" fmla="*/ 4572855 h 6030913"/>
                <a:gd name="connsiteX66" fmla="*/ 1799539 w 20358094"/>
                <a:gd name="connsiteY66" fmla="*/ 5147286 h 6030913"/>
                <a:gd name="connsiteX67" fmla="*/ 1787816 w 20358094"/>
                <a:gd name="connsiteY67" fmla="*/ 5733440 h 6030913"/>
                <a:gd name="connsiteX68" fmla="*/ 1776093 w 20358094"/>
                <a:gd name="connsiteY68" fmla="*/ 5932732 h 6030913"/>
                <a:gd name="connsiteX69" fmla="*/ 1647139 w 20358094"/>
                <a:gd name="connsiteY69" fmla="*/ 5944455 h 6030913"/>
                <a:gd name="connsiteX70" fmla="*/ 709293 w 20358094"/>
                <a:gd name="connsiteY70" fmla="*/ 5921009 h 6030913"/>
                <a:gd name="connsiteX71" fmla="*/ 556893 w 20358094"/>
                <a:gd name="connsiteY71" fmla="*/ 5897563 h 6030913"/>
                <a:gd name="connsiteX72" fmla="*/ 474831 w 20358094"/>
                <a:gd name="connsiteY72" fmla="*/ 5792055 h 6030913"/>
                <a:gd name="connsiteX73" fmla="*/ 404493 w 20358094"/>
                <a:gd name="connsiteY73" fmla="*/ 5733440 h 6030913"/>
                <a:gd name="connsiteX74" fmla="*/ 263816 w 20358094"/>
                <a:gd name="connsiteY74" fmla="*/ 5569317 h 6030913"/>
                <a:gd name="connsiteX75" fmla="*/ 404493 w 20358094"/>
                <a:gd name="connsiteY75" fmla="*/ 5522424 h 6030913"/>
                <a:gd name="connsiteX76" fmla="*/ 334154 w 20358094"/>
                <a:gd name="connsiteY76" fmla="*/ 5416917 h 6030913"/>
                <a:gd name="connsiteX77" fmla="*/ 240370 w 20358094"/>
                <a:gd name="connsiteY77" fmla="*/ 5018332 h 6030913"/>
                <a:gd name="connsiteX78" fmla="*/ 205201 w 20358094"/>
                <a:gd name="connsiteY78" fmla="*/ 4971440 h 6030913"/>
                <a:gd name="connsiteX79" fmla="*/ 76247 w 20358094"/>
                <a:gd name="connsiteY79" fmla="*/ 4959717 h 6030913"/>
                <a:gd name="connsiteX80" fmla="*/ 52801 w 20358094"/>
                <a:gd name="connsiteY80" fmla="*/ 4830763 h 6030913"/>
                <a:gd name="connsiteX81" fmla="*/ 5908 w 20358094"/>
                <a:gd name="connsiteY81" fmla="*/ 4373563 h 6030913"/>
                <a:gd name="connsiteX82" fmla="*/ 17631 w 20358094"/>
                <a:gd name="connsiteY82" fmla="*/ 4303224 h 6030913"/>
                <a:gd name="connsiteX83" fmla="*/ 158308 w 20358094"/>
                <a:gd name="connsiteY83" fmla="*/ 4268055 h 6030913"/>
                <a:gd name="connsiteX84" fmla="*/ 240370 w 20358094"/>
                <a:gd name="connsiteY84" fmla="*/ 4139101 h 6030913"/>
                <a:gd name="connsiteX85" fmla="*/ 205201 w 20358094"/>
                <a:gd name="connsiteY85" fmla="*/ 3951532 h 6030913"/>
                <a:gd name="connsiteX86" fmla="*/ 193477 w 20358094"/>
                <a:gd name="connsiteY86" fmla="*/ 3611563 h 6030913"/>
                <a:gd name="connsiteX87" fmla="*/ 357601 w 20358094"/>
                <a:gd name="connsiteY87" fmla="*/ 3271594 h 6030913"/>
                <a:gd name="connsiteX88" fmla="*/ 1154770 w 20358094"/>
                <a:gd name="connsiteY88" fmla="*/ 2849563 h 6030913"/>
                <a:gd name="connsiteX89" fmla="*/ 2104339 w 20358094"/>
                <a:gd name="connsiteY89" fmla="*/ 2615101 h 6030913"/>
                <a:gd name="connsiteX90" fmla="*/ 3780739 w 20358094"/>
                <a:gd name="connsiteY90" fmla="*/ 2322024 h 6030913"/>
                <a:gd name="connsiteX91" fmla="*/ 5199231 w 20358094"/>
                <a:gd name="connsiteY91" fmla="*/ 2157901 h 6030913"/>
                <a:gd name="connsiteX92" fmla="*/ 5574370 w 20358094"/>
                <a:gd name="connsiteY92" fmla="*/ 2134455 h 6030913"/>
                <a:gd name="connsiteX93" fmla="*/ 5726770 w 20358094"/>
                <a:gd name="connsiteY93" fmla="*/ 2146178 h 6030913"/>
                <a:gd name="connsiteX94" fmla="*/ 5972421 w 20358094"/>
                <a:gd name="connsiteY94" fmla="*/ 2219181 h 603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0358094" h="6030913">
                  <a:moveTo>
                    <a:pt x="5972421" y="2219181"/>
                  </a:moveTo>
                  <a:cubicBezTo>
                    <a:pt x="6043114" y="2181081"/>
                    <a:pt x="6524649" y="1885162"/>
                    <a:pt x="6899077" y="1668196"/>
                  </a:cubicBezTo>
                  <a:cubicBezTo>
                    <a:pt x="7273505" y="1451230"/>
                    <a:pt x="7863389" y="1109308"/>
                    <a:pt x="8218989" y="917387"/>
                  </a:cubicBezTo>
                  <a:cubicBezTo>
                    <a:pt x="8574589" y="725466"/>
                    <a:pt x="8889247" y="593226"/>
                    <a:pt x="9032677" y="516671"/>
                  </a:cubicBezTo>
                  <a:cubicBezTo>
                    <a:pt x="9176107" y="440116"/>
                    <a:pt x="9048308" y="477593"/>
                    <a:pt x="9079570" y="458055"/>
                  </a:cubicBezTo>
                  <a:cubicBezTo>
                    <a:pt x="9110832" y="438516"/>
                    <a:pt x="9063071" y="442805"/>
                    <a:pt x="9220247" y="399440"/>
                  </a:cubicBezTo>
                  <a:cubicBezTo>
                    <a:pt x="9377423" y="356075"/>
                    <a:pt x="9665073" y="258436"/>
                    <a:pt x="10022627" y="197867"/>
                  </a:cubicBezTo>
                  <a:cubicBezTo>
                    <a:pt x="10380181" y="137298"/>
                    <a:pt x="10878683" y="68696"/>
                    <a:pt x="11365570" y="36024"/>
                  </a:cubicBezTo>
                  <a:cubicBezTo>
                    <a:pt x="11852457" y="3352"/>
                    <a:pt x="12410552" y="-4030"/>
                    <a:pt x="12943952" y="1832"/>
                  </a:cubicBezTo>
                  <a:cubicBezTo>
                    <a:pt x="13477352" y="7694"/>
                    <a:pt x="14047495" y="45957"/>
                    <a:pt x="14565970" y="71194"/>
                  </a:cubicBezTo>
                  <a:cubicBezTo>
                    <a:pt x="15084445" y="96431"/>
                    <a:pt x="15566340" y="106363"/>
                    <a:pt x="16054801" y="153255"/>
                  </a:cubicBezTo>
                  <a:cubicBezTo>
                    <a:pt x="16543262" y="200147"/>
                    <a:pt x="17166539" y="301748"/>
                    <a:pt x="17496739" y="352548"/>
                  </a:cubicBezTo>
                  <a:cubicBezTo>
                    <a:pt x="17826939" y="403348"/>
                    <a:pt x="17893370" y="430701"/>
                    <a:pt x="18036001" y="458055"/>
                  </a:cubicBezTo>
                  <a:cubicBezTo>
                    <a:pt x="18178632" y="485409"/>
                    <a:pt x="18286093" y="499086"/>
                    <a:pt x="18352524" y="516671"/>
                  </a:cubicBezTo>
                  <a:cubicBezTo>
                    <a:pt x="18418955" y="534256"/>
                    <a:pt x="18415047" y="545978"/>
                    <a:pt x="18434585" y="563563"/>
                  </a:cubicBezTo>
                  <a:cubicBezTo>
                    <a:pt x="18454123" y="581147"/>
                    <a:pt x="18391600" y="536209"/>
                    <a:pt x="18469754" y="622178"/>
                  </a:cubicBezTo>
                  <a:cubicBezTo>
                    <a:pt x="18547908" y="708147"/>
                    <a:pt x="18721800" y="876178"/>
                    <a:pt x="18903508" y="1079378"/>
                  </a:cubicBezTo>
                  <a:cubicBezTo>
                    <a:pt x="19085216" y="1282578"/>
                    <a:pt x="19433001" y="1690932"/>
                    <a:pt x="19560001" y="1841378"/>
                  </a:cubicBezTo>
                  <a:cubicBezTo>
                    <a:pt x="19687001" y="1991824"/>
                    <a:pt x="19614708" y="1941024"/>
                    <a:pt x="19665508" y="1982055"/>
                  </a:cubicBezTo>
                  <a:cubicBezTo>
                    <a:pt x="19716308" y="2023086"/>
                    <a:pt x="19817909" y="2048486"/>
                    <a:pt x="19864801" y="2087563"/>
                  </a:cubicBezTo>
                  <a:cubicBezTo>
                    <a:pt x="19911693" y="2126640"/>
                    <a:pt x="19939047" y="2163763"/>
                    <a:pt x="19946862" y="2216517"/>
                  </a:cubicBezTo>
                  <a:cubicBezTo>
                    <a:pt x="19954677" y="2269271"/>
                    <a:pt x="19909828" y="2318028"/>
                    <a:pt x="19911693" y="2404086"/>
                  </a:cubicBezTo>
                  <a:cubicBezTo>
                    <a:pt x="19913558" y="2490144"/>
                    <a:pt x="19956187" y="2627713"/>
                    <a:pt x="19958052" y="2732865"/>
                  </a:cubicBezTo>
                  <a:cubicBezTo>
                    <a:pt x="19959917" y="2838017"/>
                    <a:pt x="19916934" y="2947166"/>
                    <a:pt x="19922884" y="3035000"/>
                  </a:cubicBezTo>
                  <a:cubicBezTo>
                    <a:pt x="19928834" y="3122834"/>
                    <a:pt x="19983896" y="3193085"/>
                    <a:pt x="19993754" y="3259871"/>
                  </a:cubicBezTo>
                  <a:cubicBezTo>
                    <a:pt x="20003612" y="3326657"/>
                    <a:pt x="19987182" y="3373993"/>
                    <a:pt x="19982031" y="3435717"/>
                  </a:cubicBezTo>
                  <a:cubicBezTo>
                    <a:pt x="19976880" y="3497441"/>
                    <a:pt x="19965157" y="3587230"/>
                    <a:pt x="19962849" y="3630214"/>
                  </a:cubicBezTo>
                  <a:cubicBezTo>
                    <a:pt x="19960541" y="3673198"/>
                    <a:pt x="20082388" y="3675240"/>
                    <a:pt x="20134431" y="3693624"/>
                  </a:cubicBezTo>
                  <a:cubicBezTo>
                    <a:pt x="20186474" y="3712008"/>
                    <a:pt x="20239939" y="3717071"/>
                    <a:pt x="20275108" y="3740517"/>
                  </a:cubicBezTo>
                  <a:cubicBezTo>
                    <a:pt x="20310277" y="3763963"/>
                    <a:pt x="20331770" y="3791317"/>
                    <a:pt x="20345447" y="3834301"/>
                  </a:cubicBezTo>
                  <a:cubicBezTo>
                    <a:pt x="20359124" y="3877285"/>
                    <a:pt x="20359124" y="3937855"/>
                    <a:pt x="20357170" y="3998424"/>
                  </a:cubicBezTo>
                  <a:cubicBezTo>
                    <a:pt x="20355216" y="4058993"/>
                    <a:pt x="20347402" y="4133240"/>
                    <a:pt x="20333725" y="4197717"/>
                  </a:cubicBezTo>
                  <a:cubicBezTo>
                    <a:pt x="20320048" y="4262194"/>
                    <a:pt x="20302462" y="4348163"/>
                    <a:pt x="20275108" y="4385286"/>
                  </a:cubicBezTo>
                  <a:cubicBezTo>
                    <a:pt x="20247754" y="4422409"/>
                    <a:pt x="20200863" y="4361840"/>
                    <a:pt x="20169601" y="4420455"/>
                  </a:cubicBezTo>
                  <a:cubicBezTo>
                    <a:pt x="20138340" y="4479070"/>
                    <a:pt x="20091271" y="4653496"/>
                    <a:pt x="20087539" y="4736978"/>
                  </a:cubicBezTo>
                  <a:cubicBezTo>
                    <a:pt x="20083807" y="4820460"/>
                    <a:pt x="20093933" y="5063448"/>
                    <a:pt x="20064093" y="5170732"/>
                  </a:cubicBezTo>
                  <a:cubicBezTo>
                    <a:pt x="20034253" y="5278016"/>
                    <a:pt x="20159831" y="5409101"/>
                    <a:pt x="20157877" y="5463809"/>
                  </a:cubicBezTo>
                  <a:cubicBezTo>
                    <a:pt x="20155923" y="5518517"/>
                    <a:pt x="20153970" y="5489209"/>
                    <a:pt x="20052370" y="5498978"/>
                  </a:cubicBezTo>
                  <a:cubicBezTo>
                    <a:pt x="19950770" y="5508747"/>
                    <a:pt x="19647923" y="5481393"/>
                    <a:pt x="19548277" y="5522424"/>
                  </a:cubicBezTo>
                  <a:cubicBezTo>
                    <a:pt x="19448631" y="5563455"/>
                    <a:pt x="19497477" y="5704132"/>
                    <a:pt x="19454493" y="5745163"/>
                  </a:cubicBezTo>
                  <a:cubicBezTo>
                    <a:pt x="19411509" y="5786194"/>
                    <a:pt x="19290370" y="5768609"/>
                    <a:pt x="19290370" y="5768609"/>
                  </a:cubicBezTo>
                  <a:cubicBezTo>
                    <a:pt x="19085216" y="5770563"/>
                    <a:pt x="18401370" y="5790101"/>
                    <a:pt x="18223570" y="5756886"/>
                  </a:cubicBezTo>
                  <a:cubicBezTo>
                    <a:pt x="18045770" y="5723671"/>
                    <a:pt x="18238402" y="5777846"/>
                    <a:pt x="18223570" y="5569317"/>
                  </a:cubicBezTo>
                  <a:cubicBezTo>
                    <a:pt x="18208738" y="5360788"/>
                    <a:pt x="18113444" y="4949948"/>
                    <a:pt x="18009890" y="4713532"/>
                  </a:cubicBezTo>
                  <a:cubicBezTo>
                    <a:pt x="17906336" y="4477117"/>
                    <a:pt x="17746387" y="4295409"/>
                    <a:pt x="17602247" y="4150824"/>
                  </a:cubicBezTo>
                  <a:cubicBezTo>
                    <a:pt x="17458107" y="4006239"/>
                    <a:pt x="17326578" y="3933059"/>
                    <a:pt x="17145047" y="3846024"/>
                  </a:cubicBezTo>
                  <a:cubicBezTo>
                    <a:pt x="16963516" y="3758989"/>
                    <a:pt x="16637047" y="3670889"/>
                    <a:pt x="16429939" y="3670178"/>
                  </a:cubicBezTo>
                  <a:cubicBezTo>
                    <a:pt x="16222831" y="3669467"/>
                    <a:pt x="16076293" y="3667514"/>
                    <a:pt x="15902401" y="3717071"/>
                  </a:cubicBezTo>
                  <a:cubicBezTo>
                    <a:pt x="15728509" y="3766628"/>
                    <a:pt x="15542893" y="3856149"/>
                    <a:pt x="15386585" y="3967518"/>
                  </a:cubicBezTo>
                  <a:cubicBezTo>
                    <a:pt x="15230277" y="4078887"/>
                    <a:pt x="15084893" y="4225781"/>
                    <a:pt x="14964554" y="4385286"/>
                  </a:cubicBezTo>
                  <a:cubicBezTo>
                    <a:pt x="14844215" y="4544791"/>
                    <a:pt x="14727961" y="4744615"/>
                    <a:pt x="14664550" y="4924547"/>
                  </a:cubicBezTo>
                  <a:cubicBezTo>
                    <a:pt x="14601139" y="5104479"/>
                    <a:pt x="14562862" y="5243025"/>
                    <a:pt x="14542524" y="5381748"/>
                  </a:cubicBezTo>
                  <a:cubicBezTo>
                    <a:pt x="14522186" y="5520471"/>
                    <a:pt x="14540570" y="5657240"/>
                    <a:pt x="14542524" y="5756886"/>
                  </a:cubicBezTo>
                  <a:cubicBezTo>
                    <a:pt x="14544478" y="5856532"/>
                    <a:pt x="14565970" y="5938593"/>
                    <a:pt x="14554247" y="5979624"/>
                  </a:cubicBezTo>
                  <a:cubicBezTo>
                    <a:pt x="14542524" y="6020655"/>
                    <a:pt x="14552293" y="5999163"/>
                    <a:pt x="14472185" y="6003071"/>
                  </a:cubicBezTo>
                  <a:cubicBezTo>
                    <a:pt x="14392077" y="6006979"/>
                    <a:pt x="14073601" y="6003071"/>
                    <a:pt x="14073601" y="6003071"/>
                  </a:cubicBezTo>
                  <a:lnTo>
                    <a:pt x="11693816" y="6026517"/>
                  </a:lnTo>
                  <a:lnTo>
                    <a:pt x="7121816" y="6026517"/>
                  </a:lnTo>
                  <a:cubicBezTo>
                    <a:pt x="6060878" y="6020656"/>
                    <a:pt x="5318416" y="6055825"/>
                    <a:pt x="5328185" y="5991348"/>
                  </a:cubicBezTo>
                  <a:cubicBezTo>
                    <a:pt x="5337954" y="5926871"/>
                    <a:pt x="5363353" y="5708040"/>
                    <a:pt x="5351631" y="5498978"/>
                  </a:cubicBezTo>
                  <a:cubicBezTo>
                    <a:pt x="5339909" y="5289916"/>
                    <a:pt x="5310600" y="4928455"/>
                    <a:pt x="5187508" y="4666640"/>
                  </a:cubicBezTo>
                  <a:cubicBezTo>
                    <a:pt x="5064416" y="4404825"/>
                    <a:pt x="4843631" y="4101979"/>
                    <a:pt x="4613077" y="3928087"/>
                  </a:cubicBezTo>
                  <a:cubicBezTo>
                    <a:pt x="4382523" y="3754195"/>
                    <a:pt x="4060139" y="3664317"/>
                    <a:pt x="3804185" y="3623286"/>
                  </a:cubicBezTo>
                  <a:cubicBezTo>
                    <a:pt x="3548231" y="3582255"/>
                    <a:pt x="3298140" y="3621332"/>
                    <a:pt x="3077355" y="3681901"/>
                  </a:cubicBezTo>
                  <a:cubicBezTo>
                    <a:pt x="2856570" y="3742470"/>
                    <a:pt x="2661185" y="3838209"/>
                    <a:pt x="2479477" y="3986701"/>
                  </a:cubicBezTo>
                  <a:cubicBezTo>
                    <a:pt x="2297769" y="4135193"/>
                    <a:pt x="2100431" y="4379424"/>
                    <a:pt x="1987108" y="4572855"/>
                  </a:cubicBezTo>
                  <a:cubicBezTo>
                    <a:pt x="1873785" y="4766286"/>
                    <a:pt x="1832754" y="4953855"/>
                    <a:pt x="1799539" y="5147286"/>
                  </a:cubicBezTo>
                  <a:cubicBezTo>
                    <a:pt x="1766324" y="5340717"/>
                    <a:pt x="1791724" y="5602532"/>
                    <a:pt x="1787816" y="5733440"/>
                  </a:cubicBezTo>
                  <a:cubicBezTo>
                    <a:pt x="1783908" y="5864348"/>
                    <a:pt x="1799539" y="5897563"/>
                    <a:pt x="1776093" y="5932732"/>
                  </a:cubicBezTo>
                  <a:cubicBezTo>
                    <a:pt x="1752647" y="5967901"/>
                    <a:pt x="1824939" y="5946409"/>
                    <a:pt x="1647139" y="5944455"/>
                  </a:cubicBezTo>
                  <a:cubicBezTo>
                    <a:pt x="1469339" y="5942501"/>
                    <a:pt x="891001" y="5928824"/>
                    <a:pt x="709293" y="5921009"/>
                  </a:cubicBezTo>
                  <a:cubicBezTo>
                    <a:pt x="527585" y="5913194"/>
                    <a:pt x="595970" y="5919055"/>
                    <a:pt x="556893" y="5897563"/>
                  </a:cubicBezTo>
                  <a:cubicBezTo>
                    <a:pt x="517816" y="5876071"/>
                    <a:pt x="500231" y="5819409"/>
                    <a:pt x="474831" y="5792055"/>
                  </a:cubicBezTo>
                  <a:cubicBezTo>
                    <a:pt x="449431" y="5764701"/>
                    <a:pt x="439662" y="5770563"/>
                    <a:pt x="404493" y="5733440"/>
                  </a:cubicBezTo>
                  <a:cubicBezTo>
                    <a:pt x="369324" y="5696317"/>
                    <a:pt x="263816" y="5604486"/>
                    <a:pt x="263816" y="5569317"/>
                  </a:cubicBezTo>
                  <a:cubicBezTo>
                    <a:pt x="263816" y="5534148"/>
                    <a:pt x="392770" y="5547824"/>
                    <a:pt x="404493" y="5522424"/>
                  </a:cubicBezTo>
                  <a:cubicBezTo>
                    <a:pt x="416216" y="5497024"/>
                    <a:pt x="361508" y="5500932"/>
                    <a:pt x="334154" y="5416917"/>
                  </a:cubicBezTo>
                  <a:cubicBezTo>
                    <a:pt x="306800" y="5332902"/>
                    <a:pt x="240370" y="5018332"/>
                    <a:pt x="240370" y="5018332"/>
                  </a:cubicBezTo>
                  <a:cubicBezTo>
                    <a:pt x="218878" y="4944086"/>
                    <a:pt x="232555" y="4981209"/>
                    <a:pt x="205201" y="4971440"/>
                  </a:cubicBezTo>
                  <a:cubicBezTo>
                    <a:pt x="177847" y="4961671"/>
                    <a:pt x="101647" y="4983163"/>
                    <a:pt x="76247" y="4959717"/>
                  </a:cubicBezTo>
                  <a:cubicBezTo>
                    <a:pt x="50847" y="4936271"/>
                    <a:pt x="64524" y="4928455"/>
                    <a:pt x="52801" y="4830763"/>
                  </a:cubicBezTo>
                  <a:cubicBezTo>
                    <a:pt x="41078" y="4733071"/>
                    <a:pt x="11770" y="4461486"/>
                    <a:pt x="5908" y="4373563"/>
                  </a:cubicBezTo>
                  <a:cubicBezTo>
                    <a:pt x="46" y="4285640"/>
                    <a:pt x="-7769" y="4320809"/>
                    <a:pt x="17631" y="4303224"/>
                  </a:cubicBezTo>
                  <a:cubicBezTo>
                    <a:pt x="43031" y="4285639"/>
                    <a:pt x="121185" y="4295409"/>
                    <a:pt x="158308" y="4268055"/>
                  </a:cubicBezTo>
                  <a:cubicBezTo>
                    <a:pt x="195431" y="4240701"/>
                    <a:pt x="232555" y="4191855"/>
                    <a:pt x="240370" y="4139101"/>
                  </a:cubicBezTo>
                  <a:cubicBezTo>
                    <a:pt x="248185" y="4086347"/>
                    <a:pt x="213016" y="4039455"/>
                    <a:pt x="205201" y="3951532"/>
                  </a:cubicBezTo>
                  <a:cubicBezTo>
                    <a:pt x="197385" y="3863609"/>
                    <a:pt x="168077" y="3724886"/>
                    <a:pt x="193477" y="3611563"/>
                  </a:cubicBezTo>
                  <a:cubicBezTo>
                    <a:pt x="218877" y="3498240"/>
                    <a:pt x="197386" y="3398594"/>
                    <a:pt x="357601" y="3271594"/>
                  </a:cubicBezTo>
                  <a:cubicBezTo>
                    <a:pt x="517816" y="3144594"/>
                    <a:pt x="863647" y="2958978"/>
                    <a:pt x="1154770" y="2849563"/>
                  </a:cubicBezTo>
                  <a:cubicBezTo>
                    <a:pt x="1445893" y="2740148"/>
                    <a:pt x="1666678" y="2703024"/>
                    <a:pt x="2104339" y="2615101"/>
                  </a:cubicBezTo>
                  <a:cubicBezTo>
                    <a:pt x="2542000" y="2527178"/>
                    <a:pt x="3264924" y="2398224"/>
                    <a:pt x="3780739" y="2322024"/>
                  </a:cubicBezTo>
                  <a:cubicBezTo>
                    <a:pt x="4296554" y="2245824"/>
                    <a:pt x="4900293" y="2189162"/>
                    <a:pt x="5199231" y="2157901"/>
                  </a:cubicBezTo>
                  <a:cubicBezTo>
                    <a:pt x="5498169" y="2126640"/>
                    <a:pt x="5486447" y="2136409"/>
                    <a:pt x="5574370" y="2134455"/>
                  </a:cubicBezTo>
                  <a:cubicBezTo>
                    <a:pt x="5662293" y="2132501"/>
                    <a:pt x="5666201" y="2128593"/>
                    <a:pt x="5726770" y="2146178"/>
                  </a:cubicBezTo>
                  <a:cubicBezTo>
                    <a:pt x="5787339" y="2163763"/>
                    <a:pt x="5901728" y="2257281"/>
                    <a:pt x="5972421" y="2219181"/>
                  </a:cubicBezTo>
                  <a:close/>
                </a:path>
              </a:pathLst>
            </a:custGeom>
            <a:solidFill>
              <a:schemeClr val="accent1">
                <a:lumMod val="20000"/>
                <a:lumOff val="80000"/>
              </a:schemeClr>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74" name="Oval 273"/>
            <p:cNvSpPr/>
            <p:nvPr/>
          </p:nvSpPr>
          <p:spPr bwMode="auto">
            <a:xfrm>
              <a:off x="3097263" y="2850856"/>
              <a:ext cx="1033331" cy="1033330"/>
            </a:xfrm>
            <a:prstGeom prst="ellipse">
              <a:avLst/>
            </a:prstGeom>
            <a:solidFill>
              <a:schemeClr val="bg1"/>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75" name="Oval 274"/>
            <p:cNvSpPr/>
            <p:nvPr/>
          </p:nvSpPr>
          <p:spPr bwMode="auto">
            <a:xfrm>
              <a:off x="7421535" y="2850856"/>
              <a:ext cx="1033331" cy="1033330"/>
            </a:xfrm>
            <a:prstGeom prst="ellipse">
              <a:avLst/>
            </a:prstGeom>
            <a:solidFill>
              <a:schemeClr val="bg1"/>
            </a:solidFill>
            <a:ln w="19050"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276" name="Straight Connector 275"/>
            <p:cNvCxnSpPr/>
            <p:nvPr/>
          </p:nvCxnSpPr>
          <p:spPr>
            <a:xfrm flipV="1">
              <a:off x="3020769" y="3524787"/>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77" name="Straight Connector 276"/>
            <p:cNvCxnSpPr/>
            <p:nvPr/>
          </p:nvCxnSpPr>
          <p:spPr>
            <a:xfrm flipV="1">
              <a:off x="4110564" y="3524787"/>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78" name="Straight Connector 277"/>
            <p:cNvCxnSpPr/>
            <p:nvPr/>
          </p:nvCxnSpPr>
          <p:spPr>
            <a:xfrm flipV="1">
              <a:off x="8447117" y="3505005"/>
              <a:ext cx="110614" cy="0"/>
            </a:xfrm>
            <a:prstGeom prst="line">
              <a:avLst/>
            </a:prstGeom>
            <a:noFill/>
            <a:ln w="9525" cap="rnd" cmpd="sng" algn="ctr">
              <a:solidFill>
                <a:schemeClr val="bg1">
                  <a:lumMod val="50000"/>
                </a:schemeClr>
              </a:solidFill>
              <a:prstDash val="solid"/>
              <a:headEnd type="none"/>
              <a:tailEnd type="none"/>
            </a:ln>
            <a:effectLst/>
          </p:spPr>
        </p:cxnSp>
        <p:cxnSp>
          <p:nvCxnSpPr>
            <p:cNvPr id="279" name="Straight Connector 278"/>
            <p:cNvCxnSpPr/>
            <p:nvPr/>
          </p:nvCxnSpPr>
          <p:spPr>
            <a:xfrm flipV="1">
              <a:off x="7318255" y="3516874"/>
              <a:ext cx="111028" cy="4282"/>
            </a:xfrm>
            <a:prstGeom prst="line">
              <a:avLst/>
            </a:prstGeom>
            <a:noFill/>
            <a:ln w="9525" cap="rnd" cmpd="sng" algn="ctr">
              <a:solidFill>
                <a:schemeClr val="bg1">
                  <a:lumMod val="50000"/>
                </a:schemeClr>
              </a:solidFill>
              <a:prstDash val="solid"/>
              <a:headEnd type="none"/>
              <a:tailEnd type="none"/>
            </a:ln>
            <a:effectLst/>
          </p:spPr>
        </p:cxnSp>
        <p:sp>
          <p:nvSpPr>
            <p:cNvPr id="280" name="Freeform: Shape 279"/>
            <p:cNvSpPr/>
            <p:nvPr/>
          </p:nvSpPr>
          <p:spPr bwMode="auto">
            <a:xfrm>
              <a:off x="4224355" y="3283448"/>
              <a:ext cx="3117622" cy="119835"/>
            </a:xfrm>
            <a:custGeom>
              <a:avLst/>
              <a:gdLst>
                <a:gd name="connsiteX0" fmla="*/ 0 w 9237785"/>
                <a:gd name="connsiteY0" fmla="*/ 152400 h 366891"/>
                <a:gd name="connsiteX1" fmla="*/ 4525108 w 9237785"/>
                <a:gd name="connsiteY1" fmla="*/ 363416 h 366891"/>
                <a:gd name="connsiteX2" fmla="*/ 9237785 w 9237785"/>
                <a:gd name="connsiteY2" fmla="*/ 0 h 366891"/>
                <a:gd name="connsiteX0" fmla="*/ 0 w 9237785"/>
                <a:gd name="connsiteY0" fmla="*/ 152400 h 374275"/>
                <a:gd name="connsiteX1" fmla="*/ 4525108 w 9237785"/>
                <a:gd name="connsiteY1" fmla="*/ 363416 h 374275"/>
                <a:gd name="connsiteX2" fmla="*/ 9237785 w 9237785"/>
                <a:gd name="connsiteY2" fmla="*/ 0 h 374275"/>
                <a:gd name="connsiteX0" fmla="*/ 0 w 9237785"/>
                <a:gd name="connsiteY0" fmla="*/ 152400 h 389310"/>
                <a:gd name="connsiteX1" fmla="*/ 4525108 w 9237785"/>
                <a:gd name="connsiteY1" fmla="*/ 363416 h 389310"/>
                <a:gd name="connsiteX2" fmla="*/ 9237785 w 9237785"/>
                <a:gd name="connsiteY2" fmla="*/ 0 h 389310"/>
                <a:gd name="connsiteX0" fmla="*/ 0 w 9237785"/>
                <a:gd name="connsiteY0" fmla="*/ 152400 h 361897"/>
                <a:gd name="connsiteX1" fmla="*/ 4513385 w 9237785"/>
                <a:gd name="connsiteY1" fmla="*/ 328247 h 361897"/>
                <a:gd name="connsiteX2" fmla="*/ 9237785 w 9237785"/>
                <a:gd name="connsiteY2" fmla="*/ 0 h 361897"/>
                <a:gd name="connsiteX0" fmla="*/ 0 w 9237785"/>
                <a:gd name="connsiteY0" fmla="*/ 175846 h 355082"/>
                <a:gd name="connsiteX1" fmla="*/ 4513385 w 9237785"/>
                <a:gd name="connsiteY1" fmla="*/ 328247 h 355082"/>
                <a:gd name="connsiteX2" fmla="*/ 9237785 w 9237785"/>
                <a:gd name="connsiteY2" fmla="*/ 0 h 355082"/>
              </a:gdLst>
              <a:ahLst/>
              <a:cxnLst>
                <a:cxn ang="0">
                  <a:pos x="connsiteX0" y="connsiteY0"/>
                </a:cxn>
                <a:cxn ang="0">
                  <a:pos x="connsiteX1" y="connsiteY1"/>
                </a:cxn>
                <a:cxn ang="0">
                  <a:pos x="connsiteX2" y="connsiteY2"/>
                </a:cxn>
              </a:cxnLst>
              <a:rect l="l" t="t" r="r" b="b"/>
              <a:pathLst>
                <a:path w="9237785" h="355082">
                  <a:moveTo>
                    <a:pt x="0" y="175846"/>
                  </a:moveTo>
                  <a:cubicBezTo>
                    <a:pt x="1445846" y="411285"/>
                    <a:pt x="2973754" y="357555"/>
                    <a:pt x="4513385" y="328247"/>
                  </a:cubicBezTo>
                  <a:cubicBezTo>
                    <a:pt x="6053016" y="298939"/>
                    <a:pt x="7651262" y="169008"/>
                    <a:pt x="9237785"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81" name="Freeform: Shape 280"/>
            <p:cNvSpPr/>
            <p:nvPr/>
          </p:nvSpPr>
          <p:spPr bwMode="auto">
            <a:xfrm>
              <a:off x="5427700" y="2237027"/>
              <a:ext cx="1339388" cy="1086482"/>
            </a:xfrm>
            <a:custGeom>
              <a:avLst/>
              <a:gdLst>
                <a:gd name="connsiteX0" fmla="*/ 2757283 w 3969686"/>
                <a:gd name="connsiteY0" fmla="*/ 2967952 h 3226746"/>
                <a:gd name="connsiteX1" fmla="*/ 2978956 w 3969686"/>
                <a:gd name="connsiteY1" fmla="*/ 2386061 h 3226746"/>
                <a:gd name="connsiteX2" fmla="*/ 3269901 w 3969686"/>
                <a:gd name="connsiteY2" fmla="*/ 1630988 h 3226746"/>
                <a:gd name="connsiteX3" fmla="*/ 3740956 w 3969686"/>
                <a:gd name="connsiteY3" fmla="*/ 785861 h 3226746"/>
                <a:gd name="connsiteX4" fmla="*/ 3782519 w 3969686"/>
                <a:gd name="connsiteY4" fmla="*/ 688879 h 3226746"/>
                <a:gd name="connsiteX5" fmla="*/ 3837937 w 3969686"/>
                <a:gd name="connsiteY5" fmla="*/ 640388 h 3226746"/>
                <a:gd name="connsiteX6" fmla="*/ 3921065 w 3969686"/>
                <a:gd name="connsiteY6" fmla="*/ 404861 h 3226746"/>
                <a:gd name="connsiteX7" fmla="*/ 3969556 w 3969686"/>
                <a:gd name="connsiteY7" fmla="*/ 93133 h 3226746"/>
                <a:gd name="connsiteX8" fmla="*/ 3907210 w 3969686"/>
                <a:gd name="connsiteY8" fmla="*/ 51570 h 3226746"/>
                <a:gd name="connsiteX9" fmla="*/ 3692465 w 3969686"/>
                <a:gd name="connsiteY9" fmla="*/ 3079 h 3226746"/>
                <a:gd name="connsiteX10" fmla="*/ 3477719 w 3969686"/>
                <a:gd name="connsiteY10" fmla="*/ 16933 h 3226746"/>
                <a:gd name="connsiteX11" fmla="*/ 3401519 w 3969686"/>
                <a:gd name="connsiteY11" fmla="*/ 113915 h 3226746"/>
                <a:gd name="connsiteX12" fmla="*/ 3304537 w 3969686"/>
                <a:gd name="connsiteY12" fmla="*/ 377152 h 3226746"/>
                <a:gd name="connsiteX13" fmla="*/ 3159065 w 3969686"/>
                <a:gd name="connsiteY13" fmla="*/ 605752 h 3226746"/>
                <a:gd name="connsiteX14" fmla="*/ 2888901 w 3969686"/>
                <a:gd name="connsiteY14" fmla="*/ 979824 h 3226746"/>
                <a:gd name="connsiteX15" fmla="*/ 2549465 w 3969686"/>
                <a:gd name="connsiteY15" fmla="*/ 1360824 h 3226746"/>
                <a:gd name="connsiteX16" fmla="*/ 2320865 w 3969686"/>
                <a:gd name="connsiteY16" fmla="*/ 1644842 h 3226746"/>
                <a:gd name="connsiteX17" fmla="*/ 2168465 w 3969686"/>
                <a:gd name="connsiteY17" fmla="*/ 2102042 h 3226746"/>
                <a:gd name="connsiteX18" fmla="*/ 2196174 w 3969686"/>
                <a:gd name="connsiteY18" fmla="*/ 2531533 h 3226746"/>
                <a:gd name="connsiteX19" fmla="*/ 2272374 w 3969686"/>
                <a:gd name="connsiteY19" fmla="*/ 2767061 h 3226746"/>
                <a:gd name="connsiteX20" fmla="*/ 2272374 w 3969686"/>
                <a:gd name="connsiteY20" fmla="*/ 2787842 h 3226746"/>
                <a:gd name="connsiteX21" fmla="*/ 2230810 w 3969686"/>
                <a:gd name="connsiteY21" fmla="*/ 2760133 h 3226746"/>
                <a:gd name="connsiteX22" fmla="*/ 1856737 w 3969686"/>
                <a:gd name="connsiteY22" fmla="*/ 2621588 h 3226746"/>
                <a:gd name="connsiteX23" fmla="*/ 1420319 w 3969686"/>
                <a:gd name="connsiteY23" fmla="*/ 2427624 h 3226746"/>
                <a:gd name="connsiteX24" fmla="*/ 1032392 w 3969686"/>
                <a:gd name="connsiteY24" fmla="*/ 2275224 h 3226746"/>
                <a:gd name="connsiteX25" fmla="*/ 727592 w 3969686"/>
                <a:gd name="connsiteY25" fmla="*/ 2219806 h 3226746"/>
                <a:gd name="connsiteX26" fmla="*/ 443574 w 3969686"/>
                <a:gd name="connsiteY26" fmla="*/ 2233661 h 3226746"/>
                <a:gd name="connsiteX27" fmla="*/ 249610 w 3969686"/>
                <a:gd name="connsiteY27" fmla="*/ 2302933 h 3226746"/>
                <a:gd name="connsiteX28" fmla="*/ 173410 w 3969686"/>
                <a:gd name="connsiteY28" fmla="*/ 2309861 h 3226746"/>
                <a:gd name="connsiteX29" fmla="*/ 83356 w 3969686"/>
                <a:gd name="connsiteY29" fmla="*/ 2302933 h 3226746"/>
                <a:gd name="connsiteX30" fmla="*/ 7156 w 3969686"/>
                <a:gd name="connsiteY30" fmla="*/ 2358352 h 3226746"/>
                <a:gd name="connsiteX31" fmla="*/ 7156 w 3969686"/>
                <a:gd name="connsiteY31" fmla="*/ 2573097 h 3226746"/>
                <a:gd name="connsiteX32" fmla="*/ 41792 w 3969686"/>
                <a:gd name="connsiteY32" fmla="*/ 2780915 h 3226746"/>
                <a:gd name="connsiteX33" fmla="*/ 48719 w 3969686"/>
                <a:gd name="connsiteY33" fmla="*/ 2850188 h 3226746"/>
                <a:gd name="connsiteX34" fmla="*/ 152628 w 3969686"/>
                <a:gd name="connsiteY34" fmla="*/ 2870970 h 3226746"/>
                <a:gd name="connsiteX35" fmla="*/ 803792 w 3969686"/>
                <a:gd name="connsiteY35" fmla="*/ 2954097 h 3226746"/>
                <a:gd name="connsiteX36" fmla="*/ 1822101 w 3969686"/>
                <a:gd name="connsiteY36" fmla="*/ 3099570 h 3226746"/>
                <a:gd name="connsiteX37" fmla="*/ 2376283 w 3969686"/>
                <a:gd name="connsiteY37" fmla="*/ 3189624 h 3226746"/>
                <a:gd name="connsiteX38" fmla="*/ 2701865 w 3969686"/>
                <a:gd name="connsiteY38" fmla="*/ 3224261 h 3226746"/>
                <a:gd name="connsiteX39" fmla="*/ 2743428 w 3969686"/>
                <a:gd name="connsiteY39" fmla="*/ 3127279 h 3226746"/>
                <a:gd name="connsiteX40" fmla="*/ 2757283 w 3969686"/>
                <a:gd name="connsiteY40" fmla="*/ 2967952 h 3226746"/>
                <a:gd name="connsiteX0" fmla="*/ 2756944 w 3969347"/>
                <a:gd name="connsiteY0" fmla="*/ 2967952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56944 w 3969347"/>
                <a:gd name="connsiteY40" fmla="*/ 2967952 h 3226746"/>
                <a:gd name="connsiteX0" fmla="*/ 2770799 w 3969347"/>
                <a:gd name="connsiteY0" fmla="*/ 2961024 h 3226746"/>
                <a:gd name="connsiteX1" fmla="*/ 2978617 w 3969347"/>
                <a:gd name="connsiteY1" fmla="*/ 2386061 h 3226746"/>
                <a:gd name="connsiteX2" fmla="*/ 3269562 w 3969347"/>
                <a:gd name="connsiteY2" fmla="*/ 1630988 h 3226746"/>
                <a:gd name="connsiteX3" fmla="*/ 3740617 w 3969347"/>
                <a:gd name="connsiteY3" fmla="*/ 785861 h 3226746"/>
                <a:gd name="connsiteX4" fmla="*/ 3782180 w 3969347"/>
                <a:gd name="connsiteY4" fmla="*/ 688879 h 3226746"/>
                <a:gd name="connsiteX5" fmla="*/ 3837598 w 3969347"/>
                <a:gd name="connsiteY5" fmla="*/ 640388 h 3226746"/>
                <a:gd name="connsiteX6" fmla="*/ 3920726 w 3969347"/>
                <a:gd name="connsiteY6" fmla="*/ 404861 h 3226746"/>
                <a:gd name="connsiteX7" fmla="*/ 3969217 w 3969347"/>
                <a:gd name="connsiteY7" fmla="*/ 93133 h 3226746"/>
                <a:gd name="connsiteX8" fmla="*/ 3906871 w 3969347"/>
                <a:gd name="connsiteY8" fmla="*/ 51570 h 3226746"/>
                <a:gd name="connsiteX9" fmla="*/ 3692126 w 3969347"/>
                <a:gd name="connsiteY9" fmla="*/ 3079 h 3226746"/>
                <a:gd name="connsiteX10" fmla="*/ 3477380 w 3969347"/>
                <a:gd name="connsiteY10" fmla="*/ 16933 h 3226746"/>
                <a:gd name="connsiteX11" fmla="*/ 3401180 w 3969347"/>
                <a:gd name="connsiteY11" fmla="*/ 113915 h 3226746"/>
                <a:gd name="connsiteX12" fmla="*/ 3304198 w 3969347"/>
                <a:gd name="connsiteY12" fmla="*/ 377152 h 3226746"/>
                <a:gd name="connsiteX13" fmla="*/ 3158726 w 3969347"/>
                <a:gd name="connsiteY13" fmla="*/ 605752 h 3226746"/>
                <a:gd name="connsiteX14" fmla="*/ 2888562 w 3969347"/>
                <a:gd name="connsiteY14" fmla="*/ 979824 h 3226746"/>
                <a:gd name="connsiteX15" fmla="*/ 2549126 w 3969347"/>
                <a:gd name="connsiteY15" fmla="*/ 1360824 h 3226746"/>
                <a:gd name="connsiteX16" fmla="*/ 2320526 w 3969347"/>
                <a:gd name="connsiteY16" fmla="*/ 1644842 h 3226746"/>
                <a:gd name="connsiteX17" fmla="*/ 2168126 w 3969347"/>
                <a:gd name="connsiteY17" fmla="*/ 2102042 h 3226746"/>
                <a:gd name="connsiteX18" fmla="*/ 2195835 w 3969347"/>
                <a:gd name="connsiteY18" fmla="*/ 2531533 h 3226746"/>
                <a:gd name="connsiteX19" fmla="*/ 2272035 w 3969347"/>
                <a:gd name="connsiteY19" fmla="*/ 2767061 h 3226746"/>
                <a:gd name="connsiteX20" fmla="*/ 2272035 w 3969347"/>
                <a:gd name="connsiteY20" fmla="*/ 2787842 h 3226746"/>
                <a:gd name="connsiteX21" fmla="*/ 2230471 w 3969347"/>
                <a:gd name="connsiteY21" fmla="*/ 2760133 h 3226746"/>
                <a:gd name="connsiteX22" fmla="*/ 1856398 w 3969347"/>
                <a:gd name="connsiteY22" fmla="*/ 2621588 h 3226746"/>
                <a:gd name="connsiteX23" fmla="*/ 1419980 w 3969347"/>
                <a:gd name="connsiteY23" fmla="*/ 2427624 h 3226746"/>
                <a:gd name="connsiteX24" fmla="*/ 1032053 w 3969347"/>
                <a:gd name="connsiteY24" fmla="*/ 2275224 h 3226746"/>
                <a:gd name="connsiteX25" fmla="*/ 727253 w 3969347"/>
                <a:gd name="connsiteY25" fmla="*/ 2219806 h 3226746"/>
                <a:gd name="connsiteX26" fmla="*/ 443235 w 3969347"/>
                <a:gd name="connsiteY26" fmla="*/ 2233661 h 3226746"/>
                <a:gd name="connsiteX27" fmla="*/ 249271 w 3969347"/>
                <a:gd name="connsiteY27" fmla="*/ 2302933 h 3226746"/>
                <a:gd name="connsiteX28" fmla="*/ 173071 w 3969347"/>
                <a:gd name="connsiteY28" fmla="*/ 2309861 h 3226746"/>
                <a:gd name="connsiteX29" fmla="*/ 83017 w 3969347"/>
                <a:gd name="connsiteY29" fmla="*/ 2302933 h 3226746"/>
                <a:gd name="connsiteX30" fmla="*/ 6817 w 3969347"/>
                <a:gd name="connsiteY30" fmla="*/ 2358352 h 3226746"/>
                <a:gd name="connsiteX31" fmla="*/ 6817 w 3969347"/>
                <a:gd name="connsiteY31" fmla="*/ 2573097 h 3226746"/>
                <a:gd name="connsiteX32" fmla="*/ 34525 w 3969347"/>
                <a:gd name="connsiteY32" fmla="*/ 2760134 h 3226746"/>
                <a:gd name="connsiteX33" fmla="*/ 48380 w 3969347"/>
                <a:gd name="connsiteY33" fmla="*/ 2850188 h 3226746"/>
                <a:gd name="connsiteX34" fmla="*/ 152289 w 3969347"/>
                <a:gd name="connsiteY34" fmla="*/ 2870970 h 3226746"/>
                <a:gd name="connsiteX35" fmla="*/ 803453 w 3969347"/>
                <a:gd name="connsiteY35" fmla="*/ 2954097 h 3226746"/>
                <a:gd name="connsiteX36" fmla="*/ 1821762 w 3969347"/>
                <a:gd name="connsiteY36" fmla="*/ 3099570 h 3226746"/>
                <a:gd name="connsiteX37" fmla="*/ 2375944 w 3969347"/>
                <a:gd name="connsiteY37" fmla="*/ 3189624 h 3226746"/>
                <a:gd name="connsiteX38" fmla="*/ 2701526 w 3969347"/>
                <a:gd name="connsiteY38" fmla="*/ 3224261 h 3226746"/>
                <a:gd name="connsiteX39" fmla="*/ 2743089 w 3969347"/>
                <a:gd name="connsiteY39" fmla="*/ 3127279 h 3226746"/>
                <a:gd name="connsiteX40" fmla="*/ 2770799 w 3969347"/>
                <a:gd name="connsiteY40" fmla="*/ 2961024 h 3226746"/>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88562 w 3969347"/>
                <a:gd name="connsiteY14" fmla="*/ 979824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304198 w 3969347"/>
                <a:gd name="connsiteY12" fmla="*/ 377152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799 w 3969347"/>
                <a:gd name="connsiteY0" fmla="*/ 2961024 h 3220325"/>
                <a:gd name="connsiteX1" fmla="*/ 2978617 w 3969347"/>
                <a:gd name="connsiteY1" fmla="*/ 2386061 h 3220325"/>
                <a:gd name="connsiteX2" fmla="*/ 3269562 w 3969347"/>
                <a:gd name="connsiteY2" fmla="*/ 1630988 h 3220325"/>
                <a:gd name="connsiteX3" fmla="*/ 3740617 w 3969347"/>
                <a:gd name="connsiteY3" fmla="*/ 785861 h 3220325"/>
                <a:gd name="connsiteX4" fmla="*/ 3782180 w 3969347"/>
                <a:gd name="connsiteY4" fmla="*/ 688879 h 3220325"/>
                <a:gd name="connsiteX5" fmla="*/ 3837598 w 3969347"/>
                <a:gd name="connsiteY5" fmla="*/ 640388 h 3220325"/>
                <a:gd name="connsiteX6" fmla="*/ 3920726 w 3969347"/>
                <a:gd name="connsiteY6" fmla="*/ 404861 h 3220325"/>
                <a:gd name="connsiteX7" fmla="*/ 3969217 w 3969347"/>
                <a:gd name="connsiteY7" fmla="*/ 93133 h 3220325"/>
                <a:gd name="connsiteX8" fmla="*/ 3906871 w 3969347"/>
                <a:gd name="connsiteY8" fmla="*/ 51570 h 3220325"/>
                <a:gd name="connsiteX9" fmla="*/ 3692126 w 3969347"/>
                <a:gd name="connsiteY9" fmla="*/ 3079 h 3220325"/>
                <a:gd name="connsiteX10" fmla="*/ 3477380 w 3969347"/>
                <a:gd name="connsiteY10" fmla="*/ 16933 h 3220325"/>
                <a:gd name="connsiteX11" fmla="*/ 3401180 w 3969347"/>
                <a:gd name="connsiteY11" fmla="*/ 113915 h 3220325"/>
                <a:gd name="connsiteX12" fmla="*/ 3290343 w 3969347"/>
                <a:gd name="connsiteY12" fmla="*/ 370225 h 3220325"/>
                <a:gd name="connsiteX13" fmla="*/ 3158726 w 3969347"/>
                <a:gd name="connsiteY13" fmla="*/ 605752 h 3220325"/>
                <a:gd name="connsiteX14" fmla="*/ 2867780 w 3969347"/>
                <a:gd name="connsiteY14" fmla="*/ 972897 h 3220325"/>
                <a:gd name="connsiteX15" fmla="*/ 2549126 w 3969347"/>
                <a:gd name="connsiteY15" fmla="*/ 1360824 h 3220325"/>
                <a:gd name="connsiteX16" fmla="*/ 2320526 w 3969347"/>
                <a:gd name="connsiteY16" fmla="*/ 1644842 h 3220325"/>
                <a:gd name="connsiteX17" fmla="*/ 2168126 w 3969347"/>
                <a:gd name="connsiteY17" fmla="*/ 2102042 h 3220325"/>
                <a:gd name="connsiteX18" fmla="*/ 2195835 w 3969347"/>
                <a:gd name="connsiteY18" fmla="*/ 2531533 h 3220325"/>
                <a:gd name="connsiteX19" fmla="*/ 2272035 w 3969347"/>
                <a:gd name="connsiteY19" fmla="*/ 2767061 h 3220325"/>
                <a:gd name="connsiteX20" fmla="*/ 2272035 w 3969347"/>
                <a:gd name="connsiteY20" fmla="*/ 2787842 h 3220325"/>
                <a:gd name="connsiteX21" fmla="*/ 2230471 w 3969347"/>
                <a:gd name="connsiteY21" fmla="*/ 2760133 h 3220325"/>
                <a:gd name="connsiteX22" fmla="*/ 1856398 w 3969347"/>
                <a:gd name="connsiteY22" fmla="*/ 2621588 h 3220325"/>
                <a:gd name="connsiteX23" fmla="*/ 1419980 w 3969347"/>
                <a:gd name="connsiteY23" fmla="*/ 2427624 h 3220325"/>
                <a:gd name="connsiteX24" fmla="*/ 1032053 w 3969347"/>
                <a:gd name="connsiteY24" fmla="*/ 2275224 h 3220325"/>
                <a:gd name="connsiteX25" fmla="*/ 727253 w 3969347"/>
                <a:gd name="connsiteY25" fmla="*/ 2219806 h 3220325"/>
                <a:gd name="connsiteX26" fmla="*/ 443235 w 3969347"/>
                <a:gd name="connsiteY26" fmla="*/ 2233661 h 3220325"/>
                <a:gd name="connsiteX27" fmla="*/ 249271 w 3969347"/>
                <a:gd name="connsiteY27" fmla="*/ 2302933 h 3220325"/>
                <a:gd name="connsiteX28" fmla="*/ 173071 w 3969347"/>
                <a:gd name="connsiteY28" fmla="*/ 2309861 h 3220325"/>
                <a:gd name="connsiteX29" fmla="*/ 83017 w 3969347"/>
                <a:gd name="connsiteY29" fmla="*/ 2302933 h 3220325"/>
                <a:gd name="connsiteX30" fmla="*/ 6817 w 3969347"/>
                <a:gd name="connsiteY30" fmla="*/ 2358352 h 3220325"/>
                <a:gd name="connsiteX31" fmla="*/ 6817 w 3969347"/>
                <a:gd name="connsiteY31" fmla="*/ 2573097 h 3220325"/>
                <a:gd name="connsiteX32" fmla="*/ 34525 w 3969347"/>
                <a:gd name="connsiteY32" fmla="*/ 2760134 h 3220325"/>
                <a:gd name="connsiteX33" fmla="*/ 48380 w 3969347"/>
                <a:gd name="connsiteY33" fmla="*/ 2850188 h 3220325"/>
                <a:gd name="connsiteX34" fmla="*/ 152289 w 3969347"/>
                <a:gd name="connsiteY34" fmla="*/ 2870970 h 3220325"/>
                <a:gd name="connsiteX35" fmla="*/ 803453 w 3969347"/>
                <a:gd name="connsiteY35" fmla="*/ 2954097 h 3220325"/>
                <a:gd name="connsiteX36" fmla="*/ 1821762 w 3969347"/>
                <a:gd name="connsiteY36" fmla="*/ 3099570 h 3220325"/>
                <a:gd name="connsiteX37" fmla="*/ 2375944 w 3969347"/>
                <a:gd name="connsiteY37" fmla="*/ 3189624 h 3220325"/>
                <a:gd name="connsiteX38" fmla="*/ 2680744 w 3969347"/>
                <a:gd name="connsiteY38" fmla="*/ 3217333 h 3220325"/>
                <a:gd name="connsiteX39" fmla="*/ 2743089 w 3969347"/>
                <a:gd name="connsiteY39" fmla="*/ 3127279 h 3220325"/>
                <a:gd name="connsiteX40" fmla="*/ 2770799 w 3969347"/>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42466 w 3968724"/>
                <a:gd name="connsiteY39" fmla="*/ 3127279 h 3220325"/>
                <a:gd name="connsiteX40" fmla="*/ 2770176 w 3968724"/>
                <a:gd name="connsiteY40" fmla="*/ 2961024 h 3220325"/>
                <a:gd name="connsiteX0" fmla="*/ 2770176 w 3968724"/>
                <a:gd name="connsiteY0" fmla="*/ 2961024 h 3220325"/>
                <a:gd name="connsiteX1" fmla="*/ 2977994 w 3968724"/>
                <a:gd name="connsiteY1" fmla="*/ 2386061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20325"/>
                <a:gd name="connsiteX1" fmla="*/ 2971067 w 3968724"/>
                <a:gd name="connsiteY1" fmla="*/ 2392988 h 3220325"/>
                <a:gd name="connsiteX2" fmla="*/ 3268939 w 3968724"/>
                <a:gd name="connsiteY2" fmla="*/ 1630988 h 3220325"/>
                <a:gd name="connsiteX3" fmla="*/ 3739994 w 3968724"/>
                <a:gd name="connsiteY3" fmla="*/ 785861 h 3220325"/>
                <a:gd name="connsiteX4" fmla="*/ 3781557 w 3968724"/>
                <a:gd name="connsiteY4" fmla="*/ 688879 h 3220325"/>
                <a:gd name="connsiteX5" fmla="*/ 3836975 w 3968724"/>
                <a:gd name="connsiteY5" fmla="*/ 640388 h 3220325"/>
                <a:gd name="connsiteX6" fmla="*/ 3920103 w 3968724"/>
                <a:gd name="connsiteY6" fmla="*/ 404861 h 3220325"/>
                <a:gd name="connsiteX7" fmla="*/ 3968594 w 3968724"/>
                <a:gd name="connsiteY7" fmla="*/ 93133 h 3220325"/>
                <a:gd name="connsiteX8" fmla="*/ 3906248 w 3968724"/>
                <a:gd name="connsiteY8" fmla="*/ 51570 h 3220325"/>
                <a:gd name="connsiteX9" fmla="*/ 3691503 w 3968724"/>
                <a:gd name="connsiteY9" fmla="*/ 3079 h 3220325"/>
                <a:gd name="connsiteX10" fmla="*/ 3476757 w 3968724"/>
                <a:gd name="connsiteY10" fmla="*/ 16933 h 3220325"/>
                <a:gd name="connsiteX11" fmla="*/ 3400557 w 3968724"/>
                <a:gd name="connsiteY11" fmla="*/ 113915 h 3220325"/>
                <a:gd name="connsiteX12" fmla="*/ 3289720 w 3968724"/>
                <a:gd name="connsiteY12" fmla="*/ 370225 h 3220325"/>
                <a:gd name="connsiteX13" fmla="*/ 3158103 w 3968724"/>
                <a:gd name="connsiteY13" fmla="*/ 605752 h 3220325"/>
                <a:gd name="connsiteX14" fmla="*/ 2867157 w 3968724"/>
                <a:gd name="connsiteY14" fmla="*/ 972897 h 3220325"/>
                <a:gd name="connsiteX15" fmla="*/ 2548503 w 3968724"/>
                <a:gd name="connsiteY15" fmla="*/ 1360824 h 3220325"/>
                <a:gd name="connsiteX16" fmla="*/ 2319903 w 3968724"/>
                <a:gd name="connsiteY16" fmla="*/ 1644842 h 3220325"/>
                <a:gd name="connsiteX17" fmla="*/ 2167503 w 3968724"/>
                <a:gd name="connsiteY17" fmla="*/ 2102042 h 3220325"/>
                <a:gd name="connsiteX18" fmla="*/ 2195212 w 3968724"/>
                <a:gd name="connsiteY18" fmla="*/ 2531533 h 3220325"/>
                <a:gd name="connsiteX19" fmla="*/ 2271412 w 3968724"/>
                <a:gd name="connsiteY19" fmla="*/ 2767061 h 3220325"/>
                <a:gd name="connsiteX20" fmla="*/ 2271412 w 3968724"/>
                <a:gd name="connsiteY20" fmla="*/ 2787842 h 3220325"/>
                <a:gd name="connsiteX21" fmla="*/ 2229848 w 3968724"/>
                <a:gd name="connsiteY21" fmla="*/ 2760133 h 3220325"/>
                <a:gd name="connsiteX22" fmla="*/ 1855775 w 3968724"/>
                <a:gd name="connsiteY22" fmla="*/ 2621588 h 3220325"/>
                <a:gd name="connsiteX23" fmla="*/ 1419357 w 3968724"/>
                <a:gd name="connsiteY23" fmla="*/ 2427624 h 3220325"/>
                <a:gd name="connsiteX24" fmla="*/ 1031430 w 3968724"/>
                <a:gd name="connsiteY24" fmla="*/ 2275224 h 3220325"/>
                <a:gd name="connsiteX25" fmla="*/ 726630 w 3968724"/>
                <a:gd name="connsiteY25" fmla="*/ 2219806 h 3220325"/>
                <a:gd name="connsiteX26" fmla="*/ 442612 w 3968724"/>
                <a:gd name="connsiteY26" fmla="*/ 2233661 h 3220325"/>
                <a:gd name="connsiteX27" fmla="*/ 248648 w 3968724"/>
                <a:gd name="connsiteY27" fmla="*/ 2302933 h 3220325"/>
                <a:gd name="connsiteX28" fmla="*/ 172448 w 3968724"/>
                <a:gd name="connsiteY28" fmla="*/ 2309861 h 3220325"/>
                <a:gd name="connsiteX29" fmla="*/ 82394 w 3968724"/>
                <a:gd name="connsiteY29" fmla="*/ 2302933 h 3220325"/>
                <a:gd name="connsiteX30" fmla="*/ 6194 w 3968724"/>
                <a:gd name="connsiteY30" fmla="*/ 2358352 h 3220325"/>
                <a:gd name="connsiteX31" fmla="*/ 6194 w 3968724"/>
                <a:gd name="connsiteY31" fmla="*/ 2573097 h 3220325"/>
                <a:gd name="connsiteX32" fmla="*/ 20047 w 3968724"/>
                <a:gd name="connsiteY32" fmla="*/ 2746279 h 3220325"/>
                <a:gd name="connsiteX33" fmla="*/ 47757 w 3968724"/>
                <a:gd name="connsiteY33" fmla="*/ 2850188 h 3220325"/>
                <a:gd name="connsiteX34" fmla="*/ 151666 w 3968724"/>
                <a:gd name="connsiteY34" fmla="*/ 2870970 h 3220325"/>
                <a:gd name="connsiteX35" fmla="*/ 802830 w 3968724"/>
                <a:gd name="connsiteY35" fmla="*/ 2954097 h 3220325"/>
                <a:gd name="connsiteX36" fmla="*/ 1821139 w 3968724"/>
                <a:gd name="connsiteY36" fmla="*/ 3099570 h 3220325"/>
                <a:gd name="connsiteX37" fmla="*/ 2375321 w 3968724"/>
                <a:gd name="connsiteY37" fmla="*/ 3189624 h 3220325"/>
                <a:gd name="connsiteX38" fmla="*/ 2680121 w 3968724"/>
                <a:gd name="connsiteY38" fmla="*/ 3217333 h 3220325"/>
                <a:gd name="connsiteX39" fmla="*/ 2770176 w 3968724"/>
                <a:gd name="connsiteY39" fmla="*/ 2961024 h 3220325"/>
                <a:gd name="connsiteX0" fmla="*/ 2770176 w 3968724"/>
                <a:gd name="connsiteY0" fmla="*/ 2961024 h 3218836"/>
                <a:gd name="connsiteX1" fmla="*/ 2971067 w 3968724"/>
                <a:gd name="connsiteY1" fmla="*/ 2392988 h 3218836"/>
                <a:gd name="connsiteX2" fmla="*/ 3268939 w 3968724"/>
                <a:gd name="connsiteY2" fmla="*/ 1630988 h 3218836"/>
                <a:gd name="connsiteX3" fmla="*/ 3739994 w 3968724"/>
                <a:gd name="connsiteY3" fmla="*/ 785861 h 3218836"/>
                <a:gd name="connsiteX4" fmla="*/ 3781557 w 3968724"/>
                <a:gd name="connsiteY4" fmla="*/ 688879 h 3218836"/>
                <a:gd name="connsiteX5" fmla="*/ 3836975 w 3968724"/>
                <a:gd name="connsiteY5" fmla="*/ 640388 h 3218836"/>
                <a:gd name="connsiteX6" fmla="*/ 3920103 w 3968724"/>
                <a:gd name="connsiteY6" fmla="*/ 404861 h 3218836"/>
                <a:gd name="connsiteX7" fmla="*/ 3968594 w 3968724"/>
                <a:gd name="connsiteY7" fmla="*/ 93133 h 3218836"/>
                <a:gd name="connsiteX8" fmla="*/ 3906248 w 3968724"/>
                <a:gd name="connsiteY8" fmla="*/ 51570 h 3218836"/>
                <a:gd name="connsiteX9" fmla="*/ 3691503 w 3968724"/>
                <a:gd name="connsiteY9" fmla="*/ 3079 h 3218836"/>
                <a:gd name="connsiteX10" fmla="*/ 3476757 w 3968724"/>
                <a:gd name="connsiteY10" fmla="*/ 16933 h 3218836"/>
                <a:gd name="connsiteX11" fmla="*/ 3400557 w 3968724"/>
                <a:gd name="connsiteY11" fmla="*/ 113915 h 3218836"/>
                <a:gd name="connsiteX12" fmla="*/ 3289720 w 3968724"/>
                <a:gd name="connsiteY12" fmla="*/ 370225 h 3218836"/>
                <a:gd name="connsiteX13" fmla="*/ 3158103 w 3968724"/>
                <a:gd name="connsiteY13" fmla="*/ 605752 h 3218836"/>
                <a:gd name="connsiteX14" fmla="*/ 2867157 w 3968724"/>
                <a:gd name="connsiteY14" fmla="*/ 972897 h 3218836"/>
                <a:gd name="connsiteX15" fmla="*/ 2548503 w 3968724"/>
                <a:gd name="connsiteY15" fmla="*/ 1360824 h 3218836"/>
                <a:gd name="connsiteX16" fmla="*/ 2319903 w 3968724"/>
                <a:gd name="connsiteY16" fmla="*/ 1644842 h 3218836"/>
                <a:gd name="connsiteX17" fmla="*/ 2167503 w 3968724"/>
                <a:gd name="connsiteY17" fmla="*/ 2102042 h 3218836"/>
                <a:gd name="connsiteX18" fmla="*/ 2195212 w 3968724"/>
                <a:gd name="connsiteY18" fmla="*/ 2531533 h 3218836"/>
                <a:gd name="connsiteX19" fmla="*/ 2271412 w 3968724"/>
                <a:gd name="connsiteY19" fmla="*/ 2767061 h 3218836"/>
                <a:gd name="connsiteX20" fmla="*/ 2271412 w 3968724"/>
                <a:gd name="connsiteY20" fmla="*/ 2787842 h 3218836"/>
                <a:gd name="connsiteX21" fmla="*/ 2229848 w 3968724"/>
                <a:gd name="connsiteY21" fmla="*/ 2760133 h 3218836"/>
                <a:gd name="connsiteX22" fmla="*/ 1855775 w 3968724"/>
                <a:gd name="connsiteY22" fmla="*/ 2621588 h 3218836"/>
                <a:gd name="connsiteX23" fmla="*/ 1419357 w 3968724"/>
                <a:gd name="connsiteY23" fmla="*/ 2427624 h 3218836"/>
                <a:gd name="connsiteX24" fmla="*/ 1031430 w 3968724"/>
                <a:gd name="connsiteY24" fmla="*/ 2275224 h 3218836"/>
                <a:gd name="connsiteX25" fmla="*/ 726630 w 3968724"/>
                <a:gd name="connsiteY25" fmla="*/ 2219806 h 3218836"/>
                <a:gd name="connsiteX26" fmla="*/ 442612 w 3968724"/>
                <a:gd name="connsiteY26" fmla="*/ 2233661 h 3218836"/>
                <a:gd name="connsiteX27" fmla="*/ 248648 w 3968724"/>
                <a:gd name="connsiteY27" fmla="*/ 2302933 h 3218836"/>
                <a:gd name="connsiteX28" fmla="*/ 172448 w 3968724"/>
                <a:gd name="connsiteY28" fmla="*/ 2309861 h 3218836"/>
                <a:gd name="connsiteX29" fmla="*/ 82394 w 3968724"/>
                <a:gd name="connsiteY29" fmla="*/ 2302933 h 3218836"/>
                <a:gd name="connsiteX30" fmla="*/ 6194 w 3968724"/>
                <a:gd name="connsiteY30" fmla="*/ 2358352 h 3218836"/>
                <a:gd name="connsiteX31" fmla="*/ 6194 w 3968724"/>
                <a:gd name="connsiteY31" fmla="*/ 2573097 h 3218836"/>
                <a:gd name="connsiteX32" fmla="*/ 20047 w 3968724"/>
                <a:gd name="connsiteY32" fmla="*/ 2746279 h 3218836"/>
                <a:gd name="connsiteX33" fmla="*/ 47757 w 3968724"/>
                <a:gd name="connsiteY33" fmla="*/ 2850188 h 3218836"/>
                <a:gd name="connsiteX34" fmla="*/ 151666 w 3968724"/>
                <a:gd name="connsiteY34" fmla="*/ 2870970 h 3218836"/>
                <a:gd name="connsiteX35" fmla="*/ 802830 w 3968724"/>
                <a:gd name="connsiteY35" fmla="*/ 2954097 h 3218836"/>
                <a:gd name="connsiteX36" fmla="*/ 1821139 w 3968724"/>
                <a:gd name="connsiteY36" fmla="*/ 3099570 h 3218836"/>
                <a:gd name="connsiteX37" fmla="*/ 2375321 w 3968724"/>
                <a:gd name="connsiteY37" fmla="*/ 3161915 h 3218836"/>
                <a:gd name="connsiteX38" fmla="*/ 2680121 w 3968724"/>
                <a:gd name="connsiteY38" fmla="*/ 3217333 h 3218836"/>
                <a:gd name="connsiteX39" fmla="*/ 2770176 w 3968724"/>
                <a:gd name="connsiteY39" fmla="*/ 2961024 h 3218836"/>
                <a:gd name="connsiteX0" fmla="*/ 2770176 w 3968724"/>
                <a:gd name="connsiteY0" fmla="*/ 2961024 h 3219342"/>
                <a:gd name="connsiteX1" fmla="*/ 2971067 w 3968724"/>
                <a:gd name="connsiteY1" fmla="*/ 2392988 h 3219342"/>
                <a:gd name="connsiteX2" fmla="*/ 3268939 w 3968724"/>
                <a:gd name="connsiteY2" fmla="*/ 1630988 h 3219342"/>
                <a:gd name="connsiteX3" fmla="*/ 3739994 w 3968724"/>
                <a:gd name="connsiteY3" fmla="*/ 785861 h 3219342"/>
                <a:gd name="connsiteX4" fmla="*/ 3781557 w 3968724"/>
                <a:gd name="connsiteY4" fmla="*/ 688879 h 3219342"/>
                <a:gd name="connsiteX5" fmla="*/ 3836975 w 3968724"/>
                <a:gd name="connsiteY5" fmla="*/ 640388 h 3219342"/>
                <a:gd name="connsiteX6" fmla="*/ 3920103 w 3968724"/>
                <a:gd name="connsiteY6" fmla="*/ 404861 h 3219342"/>
                <a:gd name="connsiteX7" fmla="*/ 3968594 w 3968724"/>
                <a:gd name="connsiteY7" fmla="*/ 93133 h 3219342"/>
                <a:gd name="connsiteX8" fmla="*/ 3906248 w 3968724"/>
                <a:gd name="connsiteY8" fmla="*/ 51570 h 3219342"/>
                <a:gd name="connsiteX9" fmla="*/ 3691503 w 3968724"/>
                <a:gd name="connsiteY9" fmla="*/ 3079 h 3219342"/>
                <a:gd name="connsiteX10" fmla="*/ 3476757 w 3968724"/>
                <a:gd name="connsiteY10" fmla="*/ 16933 h 3219342"/>
                <a:gd name="connsiteX11" fmla="*/ 3400557 w 3968724"/>
                <a:gd name="connsiteY11" fmla="*/ 113915 h 3219342"/>
                <a:gd name="connsiteX12" fmla="*/ 3289720 w 3968724"/>
                <a:gd name="connsiteY12" fmla="*/ 370225 h 3219342"/>
                <a:gd name="connsiteX13" fmla="*/ 3158103 w 3968724"/>
                <a:gd name="connsiteY13" fmla="*/ 605752 h 3219342"/>
                <a:gd name="connsiteX14" fmla="*/ 2867157 w 3968724"/>
                <a:gd name="connsiteY14" fmla="*/ 972897 h 3219342"/>
                <a:gd name="connsiteX15" fmla="*/ 2548503 w 3968724"/>
                <a:gd name="connsiteY15" fmla="*/ 1360824 h 3219342"/>
                <a:gd name="connsiteX16" fmla="*/ 2319903 w 3968724"/>
                <a:gd name="connsiteY16" fmla="*/ 1644842 h 3219342"/>
                <a:gd name="connsiteX17" fmla="*/ 2167503 w 3968724"/>
                <a:gd name="connsiteY17" fmla="*/ 2102042 h 3219342"/>
                <a:gd name="connsiteX18" fmla="*/ 2195212 w 3968724"/>
                <a:gd name="connsiteY18" fmla="*/ 2531533 h 3219342"/>
                <a:gd name="connsiteX19" fmla="*/ 2271412 w 3968724"/>
                <a:gd name="connsiteY19" fmla="*/ 2767061 h 3219342"/>
                <a:gd name="connsiteX20" fmla="*/ 2271412 w 3968724"/>
                <a:gd name="connsiteY20" fmla="*/ 2787842 h 3219342"/>
                <a:gd name="connsiteX21" fmla="*/ 2229848 w 3968724"/>
                <a:gd name="connsiteY21" fmla="*/ 2760133 h 3219342"/>
                <a:gd name="connsiteX22" fmla="*/ 1855775 w 3968724"/>
                <a:gd name="connsiteY22" fmla="*/ 2621588 h 3219342"/>
                <a:gd name="connsiteX23" fmla="*/ 1419357 w 3968724"/>
                <a:gd name="connsiteY23" fmla="*/ 2427624 h 3219342"/>
                <a:gd name="connsiteX24" fmla="*/ 1031430 w 3968724"/>
                <a:gd name="connsiteY24" fmla="*/ 2275224 h 3219342"/>
                <a:gd name="connsiteX25" fmla="*/ 726630 w 3968724"/>
                <a:gd name="connsiteY25" fmla="*/ 2219806 h 3219342"/>
                <a:gd name="connsiteX26" fmla="*/ 442612 w 3968724"/>
                <a:gd name="connsiteY26" fmla="*/ 2233661 h 3219342"/>
                <a:gd name="connsiteX27" fmla="*/ 248648 w 3968724"/>
                <a:gd name="connsiteY27" fmla="*/ 2302933 h 3219342"/>
                <a:gd name="connsiteX28" fmla="*/ 172448 w 3968724"/>
                <a:gd name="connsiteY28" fmla="*/ 2309861 h 3219342"/>
                <a:gd name="connsiteX29" fmla="*/ 82394 w 3968724"/>
                <a:gd name="connsiteY29" fmla="*/ 2302933 h 3219342"/>
                <a:gd name="connsiteX30" fmla="*/ 6194 w 3968724"/>
                <a:gd name="connsiteY30" fmla="*/ 2358352 h 3219342"/>
                <a:gd name="connsiteX31" fmla="*/ 6194 w 3968724"/>
                <a:gd name="connsiteY31" fmla="*/ 2573097 h 3219342"/>
                <a:gd name="connsiteX32" fmla="*/ 20047 w 3968724"/>
                <a:gd name="connsiteY32" fmla="*/ 2746279 h 3219342"/>
                <a:gd name="connsiteX33" fmla="*/ 47757 w 3968724"/>
                <a:gd name="connsiteY33" fmla="*/ 2850188 h 3219342"/>
                <a:gd name="connsiteX34" fmla="*/ 151666 w 3968724"/>
                <a:gd name="connsiteY34" fmla="*/ 2870970 h 3219342"/>
                <a:gd name="connsiteX35" fmla="*/ 802830 w 3968724"/>
                <a:gd name="connsiteY35" fmla="*/ 2954097 h 3219342"/>
                <a:gd name="connsiteX36" fmla="*/ 1821139 w 3968724"/>
                <a:gd name="connsiteY36" fmla="*/ 3099570 h 3219342"/>
                <a:gd name="connsiteX37" fmla="*/ 2368394 w 3968724"/>
                <a:gd name="connsiteY37" fmla="*/ 3175770 h 3219342"/>
                <a:gd name="connsiteX38" fmla="*/ 2680121 w 3968724"/>
                <a:gd name="connsiteY38" fmla="*/ 3217333 h 3219342"/>
                <a:gd name="connsiteX39" fmla="*/ 2770176 w 3968724"/>
                <a:gd name="connsiteY39" fmla="*/ 2961024 h 321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968724" h="3219342">
                  <a:moveTo>
                    <a:pt x="2770176" y="2961024"/>
                  </a:moveTo>
                  <a:cubicBezTo>
                    <a:pt x="2825595" y="2809779"/>
                    <a:pt x="2887940" y="2614661"/>
                    <a:pt x="2971067" y="2392988"/>
                  </a:cubicBezTo>
                  <a:cubicBezTo>
                    <a:pt x="3054194" y="2171315"/>
                    <a:pt x="3140785" y="1898842"/>
                    <a:pt x="3268939" y="1630988"/>
                  </a:cubicBezTo>
                  <a:cubicBezTo>
                    <a:pt x="3397093" y="1363134"/>
                    <a:pt x="3654558" y="942879"/>
                    <a:pt x="3739994" y="785861"/>
                  </a:cubicBezTo>
                  <a:cubicBezTo>
                    <a:pt x="3825430" y="628843"/>
                    <a:pt x="3765394" y="713124"/>
                    <a:pt x="3781557" y="688879"/>
                  </a:cubicBezTo>
                  <a:cubicBezTo>
                    <a:pt x="3797720" y="664634"/>
                    <a:pt x="3813884" y="687724"/>
                    <a:pt x="3836975" y="640388"/>
                  </a:cubicBezTo>
                  <a:cubicBezTo>
                    <a:pt x="3860066" y="593052"/>
                    <a:pt x="3898166" y="496070"/>
                    <a:pt x="3920103" y="404861"/>
                  </a:cubicBezTo>
                  <a:cubicBezTo>
                    <a:pt x="3942040" y="313652"/>
                    <a:pt x="3970903" y="152015"/>
                    <a:pt x="3968594" y="93133"/>
                  </a:cubicBezTo>
                  <a:cubicBezTo>
                    <a:pt x="3966285" y="34251"/>
                    <a:pt x="3952430" y="66579"/>
                    <a:pt x="3906248" y="51570"/>
                  </a:cubicBezTo>
                  <a:cubicBezTo>
                    <a:pt x="3860066" y="36561"/>
                    <a:pt x="3763085" y="8852"/>
                    <a:pt x="3691503" y="3079"/>
                  </a:cubicBezTo>
                  <a:cubicBezTo>
                    <a:pt x="3619921" y="-2694"/>
                    <a:pt x="3525248" y="-1540"/>
                    <a:pt x="3476757" y="16933"/>
                  </a:cubicBezTo>
                  <a:cubicBezTo>
                    <a:pt x="3428266" y="35406"/>
                    <a:pt x="3431730" y="55033"/>
                    <a:pt x="3400557" y="113915"/>
                  </a:cubicBezTo>
                  <a:cubicBezTo>
                    <a:pt x="3369384" y="172797"/>
                    <a:pt x="3330129" y="288252"/>
                    <a:pt x="3289720" y="370225"/>
                  </a:cubicBezTo>
                  <a:cubicBezTo>
                    <a:pt x="3249311" y="452198"/>
                    <a:pt x="3228530" y="505307"/>
                    <a:pt x="3158103" y="605752"/>
                  </a:cubicBezTo>
                  <a:cubicBezTo>
                    <a:pt x="3087676" y="706197"/>
                    <a:pt x="2968757" y="847052"/>
                    <a:pt x="2867157" y="972897"/>
                  </a:cubicBezTo>
                  <a:cubicBezTo>
                    <a:pt x="2765557" y="1098742"/>
                    <a:pt x="2639712" y="1248833"/>
                    <a:pt x="2548503" y="1360824"/>
                  </a:cubicBezTo>
                  <a:cubicBezTo>
                    <a:pt x="2457294" y="1472815"/>
                    <a:pt x="2383403" y="1521306"/>
                    <a:pt x="2319903" y="1644842"/>
                  </a:cubicBezTo>
                  <a:cubicBezTo>
                    <a:pt x="2256403" y="1768378"/>
                    <a:pt x="2188285" y="1954260"/>
                    <a:pt x="2167503" y="2102042"/>
                  </a:cubicBezTo>
                  <a:cubicBezTo>
                    <a:pt x="2146721" y="2249824"/>
                    <a:pt x="2164040" y="2441478"/>
                    <a:pt x="2195212" y="2531533"/>
                  </a:cubicBezTo>
                  <a:cubicBezTo>
                    <a:pt x="2226384" y="2621588"/>
                    <a:pt x="2271412" y="2767061"/>
                    <a:pt x="2271412" y="2767061"/>
                  </a:cubicBezTo>
                  <a:cubicBezTo>
                    <a:pt x="2284112" y="2809779"/>
                    <a:pt x="2278339" y="2788997"/>
                    <a:pt x="2271412" y="2787842"/>
                  </a:cubicBezTo>
                  <a:cubicBezTo>
                    <a:pt x="2264485" y="2786687"/>
                    <a:pt x="2299121" y="2787842"/>
                    <a:pt x="2229848" y="2760133"/>
                  </a:cubicBezTo>
                  <a:cubicBezTo>
                    <a:pt x="2160575" y="2732424"/>
                    <a:pt x="1990857" y="2677006"/>
                    <a:pt x="1855775" y="2621588"/>
                  </a:cubicBezTo>
                  <a:cubicBezTo>
                    <a:pt x="1720693" y="2566170"/>
                    <a:pt x="1556748" y="2485351"/>
                    <a:pt x="1419357" y="2427624"/>
                  </a:cubicBezTo>
                  <a:cubicBezTo>
                    <a:pt x="1281966" y="2369897"/>
                    <a:pt x="1146884" y="2309860"/>
                    <a:pt x="1031430" y="2275224"/>
                  </a:cubicBezTo>
                  <a:cubicBezTo>
                    <a:pt x="915975" y="2240588"/>
                    <a:pt x="824766" y="2226733"/>
                    <a:pt x="726630" y="2219806"/>
                  </a:cubicBezTo>
                  <a:cubicBezTo>
                    <a:pt x="628494" y="2212879"/>
                    <a:pt x="522276" y="2219806"/>
                    <a:pt x="442612" y="2233661"/>
                  </a:cubicBezTo>
                  <a:cubicBezTo>
                    <a:pt x="362948" y="2247515"/>
                    <a:pt x="293675" y="2290233"/>
                    <a:pt x="248648" y="2302933"/>
                  </a:cubicBezTo>
                  <a:cubicBezTo>
                    <a:pt x="203621" y="2315633"/>
                    <a:pt x="200157" y="2309861"/>
                    <a:pt x="172448" y="2309861"/>
                  </a:cubicBezTo>
                  <a:cubicBezTo>
                    <a:pt x="144739" y="2309861"/>
                    <a:pt x="110103" y="2294851"/>
                    <a:pt x="82394" y="2302933"/>
                  </a:cubicBezTo>
                  <a:cubicBezTo>
                    <a:pt x="54685" y="2311015"/>
                    <a:pt x="18894" y="2313325"/>
                    <a:pt x="6194" y="2358352"/>
                  </a:cubicBezTo>
                  <a:cubicBezTo>
                    <a:pt x="-6506" y="2403379"/>
                    <a:pt x="3885" y="2508443"/>
                    <a:pt x="6194" y="2573097"/>
                  </a:cubicBezTo>
                  <a:cubicBezTo>
                    <a:pt x="8503" y="2637751"/>
                    <a:pt x="13120" y="2700097"/>
                    <a:pt x="20047" y="2746279"/>
                  </a:cubicBezTo>
                  <a:cubicBezTo>
                    <a:pt x="26974" y="2792461"/>
                    <a:pt x="25821" y="2829406"/>
                    <a:pt x="47757" y="2850188"/>
                  </a:cubicBezTo>
                  <a:cubicBezTo>
                    <a:pt x="69694" y="2870970"/>
                    <a:pt x="151666" y="2870970"/>
                    <a:pt x="151666" y="2870970"/>
                  </a:cubicBezTo>
                  <a:lnTo>
                    <a:pt x="802830" y="2954097"/>
                  </a:lnTo>
                  <a:lnTo>
                    <a:pt x="1821139" y="3099570"/>
                  </a:lnTo>
                  <a:lnTo>
                    <a:pt x="2368394" y="3175770"/>
                  </a:lnTo>
                  <a:cubicBezTo>
                    <a:pt x="2511558" y="3195397"/>
                    <a:pt x="2618930" y="3227724"/>
                    <a:pt x="2680121" y="3217333"/>
                  </a:cubicBezTo>
                  <a:cubicBezTo>
                    <a:pt x="2745930" y="3179233"/>
                    <a:pt x="2714757" y="3112269"/>
                    <a:pt x="2770176" y="296102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282" name="Group 281"/>
            <p:cNvGrpSpPr/>
            <p:nvPr/>
          </p:nvGrpSpPr>
          <p:grpSpPr>
            <a:xfrm>
              <a:off x="5241576" y="2140897"/>
              <a:ext cx="277053" cy="700727"/>
              <a:chOff x="8676358" y="4152459"/>
              <a:chExt cx="820933" cy="2076317"/>
            </a:xfrm>
          </p:grpSpPr>
          <p:sp>
            <p:nvSpPr>
              <p:cNvPr id="397" name="Rectangle: Rounded Corners 396"/>
              <p:cNvSpPr/>
              <p:nvPr/>
            </p:nvSpPr>
            <p:spPr bwMode="auto">
              <a:xfrm rot="20416543">
                <a:off x="9290794" y="4152459"/>
                <a:ext cx="161827" cy="1795600"/>
              </a:xfrm>
              <a:prstGeom prst="roundRect">
                <a:avLst>
                  <a:gd name="adj" fmla="val 50000"/>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98" name="Straight Connector 397"/>
              <p:cNvCxnSpPr/>
              <p:nvPr/>
            </p:nvCxnSpPr>
            <p:spPr>
              <a:xfrm flipV="1">
                <a:off x="8676358" y="5475393"/>
                <a:ext cx="418036" cy="175499"/>
              </a:xfrm>
              <a:prstGeom prst="line">
                <a:avLst/>
              </a:prstGeom>
              <a:noFill/>
              <a:ln w="9525" cap="rnd" cmpd="sng" algn="ctr">
                <a:solidFill>
                  <a:schemeClr val="bg1">
                    <a:lumMod val="50000"/>
                  </a:schemeClr>
                </a:solidFill>
                <a:prstDash val="solid"/>
                <a:headEnd type="none"/>
                <a:tailEnd type="none"/>
              </a:ln>
              <a:effectLst/>
            </p:spPr>
          </p:cxnSp>
          <p:cxnSp>
            <p:nvCxnSpPr>
              <p:cNvPr id="399" name="Straight Connector 398"/>
              <p:cNvCxnSpPr/>
              <p:nvPr/>
            </p:nvCxnSpPr>
            <p:spPr>
              <a:xfrm flipV="1">
                <a:off x="8915400" y="4738861"/>
                <a:ext cx="235466" cy="148404"/>
              </a:xfrm>
              <a:prstGeom prst="line">
                <a:avLst/>
              </a:prstGeom>
              <a:noFill/>
              <a:ln w="9525" cap="rnd" cmpd="sng" algn="ctr">
                <a:solidFill>
                  <a:schemeClr val="bg1">
                    <a:lumMod val="50000"/>
                  </a:schemeClr>
                </a:solidFill>
                <a:prstDash val="solid"/>
                <a:headEnd type="none"/>
                <a:tailEnd type="none"/>
              </a:ln>
              <a:effectLst/>
            </p:spPr>
          </p:cxnSp>
          <p:sp>
            <p:nvSpPr>
              <p:cNvPr id="400" name="Freeform: Shape 399"/>
              <p:cNvSpPr/>
              <p:nvPr/>
            </p:nvSpPr>
            <p:spPr bwMode="auto">
              <a:xfrm>
                <a:off x="8676400" y="5639958"/>
                <a:ext cx="124857" cy="588818"/>
              </a:xfrm>
              <a:custGeom>
                <a:avLst/>
                <a:gdLst>
                  <a:gd name="connsiteX0" fmla="*/ 0 w 136814"/>
                  <a:gd name="connsiteY0" fmla="*/ 0 h 588819"/>
                  <a:gd name="connsiteX1" fmla="*/ 96982 w 136814"/>
                  <a:gd name="connsiteY1" fmla="*/ 284019 h 588819"/>
                  <a:gd name="connsiteX2" fmla="*/ 131619 w 136814"/>
                  <a:gd name="connsiteY2" fmla="*/ 450273 h 588819"/>
                  <a:gd name="connsiteX3" fmla="*/ 124691 w 136814"/>
                  <a:gd name="connsiteY3" fmla="*/ 526473 h 588819"/>
                  <a:gd name="connsiteX4" fmla="*/ 20782 w 136814"/>
                  <a:gd name="connsiteY4" fmla="*/ 588819 h 588819"/>
                  <a:gd name="connsiteX0" fmla="*/ 0 w 132167"/>
                  <a:gd name="connsiteY0" fmla="*/ 0 h 588819"/>
                  <a:gd name="connsiteX1" fmla="*/ 96982 w 132167"/>
                  <a:gd name="connsiteY1" fmla="*/ 284019 h 588819"/>
                  <a:gd name="connsiteX2" fmla="*/ 131619 w 132167"/>
                  <a:gd name="connsiteY2" fmla="*/ 450273 h 588819"/>
                  <a:gd name="connsiteX3" fmla="*/ 110837 w 132167"/>
                  <a:gd name="connsiteY3" fmla="*/ 519546 h 588819"/>
                  <a:gd name="connsiteX4" fmla="*/ 20782 w 132167"/>
                  <a:gd name="connsiteY4" fmla="*/ 588819 h 588819"/>
                  <a:gd name="connsiteX0" fmla="*/ 0 w 131706"/>
                  <a:gd name="connsiteY0" fmla="*/ 0 h 588819"/>
                  <a:gd name="connsiteX1" fmla="*/ 96982 w 131706"/>
                  <a:gd name="connsiteY1" fmla="*/ 284019 h 588819"/>
                  <a:gd name="connsiteX2" fmla="*/ 131619 w 131706"/>
                  <a:gd name="connsiteY2" fmla="*/ 450273 h 588819"/>
                  <a:gd name="connsiteX3" fmla="*/ 103910 w 131706"/>
                  <a:gd name="connsiteY3" fmla="*/ 512619 h 588819"/>
                  <a:gd name="connsiteX4" fmla="*/ 20782 w 131706"/>
                  <a:gd name="connsiteY4" fmla="*/ 588819 h 588819"/>
                  <a:gd name="connsiteX0" fmla="*/ 0 w 124858"/>
                  <a:gd name="connsiteY0" fmla="*/ 0 h 588819"/>
                  <a:gd name="connsiteX1" fmla="*/ 96982 w 124858"/>
                  <a:gd name="connsiteY1" fmla="*/ 284019 h 588819"/>
                  <a:gd name="connsiteX2" fmla="*/ 124692 w 124858"/>
                  <a:gd name="connsiteY2" fmla="*/ 436418 h 588819"/>
                  <a:gd name="connsiteX3" fmla="*/ 103910 w 124858"/>
                  <a:gd name="connsiteY3" fmla="*/ 512619 h 588819"/>
                  <a:gd name="connsiteX4" fmla="*/ 20782 w 124858"/>
                  <a:gd name="connsiteY4" fmla="*/ 588819 h 588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58" h="588819">
                    <a:moveTo>
                      <a:pt x="0" y="0"/>
                    </a:moveTo>
                    <a:cubicBezTo>
                      <a:pt x="37523" y="104487"/>
                      <a:pt x="76200" y="211283"/>
                      <a:pt x="96982" y="284019"/>
                    </a:cubicBezTo>
                    <a:cubicBezTo>
                      <a:pt x="117764" y="356755"/>
                      <a:pt x="123537" y="398318"/>
                      <a:pt x="124692" y="436418"/>
                    </a:cubicBezTo>
                    <a:cubicBezTo>
                      <a:pt x="125847" y="474518"/>
                      <a:pt x="121228" y="487219"/>
                      <a:pt x="103910" y="512619"/>
                    </a:cubicBezTo>
                    <a:cubicBezTo>
                      <a:pt x="86592" y="538019"/>
                      <a:pt x="63500" y="569191"/>
                      <a:pt x="20782" y="58881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401" name="Freeform: Shape 400"/>
              <p:cNvSpPr/>
              <p:nvPr/>
            </p:nvSpPr>
            <p:spPr bwMode="auto">
              <a:xfrm>
                <a:off x="8894618" y="4883727"/>
                <a:ext cx="602673" cy="782782"/>
              </a:xfrm>
              <a:custGeom>
                <a:avLst/>
                <a:gdLst>
                  <a:gd name="connsiteX0" fmla="*/ 0 w 602673"/>
                  <a:gd name="connsiteY0" fmla="*/ 0 h 782782"/>
                  <a:gd name="connsiteX1" fmla="*/ 145473 w 602673"/>
                  <a:gd name="connsiteY1" fmla="*/ 381000 h 782782"/>
                  <a:gd name="connsiteX2" fmla="*/ 221673 w 602673"/>
                  <a:gd name="connsiteY2" fmla="*/ 602673 h 782782"/>
                  <a:gd name="connsiteX3" fmla="*/ 290946 w 602673"/>
                  <a:gd name="connsiteY3" fmla="*/ 671945 h 782782"/>
                  <a:gd name="connsiteX4" fmla="*/ 408709 w 602673"/>
                  <a:gd name="connsiteY4" fmla="*/ 699655 h 782782"/>
                  <a:gd name="connsiteX5" fmla="*/ 519546 w 602673"/>
                  <a:gd name="connsiteY5" fmla="*/ 734291 h 782782"/>
                  <a:gd name="connsiteX6" fmla="*/ 602673 w 602673"/>
                  <a:gd name="connsiteY6" fmla="*/ 782782 h 78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673" h="782782">
                    <a:moveTo>
                      <a:pt x="0" y="0"/>
                    </a:moveTo>
                    <a:cubicBezTo>
                      <a:pt x="54264" y="140277"/>
                      <a:pt x="108528" y="280555"/>
                      <a:pt x="145473" y="381000"/>
                    </a:cubicBezTo>
                    <a:cubicBezTo>
                      <a:pt x="182418" y="481445"/>
                      <a:pt x="197428" y="554182"/>
                      <a:pt x="221673" y="602673"/>
                    </a:cubicBezTo>
                    <a:cubicBezTo>
                      <a:pt x="245918" y="651164"/>
                      <a:pt x="259773" y="655781"/>
                      <a:pt x="290946" y="671945"/>
                    </a:cubicBezTo>
                    <a:cubicBezTo>
                      <a:pt x="322119" y="688109"/>
                      <a:pt x="370609" y="689264"/>
                      <a:pt x="408709" y="699655"/>
                    </a:cubicBezTo>
                    <a:cubicBezTo>
                      <a:pt x="446809" y="710046"/>
                      <a:pt x="487219" y="720437"/>
                      <a:pt x="519546" y="734291"/>
                    </a:cubicBezTo>
                    <a:cubicBezTo>
                      <a:pt x="551873" y="748145"/>
                      <a:pt x="577273" y="765463"/>
                      <a:pt x="602673" y="782782"/>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sp>
          <p:nvSpPr>
            <p:cNvPr id="283" name="Freeform: Shape 282"/>
            <p:cNvSpPr/>
            <p:nvPr/>
          </p:nvSpPr>
          <p:spPr bwMode="auto">
            <a:xfrm>
              <a:off x="8555505" y="3174074"/>
              <a:ext cx="628884" cy="195515"/>
            </a:xfrm>
            <a:custGeom>
              <a:avLst/>
              <a:gdLst>
                <a:gd name="connsiteX0" fmla="*/ 0 w 1863437"/>
                <a:gd name="connsiteY0" fmla="*/ 579328 h 579328"/>
                <a:gd name="connsiteX1" fmla="*/ 713509 w 1863437"/>
                <a:gd name="connsiteY1" fmla="*/ 364582 h 579328"/>
                <a:gd name="connsiteX2" fmla="*/ 1281546 w 1863437"/>
                <a:gd name="connsiteY2" fmla="*/ 149837 h 579328"/>
                <a:gd name="connsiteX3" fmla="*/ 1745673 w 1863437"/>
                <a:gd name="connsiteY3" fmla="*/ 18219 h 579328"/>
                <a:gd name="connsiteX4" fmla="*/ 1863437 w 1863437"/>
                <a:gd name="connsiteY4" fmla="*/ 4364 h 579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437" h="579328">
                  <a:moveTo>
                    <a:pt x="0" y="579328"/>
                  </a:moveTo>
                  <a:cubicBezTo>
                    <a:pt x="249959" y="507746"/>
                    <a:pt x="499918" y="436164"/>
                    <a:pt x="713509" y="364582"/>
                  </a:cubicBezTo>
                  <a:cubicBezTo>
                    <a:pt x="927100" y="293000"/>
                    <a:pt x="1109519" y="207564"/>
                    <a:pt x="1281546" y="149837"/>
                  </a:cubicBezTo>
                  <a:cubicBezTo>
                    <a:pt x="1453573" y="92110"/>
                    <a:pt x="1648691" y="42464"/>
                    <a:pt x="1745673" y="18219"/>
                  </a:cubicBezTo>
                  <a:cubicBezTo>
                    <a:pt x="1842655" y="-6026"/>
                    <a:pt x="1853046" y="-831"/>
                    <a:pt x="1863437" y="43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84" name="Freeform: Shape 283"/>
            <p:cNvSpPr/>
            <p:nvPr/>
          </p:nvSpPr>
          <p:spPr bwMode="auto">
            <a:xfrm>
              <a:off x="8590573" y="2207675"/>
              <a:ext cx="558747" cy="477301"/>
            </a:xfrm>
            <a:custGeom>
              <a:avLst/>
              <a:gdLst>
                <a:gd name="connsiteX0" fmla="*/ 332509 w 1641763"/>
                <a:gd name="connsiteY0" fmla="*/ 0 h 1435067"/>
                <a:gd name="connsiteX1" fmla="*/ 193963 w 1641763"/>
                <a:gd name="connsiteY1" fmla="*/ 221673 h 1435067"/>
                <a:gd name="connsiteX2" fmla="*/ 48491 w 1641763"/>
                <a:gd name="connsiteY2" fmla="*/ 429491 h 1435067"/>
                <a:gd name="connsiteX3" fmla="*/ 0 w 1641763"/>
                <a:gd name="connsiteY3" fmla="*/ 519546 h 1435067"/>
                <a:gd name="connsiteX4" fmla="*/ 48491 w 1641763"/>
                <a:gd name="connsiteY4" fmla="*/ 699655 h 1435067"/>
                <a:gd name="connsiteX5" fmla="*/ 235527 w 1641763"/>
                <a:gd name="connsiteY5" fmla="*/ 914400 h 1435067"/>
                <a:gd name="connsiteX6" fmla="*/ 540327 w 1641763"/>
                <a:gd name="connsiteY6" fmla="*/ 1149928 h 1435067"/>
                <a:gd name="connsiteX7" fmla="*/ 886691 w 1641763"/>
                <a:gd name="connsiteY7" fmla="*/ 1330037 h 1435067"/>
                <a:gd name="connsiteX8" fmla="*/ 1184563 w 1641763"/>
                <a:gd name="connsiteY8" fmla="*/ 1406237 h 1435067"/>
                <a:gd name="connsiteX9" fmla="*/ 1406236 w 1641763"/>
                <a:gd name="connsiteY9" fmla="*/ 1433946 h 1435067"/>
                <a:gd name="connsiteX10" fmla="*/ 1641763 w 1641763"/>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699655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46363 w 1655617"/>
                <a:gd name="connsiteY0" fmla="*/ 0 h 1435067"/>
                <a:gd name="connsiteX1" fmla="*/ 207817 w 1655617"/>
                <a:gd name="connsiteY1" fmla="*/ 221673 h 1435067"/>
                <a:gd name="connsiteX2" fmla="*/ 62345 w 1655617"/>
                <a:gd name="connsiteY2" fmla="*/ 429491 h 1435067"/>
                <a:gd name="connsiteX3" fmla="*/ 0 w 1655617"/>
                <a:gd name="connsiteY3" fmla="*/ 547255 h 1435067"/>
                <a:gd name="connsiteX4" fmla="*/ 62345 w 1655617"/>
                <a:gd name="connsiteY4" fmla="*/ 720437 h 1435067"/>
                <a:gd name="connsiteX5" fmla="*/ 249381 w 1655617"/>
                <a:gd name="connsiteY5" fmla="*/ 914400 h 1435067"/>
                <a:gd name="connsiteX6" fmla="*/ 554181 w 1655617"/>
                <a:gd name="connsiteY6" fmla="*/ 1149928 h 1435067"/>
                <a:gd name="connsiteX7" fmla="*/ 900545 w 1655617"/>
                <a:gd name="connsiteY7" fmla="*/ 1330037 h 1435067"/>
                <a:gd name="connsiteX8" fmla="*/ 1198417 w 1655617"/>
                <a:gd name="connsiteY8" fmla="*/ 1406237 h 1435067"/>
                <a:gd name="connsiteX9" fmla="*/ 1420090 w 1655617"/>
                <a:gd name="connsiteY9" fmla="*/ 1433946 h 1435067"/>
                <a:gd name="connsiteX10" fmla="*/ 1655617 w 1655617"/>
                <a:gd name="connsiteY10" fmla="*/ 1427019 h 1435067"/>
                <a:gd name="connsiteX0" fmla="*/ 353290 w 1655617"/>
                <a:gd name="connsiteY0" fmla="*/ 0 h 1414285"/>
                <a:gd name="connsiteX1" fmla="*/ 207817 w 1655617"/>
                <a:gd name="connsiteY1" fmla="*/ 200891 h 1414285"/>
                <a:gd name="connsiteX2" fmla="*/ 62345 w 1655617"/>
                <a:gd name="connsiteY2" fmla="*/ 408709 h 1414285"/>
                <a:gd name="connsiteX3" fmla="*/ 0 w 1655617"/>
                <a:gd name="connsiteY3" fmla="*/ 526473 h 1414285"/>
                <a:gd name="connsiteX4" fmla="*/ 62345 w 1655617"/>
                <a:gd name="connsiteY4" fmla="*/ 699655 h 1414285"/>
                <a:gd name="connsiteX5" fmla="*/ 249381 w 1655617"/>
                <a:gd name="connsiteY5" fmla="*/ 893618 h 1414285"/>
                <a:gd name="connsiteX6" fmla="*/ 554181 w 1655617"/>
                <a:gd name="connsiteY6" fmla="*/ 1129146 h 1414285"/>
                <a:gd name="connsiteX7" fmla="*/ 900545 w 1655617"/>
                <a:gd name="connsiteY7" fmla="*/ 1309255 h 1414285"/>
                <a:gd name="connsiteX8" fmla="*/ 1198417 w 1655617"/>
                <a:gd name="connsiteY8" fmla="*/ 1385455 h 1414285"/>
                <a:gd name="connsiteX9" fmla="*/ 1420090 w 1655617"/>
                <a:gd name="connsiteY9" fmla="*/ 1413164 h 1414285"/>
                <a:gd name="connsiteX10" fmla="*/ 1655617 w 1655617"/>
                <a:gd name="connsiteY10" fmla="*/ 1406237 h 141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5617" h="1414285">
                  <a:moveTo>
                    <a:pt x="353290" y="0"/>
                  </a:moveTo>
                  <a:cubicBezTo>
                    <a:pt x="307685" y="75045"/>
                    <a:pt x="256308" y="132773"/>
                    <a:pt x="207817" y="200891"/>
                  </a:cubicBezTo>
                  <a:cubicBezTo>
                    <a:pt x="159326" y="269009"/>
                    <a:pt x="96981" y="354445"/>
                    <a:pt x="62345" y="408709"/>
                  </a:cubicBezTo>
                  <a:cubicBezTo>
                    <a:pt x="27709" y="462973"/>
                    <a:pt x="0" y="477982"/>
                    <a:pt x="0" y="526473"/>
                  </a:cubicBezTo>
                  <a:cubicBezTo>
                    <a:pt x="0" y="574964"/>
                    <a:pt x="20782" y="638464"/>
                    <a:pt x="62345" y="699655"/>
                  </a:cubicBezTo>
                  <a:cubicBezTo>
                    <a:pt x="103908" y="760846"/>
                    <a:pt x="167408" y="822036"/>
                    <a:pt x="249381" y="893618"/>
                  </a:cubicBezTo>
                  <a:cubicBezTo>
                    <a:pt x="331354" y="965200"/>
                    <a:pt x="445654" y="1059873"/>
                    <a:pt x="554181" y="1129146"/>
                  </a:cubicBezTo>
                  <a:cubicBezTo>
                    <a:pt x="662708" y="1198419"/>
                    <a:pt x="793172" y="1266537"/>
                    <a:pt x="900545" y="1309255"/>
                  </a:cubicBezTo>
                  <a:cubicBezTo>
                    <a:pt x="1007918" y="1351973"/>
                    <a:pt x="1111826" y="1368137"/>
                    <a:pt x="1198417" y="1385455"/>
                  </a:cubicBezTo>
                  <a:cubicBezTo>
                    <a:pt x="1285008" y="1402773"/>
                    <a:pt x="1343890" y="1409700"/>
                    <a:pt x="1420090" y="1413164"/>
                  </a:cubicBezTo>
                  <a:cubicBezTo>
                    <a:pt x="1496290" y="1416628"/>
                    <a:pt x="1575953" y="1411432"/>
                    <a:pt x="1655617" y="140623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85" name="Freeform: Shape 284"/>
            <p:cNvSpPr/>
            <p:nvPr/>
          </p:nvSpPr>
          <p:spPr bwMode="auto">
            <a:xfrm>
              <a:off x="8207165" y="2605110"/>
              <a:ext cx="596153" cy="257164"/>
            </a:xfrm>
            <a:custGeom>
              <a:avLst/>
              <a:gdLst>
                <a:gd name="connsiteX0" fmla="*/ 0 w 1766454"/>
                <a:gd name="connsiteY0" fmla="*/ 762000 h 762000"/>
                <a:gd name="connsiteX1" fmla="*/ 616527 w 1766454"/>
                <a:gd name="connsiteY1" fmla="*/ 665018 h 762000"/>
                <a:gd name="connsiteX2" fmla="*/ 1357745 w 1766454"/>
                <a:gd name="connsiteY2" fmla="*/ 554181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503218 w 1766454"/>
                <a:gd name="connsiteY3" fmla="*/ 484909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79418 w 1766454"/>
                <a:gd name="connsiteY4" fmla="*/ 346363 h 762000"/>
                <a:gd name="connsiteX5" fmla="*/ 1766454 w 1766454"/>
                <a:gd name="connsiteY5" fmla="*/ 0 h 762000"/>
                <a:gd name="connsiteX0" fmla="*/ 0 w 1766454"/>
                <a:gd name="connsiteY0" fmla="*/ 762000 h 762000"/>
                <a:gd name="connsiteX1" fmla="*/ 616527 w 1766454"/>
                <a:gd name="connsiteY1" fmla="*/ 665018 h 762000"/>
                <a:gd name="connsiteX2" fmla="*/ 1316181 w 1766454"/>
                <a:gd name="connsiteY2" fmla="*/ 547253 h 762000"/>
                <a:gd name="connsiteX3" fmla="*/ 1496290 w 1766454"/>
                <a:gd name="connsiteY3" fmla="*/ 477982 h 762000"/>
                <a:gd name="connsiteX4" fmla="*/ 1586345 w 1766454"/>
                <a:gd name="connsiteY4" fmla="*/ 346363 h 762000"/>
                <a:gd name="connsiteX5" fmla="*/ 1766454 w 1766454"/>
                <a:gd name="connsiteY5"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6454" h="762000">
                  <a:moveTo>
                    <a:pt x="0" y="762000"/>
                  </a:moveTo>
                  <a:lnTo>
                    <a:pt x="616527" y="665018"/>
                  </a:lnTo>
                  <a:cubicBezTo>
                    <a:pt x="849745" y="625763"/>
                    <a:pt x="1169554" y="578426"/>
                    <a:pt x="1316181" y="547253"/>
                  </a:cubicBezTo>
                  <a:cubicBezTo>
                    <a:pt x="1462808" y="516080"/>
                    <a:pt x="1451263" y="511464"/>
                    <a:pt x="1496290" y="477982"/>
                  </a:cubicBezTo>
                  <a:cubicBezTo>
                    <a:pt x="1541317" y="444500"/>
                    <a:pt x="1541318" y="426027"/>
                    <a:pt x="1586345" y="346363"/>
                  </a:cubicBezTo>
                  <a:cubicBezTo>
                    <a:pt x="1631372" y="266699"/>
                    <a:pt x="1704109" y="115454"/>
                    <a:pt x="1766454"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86" name="Freeform: Shape 285"/>
            <p:cNvSpPr/>
            <p:nvPr/>
          </p:nvSpPr>
          <p:spPr bwMode="auto">
            <a:xfrm>
              <a:off x="8852413" y="2630827"/>
              <a:ext cx="70136" cy="170664"/>
            </a:xfrm>
            <a:custGeom>
              <a:avLst/>
              <a:gdLst>
                <a:gd name="connsiteX0" fmla="*/ 0 w 207818"/>
                <a:gd name="connsiteY0" fmla="*/ 0 h 505691"/>
                <a:gd name="connsiteX1" fmla="*/ 69273 w 207818"/>
                <a:gd name="connsiteY1" fmla="*/ 256309 h 505691"/>
                <a:gd name="connsiteX2" fmla="*/ 207818 w 207818"/>
                <a:gd name="connsiteY2" fmla="*/ 505691 h 505691"/>
              </a:gdLst>
              <a:ahLst/>
              <a:cxnLst>
                <a:cxn ang="0">
                  <a:pos x="connsiteX0" y="connsiteY0"/>
                </a:cxn>
                <a:cxn ang="0">
                  <a:pos x="connsiteX1" y="connsiteY1"/>
                </a:cxn>
                <a:cxn ang="0">
                  <a:pos x="connsiteX2" y="connsiteY2"/>
                </a:cxn>
              </a:cxnLst>
              <a:rect l="l" t="t" r="r" b="b"/>
              <a:pathLst>
                <a:path w="207818" h="505691">
                  <a:moveTo>
                    <a:pt x="0" y="0"/>
                  </a:moveTo>
                  <a:cubicBezTo>
                    <a:pt x="17318" y="86013"/>
                    <a:pt x="34637" y="172027"/>
                    <a:pt x="69273" y="256309"/>
                  </a:cubicBezTo>
                  <a:cubicBezTo>
                    <a:pt x="103909" y="340591"/>
                    <a:pt x="155863" y="423141"/>
                    <a:pt x="207818" y="505691"/>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cxnSp>
          <p:nvCxnSpPr>
            <p:cNvPr id="287" name="Straight Connector 286"/>
            <p:cNvCxnSpPr/>
            <p:nvPr/>
          </p:nvCxnSpPr>
          <p:spPr>
            <a:xfrm>
              <a:off x="7831031" y="2380676"/>
              <a:ext cx="724474" cy="0"/>
            </a:xfrm>
            <a:prstGeom prst="line">
              <a:avLst/>
            </a:prstGeom>
            <a:noFill/>
            <a:ln w="9525" cap="rnd" cmpd="sng" algn="ctr">
              <a:solidFill>
                <a:schemeClr val="bg1">
                  <a:lumMod val="50000"/>
                </a:schemeClr>
              </a:solidFill>
              <a:prstDash val="solid"/>
              <a:headEnd type="none"/>
              <a:tailEnd type="none"/>
            </a:ln>
            <a:effectLst/>
            <a:scene3d>
              <a:camera prst="orthographicFront">
                <a:rot lat="0" lon="0" rev="18000"/>
              </a:camera>
              <a:lightRig rig="threePt" dir="t"/>
            </a:scene3d>
          </p:spPr>
        </p:cxnSp>
        <p:cxnSp>
          <p:nvCxnSpPr>
            <p:cNvPr id="288" name="Straight Connector 287"/>
            <p:cNvCxnSpPr/>
            <p:nvPr/>
          </p:nvCxnSpPr>
          <p:spPr>
            <a:xfrm>
              <a:off x="7969626" y="2238326"/>
              <a:ext cx="652092" cy="0"/>
            </a:xfrm>
            <a:prstGeom prst="line">
              <a:avLst/>
            </a:prstGeom>
            <a:noFill/>
            <a:ln w="9525" cap="rnd" cmpd="sng" algn="ctr">
              <a:solidFill>
                <a:schemeClr val="bg1">
                  <a:lumMod val="50000"/>
                </a:schemeClr>
              </a:solidFill>
              <a:prstDash val="solid"/>
              <a:headEnd type="none"/>
              <a:tailEnd type="none"/>
            </a:ln>
            <a:effectLst/>
            <a:scene3d>
              <a:camera prst="orthographicFront">
                <a:rot lat="0" lon="0" rev="36000"/>
              </a:camera>
              <a:lightRig rig="threePt" dir="t"/>
            </a:scene3d>
          </p:spPr>
        </p:cxnSp>
        <p:sp>
          <p:nvSpPr>
            <p:cNvPr id="289" name="Freeform: Shape 288"/>
            <p:cNvSpPr/>
            <p:nvPr/>
          </p:nvSpPr>
          <p:spPr bwMode="auto">
            <a:xfrm>
              <a:off x="8286077" y="1693346"/>
              <a:ext cx="774405" cy="575754"/>
            </a:xfrm>
            <a:custGeom>
              <a:avLst/>
              <a:gdLst>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72412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31618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697348"/>
                <a:gd name="connsiteX1" fmla="*/ 8630 w 2294630"/>
                <a:gd name="connsiteY1" fmla="*/ 152400 h 1697348"/>
                <a:gd name="connsiteX2" fmla="*/ 119466 w 2294630"/>
                <a:gd name="connsiteY2" fmla="*/ 284018 h 1697348"/>
                <a:gd name="connsiteX3" fmla="*/ 576666 w 2294630"/>
                <a:gd name="connsiteY3" fmla="*/ 748146 h 1697348"/>
                <a:gd name="connsiteX4" fmla="*/ 1144703 w 2294630"/>
                <a:gd name="connsiteY4" fmla="*/ 1385455 h 1697348"/>
                <a:gd name="connsiteX5" fmla="*/ 1248612 w 2294630"/>
                <a:gd name="connsiteY5" fmla="*/ 1503218 h 1697348"/>
                <a:gd name="connsiteX6" fmla="*/ 1435648 w 2294630"/>
                <a:gd name="connsiteY6" fmla="*/ 1593273 h 1697348"/>
                <a:gd name="connsiteX7" fmla="*/ 1858212 w 2294630"/>
                <a:gd name="connsiteY7" fmla="*/ 1676401 h 1697348"/>
                <a:gd name="connsiteX8" fmla="*/ 2072957 w 2294630"/>
                <a:gd name="connsiteY8" fmla="*/ 1697182 h 1697348"/>
                <a:gd name="connsiteX9" fmla="*/ 2294630 w 2294630"/>
                <a:gd name="connsiteY9" fmla="*/ 1669473 h 1697348"/>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2957 w 2294630"/>
                <a:gd name="connsiteY8" fmla="*/ 1697182 h 1706011"/>
                <a:gd name="connsiteX9" fmla="*/ 2294630 w 2294630"/>
                <a:gd name="connsiteY9" fmla="*/ 1669473 h 1706011"/>
                <a:gd name="connsiteX0" fmla="*/ 15557 w 2294630"/>
                <a:gd name="connsiteY0" fmla="*/ 0 h 1706011"/>
                <a:gd name="connsiteX1" fmla="*/ 8630 w 2294630"/>
                <a:gd name="connsiteY1" fmla="*/ 152400 h 1706011"/>
                <a:gd name="connsiteX2" fmla="*/ 119466 w 2294630"/>
                <a:gd name="connsiteY2" fmla="*/ 284018 h 1706011"/>
                <a:gd name="connsiteX3" fmla="*/ 576666 w 2294630"/>
                <a:gd name="connsiteY3" fmla="*/ 748146 h 1706011"/>
                <a:gd name="connsiteX4" fmla="*/ 1144703 w 2294630"/>
                <a:gd name="connsiteY4" fmla="*/ 1385455 h 1706011"/>
                <a:gd name="connsiteX5" fmla="*/ 1248612 w 2294630"/>
                <a:gd name="connsiteY5" fmla="*/ 1503218 h 1706011"/>
                <a:gd name="connsiteX6" fmla="*/ 1435648 w 2294630"/>
                <a:gd name="connsiteY6" fmla="*/ 1593273 h 1706011"/>
                <a:gd name="connsiteX7" fmla="*/ 1858212 w 2294630"/>
                <a:gd name="connsiteY7" fmla="*/ 1697182 h 1706011"/>
                <a:gd name="connsiteX8" fmla="*/ 2079884 w 2294630"/>
                <a:gd name="connsiteY8" fmla="*/ 1697182 h 1706011"/>
                <a:gd name="connsiteX9" fmla="*/ 2294630 w 2294630"/>
                <a:gd name="connsiteY9" fmla="*/ 1669473 h 170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4630" h="1706011">
                  <a:moveTo>
                    <a:pt x="15557" y="0"/>
                  </a:moveTo>
                  <a:cubicBezTo>
                    <a:pt x="3434" y="42141"/>
                    <a:pt x="-8688" y="105064"/>
                    <a:pt x="8630" y="152400"/>
                  </a:cubicBezTo>
                  <a:cubicBezTo>
                    <a:pt x="25948" y="199736"/>
                    <a:pt x="24793" y="184727"/>
                    <a:pt x="119466" y="284018"/>
                  </a:cubicBezTo>
                  <a:cubicBezTo>
                    <a:pt x="214139" y="383309"/>
                    <a:pt x="405793" y="564573"/>
                    <a:pt x="576666" y="748146"/>
                  </a:cubicBezTo>
                  <a:cubicBezTo>
                    <a:pt x="747539" y="931719"/>
                    <a:pt x="1032712" y="1259610"/>
                    <a:pt x="1144703" y="1385455"/>
                  </a:cubicBezTo>
                  <a:cubicBezTo>
                    <a:pt x="1256694" y="1511300"/>
                    <a:pt x="1200121" y="1468582"/>
                    <a:pt x="1248612" y="1503218"/>
                  </a:cubicBezTo>
                  <a:cubicBezTo>
                    <a:pt x="1297103" y="1537854"/>
                    <a:pt x="1334048" y="1560946"/>
                    <a:pt x="1435648" y="1593273"/>
                  </a:cubicBezTo>
                  <a:cubicBezTo>
                    <a:pt x="1537248" y="1625600"/>
                    <a:pt x="1750839" y="1679864"/>
                    <a:pt x="1858212" y="1697182"/>
                  </a:cubicBezTo>
                  <a:cubicBezTo>
                    <a:pt x="1965585" y="1714500"/>
                    <a:pt x="2007148" y="1701800"/>
                    <a:pt x="2079884" y="1697182"/>
                  </a:cubicBezTo>
                  <a:cubicBezTo>
                    <a:pt x="2152620" y="1692564"/>
                    <a:pt x="2220161" y="1681018"/>
                    <a:pt x="2294630" y="166947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90" name="Freeform: Shape 289"/>
            <p:cNvSpPr/>
            <p:nvPr/>
          </p:nvSpPr>
          <p:spPr bwMode="auto">
            <a:xfrm>
              <a:off x="8607563" y="1812576"/>
              <a:ext cx="403823" cy="397494"/>
            </a:xfrm>
            <a:custGeom>
              <a:avLst/>
              <a:gdLst>
                <a:gd name="connsiteX0" fmla="*/ 1185130 w 1185130"/>
                <a:gd name="connsiteY0" fmla="*/ 1136073 h 1157026"/>
                <a:gd name="connsiteX1" fmla="*/ 1032730 w 1185130"/>
                <a:gd name="connsiteY1" fmla="*/ 1156855 h 1157026"/>
                <a:gd name="connsiteX2" fmla="*/ 928821 w 1185130"/>
                <a:gd name="connsiteY2" fmla="*/ 1136073 h 1157026"/>
                <a:gd name="connsiteX3" fmla="*/ 734858 w 1185130"/>
                <a:gd name="connsiteY3" fmla="*/ 1011382 h 1157026"/>
                <a:gd name="connsiteX4" fmla="*/ 249949 w 1185130"/>
                <a:gd name="connsiteY4" fmla="*/ 526473 h 1157026"/>
                <a:gd name="connsiteX5" fmla="*/ 28276 w 1185130"/>
                <a:gd name="connsiteY5" fmla="*/ 242455 h 1157026"/>
                <a:gd name="connsiteX6" fmla="*/ 7494 w 1185130"/>
                <a:gd name="connsiteY6" fmla="*/ 131618 h 1157026"/>
                <a:gd name="connsiteX7" fmla="*/ 69839 w 1185130"/>
                <a:gd name="connsiteY7" fmla="*/ 34636 h 1157026"/>
                <a:gd name="connsiteX8" fmla="*/ 180676 w 1185130"/>
                <a:gd name="connsiteY8" fmla="*/ 0 h 1157026"/>
                <a:gd name="connsiteX0" fmla="*/ 1188932 w 1188932"/>
                <a:gd name="connsiteY0" fmla="*/ 1136073 h 1157026"/>
                <a:gd name="connsiteX1" fmla="*/ 1036532 w 1188932"/>
                <a:gd name="connsiteY1" fmla="*/ 1156855 h 1157026"/>
                <a:gd name="connsiteX2" fmla="*/ 932623 w 1188932"/>
                <a:gd name="connsiteY2" fmla="*/ 1136073 h 1157026"/>
                <a:gd name="connsiteX3" fmla="*/ 738660 w 1188932"/>
                <a:gd name="connsiteY3" fmla="*/ 1011382 h 1157026"/>
                <a:gd name="connsiteX4" fmla="*/ 253751 w 1188932"/>
                <a:gd name="connsiteY4" fmla="*/ 526473 h 1157026"/>
                <a:gd name="connsiteX5" fmla="*/ 25151 w 1188932"/>
                <a:gd name="connsiteY5" fmla="*/ 249382 h 1157026"/>
                <a:gd name="connsiteX6" fmla="*/ 11296 w 1188932"/>
                <a:gd name="connsiteY6" fmla="*/ 131618 h 1157026"/>
                <a:gd name="connsiteX7" fmla="*/ 73641 w 1188932"/>
                <a:gd name="connsiteY7" fmla="*/ 34636 h 1157026"/>
                <a:gd name="connsiteX8" fmla="*/ 184478 w 1188932"/>
                <a:gd name="connsiteY8" fmla="*/ 0 h 1157026"/>
                <a:gd name="connsiteX0" fmla="*/ 1189347 w 1189347"/>
                <a:gd name="connsiteY0" fmla="*/ 1136073 h 1157026"/>
                <a:gd name="connsiteX1" fmla="*/ 1036947 w 1189347"/>
                <a:gd name="connsiteY1" fmla="*/ 1156855 h 1157026"/>
                <a:gd name="connsiteX2" fmla="*/ 933038 w 1189347"/>
                <a:gd name="connsiteY2" fmla="*/ 1136073 h 1157026"/>
                <a:gd name="connsiteX3" fmla="*/ 739075 w 1189347"/>
                <a:gd name="connsiteY3" fmla="*/ 1011382 h 1157026"/>
                <a:gd name="connsiteX4" fmla="*/ 254166 w 1189347"/>
                <a:gd name="connsiteY4" fmla="*/ 526473 h 1157026"/>
                <a:gd name="connsiteX5" fmla="*/ 25566 w 1189347"/>
                <a:gd name="connsiteY5" fmla="*/ 249382 h 1157026"/>
                <a:gd name="connsiteX6" fmla="*/ 11711 w 1189347"/>
                <a:gd name="connsiteY6" fmla="*/ 131618 h 1157026"/>
                <a:gd name="connsiteX7" fmla="*/ 80983 w 1189347"/>
                <a:gd name="connsiteY7" fmla="*/ 48490 h 1157026"/>
                <a:gd name="connsiteX8" fmla="*/ 184893 w 1189347"/>
                <a:gd name="connsiteY8" fmla="*/ 0 h 1157026"/>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143001 h 1163954"/>
                <a:gd name="connsiteX1" fmla="*/ 1036947 w 1189347"/>
                <a:gd name="connsiteY1" fmla="*/ 1163783 h 1163954"/>
                <a:gd name="connsiteX2" fmla="*/ 933038 w 1189347"/>
                <a:gd name="connsiteY2" fmla="*/ 1143001 h 1163954"/>
                <a:gd name="connsiteX3" fmla="*/ 739075 w 1189347"/>
                <a:gd name="connsiteY3" fmla="*/ 1018310 h 1163954"/>
                <a:gd name="connsiteX4" fmla="*/ 254166 w 1189347"/>
                <a:gd name="connsiteY4" fmla="*/ 533401 h 1163954"/>
                <a:gd name="connsiteX5" fmla="*/ 25566 w 1189347"/>
                <a:gd name="connsiteY5" fmla="*/ 256310 h 1163954"/>
                <a:gd name="connsiteX6" fmla="*/ 11711 w 1189347"/>
                <a:gd name="connsiteY6" fmla="*/ 138546 h 1163954"/>
                <a:gd name="connsiteX7" fmla="*/ 80983 w 1189347"/>
                <a:gd name="connsiteY7" fmla="*/ 55418 h 1163954"/>
                <a:gd name="connsiteX8" fmla="*/ 171039 w 1189347"/>
                <a:gd name="connsiteY8" fmla="*/ 0 h 1163954"/>
                <a:gd name="connsiteX0" fmla="*/ 1189347 w 1189347"/>
                <a:gd name="connsiteY0" fmla="*/ 1087583 h 1108536"/>
                <a:gd name="connsiteX1" fmla="*/ 1036947 w 1189347"/>
                <a:gd name="connsiteY1" fmla="*/ 1108365 h 1108536"/>
                <a:gd name="connsiteX2" fmla="*/ 933038 w 1189347"/>
                <a:gd name="connsiteY2" fmla="*/ 1087583 h 1108536"/>
                <a:gd name="connsiteX3" fmla="*/ 739075 w 1189347"/>
                <a:gd name="connsiteY3" fmla="*/ 962892 h 1108536"/>
                <a:gd name="connsiteX4" fmla="*/ 254166 w 1189347"/>
                <a:gd name="connsiteY4" fmla="*/ 477983 h 1108536"/>
                <a:gd name="connsiteX5" fmla="*/ 25566 w 1189347"/>
                <a:gd name="connsiteY5" fmla="*/ 200892 h 1108536"/>
                <a:gd name="connsiteX6" fmla="*/ 11711 w 1189347"/>
                <a:gd name="connsiteY6" fmla="*/ 83128 h 1108536"/>
                <a:gd name="connsiteX7" fmla="*/ 80983 w 1189347"/>
                <a:gd name="connsiteY7" fmla="*/ 0 h 1108536"/>
                <a:gd name="connsiteX0" fmla="*/ 1196564 w 1196564"/>
                <a:gd name="connsiteY0" fmla="*/ 1156856 h 1177809"/>
                <a:gd name="connsiteX1" fmla="*/ 1044164 w 1196564"/>
                <a:gd name="connsiteY1" fmla="*/ 1177638 h 1177809"/>
                <a:gd name="connsiteX2" fmla="*/ 940255 w 1196564"/>
                <a:gd name="connsiteY2" fmla="*/ 1156856 h 1177809"/>
                <a:gd name="connsiteX3" fmla="*/ 746292 w 1196564"/>
                <a:gd name="connsiteY3" fmla="*/ 1032165 h 1177809"/>
                <a:gd name="connsiteX4" fmla="*/ 261383 w 1196564"/>
                <a:gd name="connsiteY4" fmla="*/ 547256 h 1177809"/>
                <a:gd name="connsiteX5" fmla="*/ 32783 w 1196564"/>
                <a:gd name="connsiteY5" fmla="*/ 270165 h 1177809"/>
                <a:gd name="connsiteX6" fmla="*/ 18928 w 1196564"/>
                <a:gd name="connsiteY6" fmla="*/ 152401 h 1177809"/>
                <a:gd name="connsiteX7" fmla="*/ 199036 w 1196564"/>
                <a:gd name="connsiteY7" fmla="*/ 0 h 117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564" h="1177809">
                  <a:moveTo>
                    <a:pt x="1196564" y="1156856"/>
                  </a:moveTo>
                  <a:cubicBezTo>
                    <a:pt x="1141723" y="1167247"/>
                    <a:pt x="1086882" y="1177638"/>
                    <a:pt x="1044164" y="1177638"/>
                  </a:cubicBezTo>
                  <a:cubicBezTo>
                    <a:pt x="1001446" y="1177638"/>
                    <a:pt x="989900" y="1181102"/>
                    <a:pt x="940255" y="1156856"/>
                  </a:cubicBezTo>
                  <a:cubicBezTo>
                    <a:pt x="890610" y="1132610"/>
                    <a:pt x="859437" y="1133765"/>
                    <a:pt x="746292" y="1032165"/>
                  </a:cubicBezTo>
                  <a:cubicBezTo>
                    <a:pt x="633147" y="930565"/>
                    <a:pt x="380301" y="674256"/>
                    <a:pt x="261383" y="547256"/>
                  </a:cubicBezTo>
                  <a:cubicBezTo>
                    <a:pt x="142465" y="420256"/>
                    <a:pt x="73192" y="335974"/>
                    <a:pt x="32783" y="270165"/>
                  </a:cubicBezTo>
                  <a:cubicBezTo>
                    <a:pt x="-7626" y="204356"/>
                    <a:pt x="-8781" y="197428"/>
                    <a:pt x="18928" y="152401"/>
                  </a:cubicBezTo>
                  <a:cubicBezTo>
                    <a:pt x="46637" y="107374"/>
                    <a:pt x="172482" y="23091"/>
                    <a:pt x="199036"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91" name="Freeform: Shape 290"/>
            <p:cNvSpPr/>
            <p:nvPr/>
          </p:nvSpPr>
          <p:spPr bwMode="auto">
            <a:xfrm>
              <a:off x="6673636" y="2160565"/>
              <a:ext cx="1248310" cy="1031347"/>
            </a:xfrm>
            <a:custGeom>
              <a:avLst/>
              <a:gdLst>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95420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10565 w 3710565"/>
                <a:gd name="connsiteY0" fmla="*/ 1044 h 3055971"/>
                <a:gd name="connsiteX1" fmla="*/ 3544311 w 3710565"/>
                <a:gd name="connsiteY1" fmla="*/ 14898 h 3055971"/>
                <a:gd name="connsiteX2" fmla="*/ 3412693 w 3710565"/>
                <a:gd name="connsiteY2" fmla="*/ 104953 h 3055971"/>
                <a:gd name="connsiteX3" fmla="*/ 3301856 w 3710565"/>
                <a:gd name="connsiteY3" fmla="*/ 298917 h 3055971"/>
                <a:gd name="connsiteX4" fmla="*/ 3191020 w 3710565"/>
                <a:gd name="connsiteY4" fmla="*/ 513662 h 3055971"/>
                <a:gd name="connsiteX5" fmla="*/ 2997056 w 3710565"/>
                <a:gd name="connsiteY5" fmla="*/ 776898 h 3055971"/>
                <a:gd name="connsiteX6" fmla="*/ 2685329 w 3710565"/>
                <a:gd name="connsiteY6" fmla="*/ 1116335 h 3055971"/>
                <a:gd name="connsiteX7" fmla="*/ 2394383 w 3710565"/>
                <a:gd name="connsiteY7" fmla="*/ 1511189 h 3055971"/>
                <a:gd name="connsiteX8" fmla="*/ 2172711 w 3710565"/>
                <a:gd name="connsiteY8" fmla="*/ 1836771 h 3055971"/>
                <a:gd name="connsiteX9" fmla="*/ 1992602 w 3710565"/>
                <a:gd name="connsiteY9" fmla="*/ 2176207 h 3055971"/>
                <a:gd name="connsiteX10" fmla="*/ 1840202 w 3710565"/>
                <a:gd name="connsiteY10" fmla="*/ 2411735 h 3055971"/>
                <a:gd name="connsiteX11" fmla="*/ 1805565 w 3710565"/>
                <a:gd name="connsiteY11" fmla="*/ 2487935 h 3055971"/>
                <a:gd name="connsiteX12" fmla="*/ 1715511 w 3710565"/>
                <a:gd name="connsiteY12" fmla="*/ 2487935 h 3055971"/>
                <a:gd name="connsiteX13" fmla="*/ 1105911 w 3710565"/>
                <a:gd name="connsiteY13" fmla="*/ 2460226 h 3055971"/>
                <a:gd name="connsiteX14" fmla="*/ 503238 w 3710565"/>
                <a:gd name="connsiteY14" fmla="*/ 2460226 h 3055971"/>
                <a:gd name="connsiteX15" fmla="*/ 267711 w 3710565"/>
                <a:gd name="connsiteY15" fmla="*/ 2474080 h 3055971"/>
                <a:gd name="connsiteX16" fmla="*/ 80674 w 3710565"/>
                <a:gd name="connsiteY16" fmla="*/ 2591844 h 3055971"/>
                <a:gd name="connsiteX17" fmla="*/ 11402 w 3710565"/>
                <a:gd name="connsiteY17" fmla="*/ 2744244 h 3055971"/>
                <a:gd name="connsiteX18" fmla="*/ 11402 w 3710565"/>
                <a:gd name="connsiteY18" fmla="*/ 2889717 h 3055971"/>
                <a:gd name="connsiteX19" fmla="*/ 122238 w 3710565"/>
                <a:gd name="connsiteY19" fmla="*/ 2910498 h 3055971"/>
                <a:gd name="connsiteX20" fmla="*/ 995074 w 3710565"/>
                <a:gd name="connsiteY20" fmla="*/ 2993626 h 3055971"/>
                <a:gd name="connsiteX21" fmla="*/ 1369147 w 3710565"/>
                <a:gd name="connsiteY21" fmla="*/ 3035189 h 3055971"/>
                <a:gd name="connsiteX22" fmla="*/ 1646238 w 3710565"/>
                <a:gd name="connsiteY22" fmla="*/ 3055971 h 3055971"/>
                <a:gd name="connsiteX0" fmla="*/ 3703782 w 3703782"/>
                <a:gd name="connsiteY0" fmla="*/ 1044 h 3055971"/>
                <a:gd name="connsiteX1" fmla="*/ 3537528 w 3703782"/>
                <a:gd name="connsiteY1" fmla="*/ 14898 h 3055971"/>
                <a:gd name="connsiteX2" fmla="*/ 3405910 w 3703782"/>
                <a:gd name="connsiteY2" fmla="*/ 104953 h 3055971"/>
                <a:gd name="connsiteX3" fmla="*/ 3295073 w 3703782"/>
                <a:gd name="connsiteY3" fmla="*/ 298917 h 3055971"/>
                <a:gd name="connsiteX4" fmla="*/ 3184237 w 3703782"/>
                <a:gd name="connsiteY4" fmla="*/ 513662 h 3055971"/>
                <a:gd name="connsiteX5" fmla="*/ 2990273 w 3703782"/>
                <a:gd name="connsiteY5" fmla="*/ 776898 h 3055971"/>
                <a:gd name="connsiteX6" fmla="*/ 2678546 w 3703782"/>
                <a:gd name="connsiteY6" fmla="*/ 1116335 h 3055971"/>
                <a:gd name="connsiteX7" fmla="*/ 2387600 w 3703782"/>
                <a:gd name="connsiteY7" fmla="*/ 1511189 h 3055971"/>
                <a:gd name="connsiteX8" fmla="*/ 2165928 w 3703782"/>
                <a:gd name="connsiteY8" fmla="*/ 1836771 h 3055971"/>
                <a:gd name="connsiteX9" fmla="*/ 1985819 w 3703782"/>
                <a:gd name="connsiteY9" fmla="*/ 2176207 h 3055971"/>
                <a:gd name="connsiteX10" fmla="*/ 1833419 w 3703782"/>
                <a:gd name="connsiteY10" fmla="*/ 2411735 h 3055971"/>
                <a:gd name="connsiteX11" fmla="*/ 1798782 w 3703782"/>
                <a:gd name="connsiteY11" fmla="*/ 2487935 h 3055971"/>
                <a:gd name="connsiteX12" fmla="*/ 1708728 w 3703782"/>
                <a:gd name="connsiteY12" fmla="*/ 2487935 h 3055971"/>
                <a:gd name="connsiteX13" fmla="*/ 1099128 w 3703782"/>
                <a:gd name="connsiteY13" fmla="*/ 2460226 h 3055971"/>
                <a:gd name="connsiteX14" fmla="*/ 496455 w 3703782"/>
                <a:gd name="connsiteY14" fmla="*/ 2460226 h 3055971"/>
                <a:gd name="connsiteX15" fmla="*/ 260928 w 3703782"/>
                <a:gd name="connsiteY15" fmla="*/ 2474080 h 3055971"/>
                <a:gd name="connsiteX16" fmla="*/ 73891 w 3703782"/>
                <a:gd name="connsiteY16" fmla="*/ 2591844 h 3055971"/>
                <a:gd name="connsiteX17" fmla="*/ 4619 w 3703782"/>
                <a:gd name="connsiteY17" fmla="*/ 2744244 h 3055971"/>
                <a:gd name="connsiteX18" fmla="*/ 18473 w 3703782"/>
                <a:gd name="connsiteY18" fmla="*/ 2889717 h 3055971"/>
                <a:gd name="connsiteX19" fmla="*/ 115455 w 3703782"/>
                <a:gd name="connsiteY19" fmla="*/ 2910498 h 3055971"/>
                <a:gd name="connsiteX20" fmla="*/ 988291 w 3703782"/>
                <a:gd name="connsiteY20" fmla="*/ 2993626 h 3055971"/>
                <a:gd name="connsiteX21" fmla="*/ 1362364 w 3703782"/>
                <a:gd name="connsiteY21" fmla="*/ 3035189 h 3055971"/>
                <a:gd name="connsiteX22" fmla="*/ 1639455 w 3703782"/>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82668 w 3698850"/>
                <a:gd name="connsiteY7" fmla="*/ 1511189 h 3055971"/>
                <a:gd name="connsiteX8" fmla="*/ 2160996 w 3698850"/>
                <a:gd name="connsiteY8" fmla="*/ 1836771 h 3055971"/>
                <a:gd name="connsiteX9" fmla="*/ 1980887 w 3698850"/>
                <a:gd name="connsiteY9" fmla="*/ 2176207 h 3055971"/>
                <a:gd name="connsiteX10" fmla="*/ 1828487 w 3698850"/>
                <a:gd name="connsiteY10" fmla="*/ 2411735 h 3055971"/>
                <a:gd name="connsiteX11" fmla="*/ 1793850 w 3698850"/>
                <a:gd name="connsiteY11" fmla="*/ 2487935 h 3055971"/>
                <a:gd name="connsiteX12" fmla="*/ 1703796 w 3698850"/>
                <a:gd name="connsiteY12" fmla="*/ 2487935 h 3055971"/>
                <a:gd name="connsiteX13" fmla="*/ 1094196 w 3698850"/>
                <a:gd name="connsiteY13" fmla="*/ 2460226 h 3055971"/>
                <a:gd name="connsiteX14" fmla="*/ 491523 w 3698850"/>
                <a:gd name="connsiteY14" fmla="*/ 2460226 h 3055971"/>
                <a:gd name="connsiteX15" fmla="*/ 255996 w 3698850"/>
                <a:gd name="connsiteY15" fmla="*/ 2474080 h 3055971"/>
                <a:gd name="connsiteX16" fmla="*/ 68959 w 3698850"/>
                <a:gd name="connsiteY16" fmla="*/ 2591844 h 3055971"/>
                <a:gd name="connsiteX17" fmla="*/ 6614 w 3698850"/>
                <a:gd name="connsiteY17" fmla="*/ 2744244 h 3055971"/>
                <a:gd name="connsiteX18" fmla="*/ 13541 w 3698850"/>
                <a:gd name="connsiteY18" fmla="*/ 2889717 h 3055971"/>
                <a:gd name="connsiteX19" fmla="*/ 110523 w 3698850"/>
                <a:gd name="connsiteY19" fmla="*/ 2910498 h 3055971"/>
                <a:gd name="connsiteX20" fmla="*/ 983359 w 3698850"/>
                <a:gd name="connsiteY20" fmla="*/ 2993626 h 3055971"/>
                <a:gd name="connsiteX21" fmla="*/ 1357432 w 3698850"/>
                <a:gd name="connsiteY21" fmla="*/ 3035189 h 3055971"/>
                <a:gd name="connsiteX22" fmla="*/ 1634523 w 3698850"/>
                <a:gd name="connsiteY22"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160996 w 3698850"/>
                <a:gd name="connsiteY7" fmla="*/ 1836771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13396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28487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 name="connsiteX0" fmla="*/ 3698850 w 3698850"/>
                <a:gd name="connsiteY0" fmla="*/ 1044 h 3055971"/>
                <a:gd name="connsiteX1" fmla="*/ 3532596 w 3698850"/>
                <a:gd name="connsiteY1" fmla="*/ 14898 h 3055971"/>
                <a:gd name="connsiteX2" fmla="*/ 3400978 w 3698850"/>
                <a:gd name="connsiteY2" fmla="*/ 104953 h 3055971"/>
                <a:gd name="connsiteX3" fmla="*/ 3290141 w 3698850"/>
                <a:gd name="connsiteY3" fmla="*/ 298917 h 3055971"/>
                <a:gd name="connsiteX4" fmla="*/ 3179305 w 3698850"/>
                <a:gd name="connsiteY4" fmla="*/ 513662 h 3055971"/>
                <a:gd name="connsiteX5" fmla="*/ 2985341 w 3698850"/>
                <a:gd name="connsiteY5" fmla="*/ 776898 h 3055971"/>
                <a:gd name="connsiteX6" fmla="*/ 2673614 w 3698850"/>
                <a:gd name="connsiteY6" fmla="*/ 1116335 h 3055971"/>
                <a:gd name="connsiteX7" fmla="*/ 2306468 w 3698850"/>
                <a:gd name="connsiteY7" fmla="*/ 1615098 h 3055971"/>
                <a:gd name="connsiteX8" fmla="*/ 1980887 w 3698850"/>
                <a:gd name="connsiteY8" fmla="*/ 2176207 h 3055971"/>
                <a:gd name="connsiteX9" fmla="*/ 1849269 w 3698850"/>
                <a:gd name="connsiteY9" fmla="*/ 2411735 h 3055971"/>
                <a:gd name="connsiteX10" fmla="*/ 1793850 w 3698850"/>
                <a:gd name="connsiteY10" fmla="*/ 2487935 h 3055971"/>
                <a:gd name="connsiteX11" fmla="*/ 1703796 w 3698850"/>
                <a:gd name="connsiteY11" fmla="*/ 2487935 h 3055971"/>
                <a:gd name="connsiteX12" fmla="*/ 1094196 w 3698850"/>
                <a:gd name="connsiteY12" fmla="*/ 2460226 h 3055971"/>
                <a:gd name="connsiteX13" fmla="*/ 491523 w 3698850"/>
                <a:gd name="connsiteY13" fmla="*/ 2460226 h 3055971"/>
                <a:gd name="connsiteX14" fmla="*/ 255996 w 3698850"/>
                <a:gd name="connsiteY14" fmla="*/ 2474080 h 3055971"/>
                <a:gd name="connsiteX15" fmla="*/ 68959 w 3698850"/>
                <a:gd name="connsiteY15" fmla="*/ 2591844 h 3055971"/>
                <a:gd name="connsiteX16" fmla="*/ 6614 w 3698850"/>
                <a:gd name="connsiteY16" fmla="*/ 2744244 h 3055971"/>
                <a:gd name="connsiteX17" fmla="*/ 13541 w 3698850"/>
                <a:gd name="connsiteY17" fmla="*/ 2889717 h 3055971"/>
                <a:gd name="connsiteX18" fmla="*/ 110523 w 3698850"/>
                <a:gd name="connsiteY18" fmla="*/ 2910498 h 3055971"/>
                <a:gd name="connsiteX19" fmla="*/ 983359 w 3698850"/>
                <a:gd name="connsiteY19" fmla="*/ 2993626 h 3055971"/>
                <a:gd name="connsiteX20" fmla="*/ 1357432 w 3698850"/>
                <a:gd name="connsiteY20" fmla="*/ 3035189 h 3055971"/>
                <a:gd name="connsiteX21" fmla="*/ 1634523 w 3698850"/>
                <a:gd name="connsiteY21" fmla="*/ 3055971 h 305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98850" h="3055971">
                  <a:moveTo>
                    <a:pt x="3698850" y="1044"/>
                  </a:moveTo>
                  <a:cubicBezTo>
                    <a:pt x="3640545" y="-688"/>
                    <a:pt x="3582241" y="-2420"/>
                    <a:pt x="3532596" y="14898"/>
                  </a:cubicBezTo>
                  <a:cubicBezTo>
                    <a:pt x="3482951" y="32216"/>
                    <a:pt x="3441387" y="57616"/>
                    <a:pt x="3400978" y="104953"/>
                  </a:cubicBezTo>
                  <a:cubicBezTo>
                    <a:pt x="3360569" y="152290"/>
                    <a:pt x="3327086" y="230799"/>
                    <a:pt x="3290141" y="298917"/>
                  </a:cubicBezTo>
                  <a:cubicBezTo>
                    <a:pt x="3253196" y="367035"/>
                    <a:pt x="3223178" y="427071"/>
                    <a:pt x="3179305" y="513662"/>
                  </a:cubicBezTo>
                  <a:cubicBezTo>
                    <a:pt x="3135432" y="600253"/>
                    <a:pt x="3069623" y="676453"/>
                    <a:pt x="2985341" y="776898"/>
                  </a:cubicBezTo>
                  <a:cubicBezTo>
                    <a:pt x="2901059" y="877343"/>
                    <a:pt x="2786759" y="976635"/>
                    <a:pt x="2673614" y="1116335"/>
                  </a:cubicBezTo>
                  <a:cubicBezTo>
                    <a:pt x="2560469" y="1256035"/>
                    <a:pt x="2421922" y="1438453"/>
                    <a:pt x="2306468" y="1615098"/>
                  </a:cubicBezTo>
                  <a:cubicBezTo>
                    <a:pt x="2191014" y="1791743"/>
                    <a:pt x="2057087" y="2043434"/>
                    <a:pt x="1980887" y="2176207"/>
                  </a:cubicBezTo>
                  <a:cubicBezTo>
                    <a:pt x="1904687" y="2308980"/>
                    <a:pt x="1880442" y="2359780"/>
                    <a:pt x="1849269" y="2411735"/>
                  </a:cubicBezTo>
                  <a:cubicBezTo>
                    <a:pt x="1818096" y="2463690"/>
                    <a:pt x="1818095" y="2475235"/>
                    <a:pt x="1793850" y="2487935"/>
                  </a:cubicBezTo>
                  <a:cubicBezTo>
                    <a:pt x="1769605" y="2500635"/>
                    <a:pt x="1703796" y="2487935"/>
                    <a:pt x="1703796" y="2487935"/>
                  </a:cubicBezTo>
                  <a:cubicBezTo>
                    <a:pt x="1587187" y="2483317"/>
                    <a:pt x="1296241" y="2464844"/>
                    <a:pt x="1094196" y="2460226"/>
                  </a:cubicBezTo>
                  <a:cubicBezTo>
                    <a:pt x="892151" y="2455608"/>
                    <a:pt x="631223" y="2457917"/>
                    <a:pt x="491523" y="2460226"/>
                  </a:cubicBezTo>
                  <a:cubicBezTo>
                    <a:pt x="351823" y="2462535"/>
                    <a:pt x="326423" y="2452144"/>
                    <a:pt x="255996" y="2474080"/>
                  </a:cubicBezTo>
                  <a:cubicBezTo>
                    <a:pt x="185569" y="2496016"/>
                    <a:pt x="110523" y="2546817"/>
                    <a:pt x="68959" y="2591844"/>
                  </a:cubicBezTo>
                  <a:cubicBezTo>
                    <a:pt x="27395" y="2636871"/>
                    <a:pt x="15850" y="2694599"/>
                    <a:pt x="6614" y="2744244"/>
                  </a:cubicBezTo>
                  <a:cubicBezTo>
                    <a:pt x="-2622" y="2793889"/>
                    <a:pt x="-3777" y="2862008"/>
                    <a:pt x="13541" y="2889717"/>
                  </a:cubicBezTo>
                  <a:cubicBezTo>
                    <a:pt x="30859" y="2917426"/>
                    <a:pt x="-51113" y="2893180"/>
                    <a:pt x="110523" y="2910498"/>
                  </a:cubicBezTo>
                  <a:cubicBezTo>
                    <a:pt x="272159" y="2927816"/>
                    <a:pt x="775541" y="2972844"/>
                    <a:pt x="983359" y="2993626"/>
                  </a:cubicBezTo>
                  <a:cubicBezTo>
                    <a:pt x="1191177" y="3014408"/>
                    <a:pt x="1248905" y="3024798"/>
                    <a:pt x="1357432" y="3035189"/>
                  </a:cubicBezTo>
                  <a:cubicBezTo>
                    <a:pt x="1465959" y="3045580"/>
                    <a:pt x="1550241" y="3050775"/>
                    <a:pt x="1634523" y="3055971"/>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92" name="Freeform: Shape 291"/>
            <p:cNvSpPr/>
            <p:nvPr/>
          </p:nvSpPr>
          <p:spPr bwMode="auto">
            <a:xfrm>
              <a:off x="6584045" y="1928341"/>
              <a:ext cx="186929" cy="298376"/>
            </a:xfrm>
            <a:custGeom>
              <a:avLst/>
              <a:gdLst>
                <a:gd name="connsiteX0" fmla="*/ 42145 w 552240"/>
                <a:gd name="connsiteY0" fmla="*/ 820135 h 884678"/>
                <a:gd name="connsiteX1" fmla="*/ 312309 w 552240"/>
                <a:gd name="connsiteY1" fmla="*/ 875553 h 884678"/>
                <a:gd name="connsiteX2" fmla="*/ 492418 w 552240"/>
                <a:gd name="connsiteY2" fmla="*/ 868626 h 884678"/>
                <a:gd name="connsiteX3" fmla="*/ 547836 w 552240"/>
                <a:gd name="connsiteY3" fmla="*/ 723153 h 884678"/>
                <a:gd name="connsiteX4" fmla="*/ 540909 w 552240"/>
                <a:gd name="connsiteY4" fmla="*/ 418353 h 884678"/>
                <a:gd name="connsiteX5" fmla="*/ 478563 w 552240"/>
                <a:gd name="connsiteY5" fmla="*/ 85844 h 884678"/>
                <a:gd name="connsiteX6" fmla="*/ 388509 w 552240"/>
                <a:gd name="connsiteY6" fmla="*/ 16571 h 884678"/>
                <a:gd name="connsiteX7" fmla="*/ 215327 w 552240"/>
                <a:gd name="connsiteY7" fmla="*/ 2717 h 884678"/>
                <a:gd name="connsiteX8" fmla="*/ 152981 w 552240"/>
                <a:gd name="connsiteY8" fmla="*/ 58135 h 884678"/>
                <a:gd name="connsiteX9" fmla="*/ 97563 w 552240"/>
                <a:gd name="connsiteY9" fmla="*/ 286735 h 884678"/>
                <a:gd name="connsiteX10" fmla="*/ 7509 w 552240"/>
                <a:gd name="connsiteY10" fmla="*/ 640026 h 884678"/>
                <a:gd name="connsiteX11" fmla="*/ 7509 w 552240"/>
                <a:gd name="connsiteY11" fmla="*/ 771644 h 884678"/>
                <a:gd name="connsiteX12" fmla="*/ 42145 w 552240"/>
                <a:gd name="connsiteY12" fmla="*/ 820135 h 884678"/>
                <a:gd name="connsiteX0" fmla="*/ 42145 w 552550"/>
                <a:gd name="connsiteY0" fmla="*/ 820762 h 885305"/>
                <a:gd name="connsiteX1" fmla="*/ 312309 w 552550"/>
                <a:gd name="connsiteY1" fmla="*/ 876180 h 885305"/>
                <a:gd name="connsiteX2" fmla="*/ 492418 w 552550"/>
                <a:gd name="connsiteY2" fmla="*/ 869253 h 885305"/>
                <a:gd name="connsiteX3" fmla="*/ 547836 w 552550"/>
                <a:gd name="connsiteY3" fmla="*/ 723780 h 885305"/>
                <a:gd name="connsiteX4" fmla="*/ 540909 w 552550"/>
                <a:gd name="connsiteY4" fmla="*/ 418980 h 885305"/>
                <a:gd name="connsiteX5" fmla="*/ 471635 w 552550"/>
                <a:gd name="connsiteY5" fmla="*/ 107252 h 885305"/>
                <a:gd name="connsiteX6" fmla="*/ 388509 w 552550"/>
                <a:gd name="connsiteY6" fmla="*/ 17198 h 885305"/>
                <a:gd name="connsiteX7" fmla="*/ 215327 w 552550"/>
                <a:gd name="connsiteY7" fmla="*/ 3344 h 885305"/>
                <a:gd name="connsiteX8" fmla="*/ 152981 w 552550"/>
                <a:gd name="connsiteY8" fmla="*/ 58762 h 885305"/>
                <a:gd name="connsiteX9" fmla="*/ 97563 w 552550"/>
                <a:gd name="connsiteY9" fmla="*/ 287362 h 885305"/>
                <a:gd name="connsiteX10" fmla="*/ 7509 w 552550"/>
                <a:gd name="connsiteY10" fmla="*/ 640653 h 885305"/>
                <a:gd name="connsiteX11" fmla="*/ 7509 w 552550"/>
                <a:gd name="connsiteY11" fmla="*/ 772271 h 885305"/>
                <a:gd name="connsiteX12" fmla="*/ 42145 w 552550"/>
                <a:gd name="connsiteY12" fmla="*/ 820762 h 885305"/>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98899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 name="connsiteX0" fmla="*/ 57336 w 553886"/>
                <a:gd name="connsiteY0" fmla="*/ 841544 h 884114"/>
                <a:gd name="connsiteX1" fmla="*/ 313645 w 553886"/>
                <a:gd name="connsiteY1" fmla="*/ 876180 h 884114"/>
                <a:gd name="connsiteX2" fmla="*/ 493754 w 553886"/>
                <a:gd name="connsiteY2" fmla="*/ 869253 h 884114"/>
                <a:gd name="connsiteX3" fmla="*/ 549172 w 553886"/>
                <a:gd name="connsiteY3" fmla="*/ 723780 h 884114"/>
                <a:gd name="connsiteX4" fmla="*/ 542245 w 553886"/>
                <a:gd name="connsiteY4" fmla="*/ 418980 h 884114"/>
                <a:gd name="connsiteX5" fmla="*/ 472971 w 553886"/>
                <a:gd name="connsiteY5" fmla="*/ 107252 h 884114"/>
                <a:gd name="connsiteX6" fmla="*/ 389845 w 553886"/>
                <a:gd name="connsiteY6" fmla="*/ 17198 h 884114"/>
                <a:gd name="connsiteX7" fmla="*/ 216663 w 553886"/>
                <a:gd name="connsiteY7" fmla="*/ 3344 h 884114"/>
                <a:gd name="connsiteX8" fmla="*/ 154317 w 553886"/>
                <a:gd name="connsiteY8" fmla="*/ 58762 h 884114"/>
                <a:gd name="connsiteX9" fmla="*/ 85044 w 553886"/>
                <a:gd name="connsiteY9" fmla="*/ 287362 h 884114"/>
                <a:gd name="connsiteX10" fmla="*/ 8845 w 553886"/>
                <a:gd name="connsiteY10" fmla="*/ 640653 h 884114"/>
                <a:gd name="connsiteX11" fmla="*/ 8845 w 553886"/>
                <a:gd name="connsiteY11" fmla="*/ 772271 h 884114"/>
                <a:gd name="connsiteX12" fmla="*/ 57336 w 553886"/>
                <a:gd name="connsiteY12" fmla="*/ 841544 h 88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886" h="884114">
                  <a:moveTo>
                    <a:pt x="57336" y="841544"/>
                  </a:moveTo>
                  <a:cubicBezTo>
                    <a:pt x="108136" y="858862"/>
                    <a:pt x="240909" y="871562"/>
                    <a:pt x="313645" y="876180"/>
                  </a:cubicBezTo>
                  <a:cubicBezTo>
                    <a:pt x="386381" y="880798"/>
                    <a:pt x="454500" y="894653"/>
                    <a:pt x="493754" y="869253"/>
                  </a:cubicBezTo>
                  <a:cubicBezTo>
                    <a:pt x="533009" y="843853"/>
                    <a:pt x="541090" y="798825"/>
                    <a:pt x="549172" y="723780"/>
                  </a:cubicBezTo>
                  <a:cubicBezTo>
                    <a:pt x="557254" y="648735"/>
                    <a:pt x="554945" y="521735"/>
                    <a:pt x="542245" y="418980"/>
                  </a:cubicBezTo>
                  <a:cubicBezTo>
                    <a:pt x="529545" y="316225"/>
                    <a:pt x="498371" y="174216"/>
                    <a:pt x="472971" y="107252"/>
                  </a:cubicBezTo>
                  <a:cubicBezTo>
                    <a:pt x="447571" y="40288"/>
                    <a:pt x="432563" y="34516"/>
                    <a:pt x="389845" y="17198"/>
                  </a:cubicBezTo>
                  <a:cubicBezTo>
                    <a:pt x="347127" y="-120"/>
                    <a:pt x="255918" y="-3583"/>
                    <a:pt x="216663" y="3344"/>
                  </a:cubicBezTo>
                  <a:cubicBezTo>
                    <a:pt x="177408" y="10271"/>
                    <a:pt x="176253" y="11426"/>
                    <a:pt x="154317" y="58762"/>
                  </a:cubicBezTo>
                  <a:cubicBezTo>
                    <a:pt x="132381" y="106098"/>
                    <a:pt x="109289" y="190380"/>
                    <a:pt x="85044" y="287362"/>
                  </a:cubicBezTo>
                  <a:cubicBezTo>
                    <a:pt x="60799" y="384344"/>
                    <a:pt x="23854" y="559835"/>
                    <a:pt x="8845" y="640653"/>
                  </a:cubicBezTo>
                  <a:cubicBezTo>
                    <a:pt x="-6164" y="721471"/>
                    <a:pt x="763" y="738789"/>
                    <a:pt x="8845" y="772271"/>
                  </a:cubicBezTo>
                  <a:cubicBezTo>
                    <a:pt x="16927" y="805753"/>
                    <a:pt x="6536" y="824226"/>
                    <a:pt x="57336" y="84154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93" name="Freeform: Shape 292"/>
            <p:cNvSpPr/>
            <p:nvPr/>
          </p:nvSpPr>
          <p:spPr bwMode="auto">
            <a:xfrm>
              <a:off x="7761944" y="1965528"/>
              <a:ext cx="206759" cy="193090"/>
            </a:xfrm>
            <a:custGeom>
              <a:avLst/>
              <a:gdLst>
                <a:gd name="connsiteX0" fmla="*/ 457897 w 589515"/>
                <a:gd name="connsiteY0" fmla="*/ 557554 h 571523"/>
                <a:gd name="connsiteX1" fmla="*/ 153097 w 589515"/>
                <a:gd name="connsiteY1" fmla="*/ 571409 h 571523"/>
                <a:gd name="connsiteX2" fmla="*/ 49187 w 589515"/>
                <a:gd name="connsiteY2" fmla="*/ 557554 h 571523"/>
                <a:gd name="connsiteX3" fmla="*/ 697 w 589515"/>
                <a:gd name="connsiteY3" fmla="*/ 474427 h 571523"/>
                <a:gd name="connsiteX4" fmla="*/ 21478 w 589515"/>
                <a:gd name="connsiteY4" fmla="*/ 183481 h 571523"/>
                <a:gd name="connsiteX5" fmla="*/ 35333 w 589515"/>
                <a:gd name="connsiteY5" fmla="*/ 24154 h 571523"/>
                <a:gd name="connsiteX6" fmla="*/ 180806 w 589515"/>
                <a:gd name="connsiteY6" fmla="*/ 3372 h 571523"/>
                <a:gd name="connsiteX7" fmla="*/ 402478 w 589515"/>
                <a:gd name="connsiteY7" fmla="*/ 51863 h 571523"/>
                <a:gd name="connsiteX8" fmla="*/ 513315 w 589515"/>
                <a:gd name="connsiteY8" fmla="*/ 218118 h 571523"/>
                <a:gd name="connsiteX9" fmla="*/ 589515 w 589515"/>
                <a:gd name="connsiteY9" fmla="*/ 377445 h 571523"/>
                <a:gd name="connsiteX0" fmla="*/ 466950 w 598568"/>
                <a:gd name="connsiteY0" fmla="*/ 558173 h 572142"/>
                <a:gd name="connsiteX1" fmla="*/ 162150 w 598568"/>
                <a:gd name="connsiteY1" fmla="*/ 572028 h 572142"/>
                <a:gd name="connsiteX2" fmla="*/ 58240 w 598568"/>
                <a:gd name="connsiteY2" fmla="*/ 558173 h 572142"/>
                <a:gd name="connsiteX3" fmla="*/ 9750 w 598568"/>
                <a:gd name="connsiteY3" fmla="*/ 475046 h 572142"/>
                <a:gd name="connsiteX4" fmla="*/ 2822 w 598568"/>
                <a:gd name="connsiteY4" fmla="*/ 197954 h 572142"/>
                <a:gd name="connsiteX5" fmla="*/ 44386 w 598568"/>
                <a:gd name="connsiteY5" fmla="*/ 24773 h 572142"/>
                <a:gd name="connsiteX6" fmla="*/ 189859 w 598568"/>
                <a:gd name="connsiteY6" fmla="*/ 3991 h 572142"/>
                <a:gd name="connsiteX7" fmla="*/ 411531 w 598568"/>
                <a:gd name="connsiteY7" fmla="*/ 52482 h 572142"/>
                <a:gd name="connsiteX8" fmla="*/ 522368 w 598568"/>
                <a:gd name="connsiteY8" fmla="*/ 218737 h 572142"/>
                <a:gd name="connsiteX9" fmla="*/ 598568 w 598568"/>
                <a:gd name="connsiteY9" fmla="*/ 378064 h 572142"/>
                <a:gd name="connsiteX0" fmla="*/ 481027 w 612645"/>
                <a:gd name="connsiteY0" fmla="*/ 558173 h 572142"/>
                <a:gd name="connsiteX1" fmla="*/ 176227 w 612645"/>
                <a:gd name="connsiteY1" fmla="*/ 572028 h 572142"/>
                <a:gd name="connsiteX2" fmla="*/ 72317 w 612645"/>
                <a:gd name="connsiteY2" fmla="*/ 558173 h 572142"/>
                <a:gd name="connsiteX3" fmla="*/ 3045 w 612645"/>
                <a:gd name="connsiteY3" fmla="*/ 475046 h 572142"/>
                <a:gd name="connsiteX4" fmla="*/ 16899 w 612645"/>
                <a:gd name="connsiteY4" fmla="*/ 197954 h 572142"/>
                <a:gd name="connsiteX5" fmla="*/ 58463 w 612645"/>
                <a:gd name="connsiteY5" fmla="*/ 24773 h 572142"/>
                <a:gd name="connsiteX6" fmla="*/ 203936 w 612645"/>
                <a:gd name="connsiteY6" fmla="*/ 3991 h 572142"/>
                <a:gd name="connsiteX7" fmla="*/ 425608 w 612645"/>
                <a:gd name="connsiteY7" fmla="*/ 52482 h 572142"/>
                <a:gd name="connsiteX8" fmla="*/ 536445 w 612645"/>
                <a:gd name="connsiteY8" fmla="*/ 218737 h 572142"/>
                <a:gd name="connsiteX9" fmla="*/ 612645 w 612645"/>
                <a:gd name="connsiteY9" fmla="*/ 378064 h 57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2645" h="572142">
                  <a:moveTo>
                    <a:pt x="481027" y="558173"/>
                  </a:moveTo>
                  <a:cubicBezTo>
                    <a:pt x="362686" y="565100"/>
                    <a:pt x="244345" y="572028"/>
                    <a:pt x="176227" y="572028"/>
                  </a:cubicBezTo>
                  <a:cubicBezTo>
                    <a:pt x="108109" y="572028"/>
                    <a:pt x="101181" y="574337"/>
                    <a:pt x="72317" y="558173"/>
                  </a:cubicBezTo>
                  <a:cubicBezTo>
                    <a:pt x="43453" y="542009"/>
                    <a:pt x="12281" y="535082"/>
                    <a:pt x="3045" y="475046"/>
                  </a:cubicBezTo>
                  <a:cubicBezTo>
                    <a:pt x="-6191" y="415010"/>
                    <a:pt x="7663" y="273000"/>
                    <a:pt x="16899" y="197954"/>
                  </a:cubicBezTo>
                  <a:cubicBezTo>
                    <a:pt x="26135" y="122909"/>
                    <a:pt x="27290" y="57100"/>
                    <a:pt x="58463" y="24773"/>
                  </a:cubicBezTo>
                  <a:cubicBezTo>
                    <a:pt x="89636" y="-7554"/>
                    <a:pt x="142745" y="-627"/>
                    <a:pt x="203936" y="3991"/>
                  </a:cubicBezTo>
                  <a:cubicBezTo>
                    <a:pt x="265127" y="8609"/>
                    <a:pt x="370190" y="16691"/>
                    <a:pt x="425608" y="52482"/>
                  </a:cubicBezTo>
                  <a:cubicBezTo>
                    <a:pt x="481026" y="88273"/>
                    <a:pt x="505272" y="164473"/>
                    <a:pt x="536445" y="218737"/>
                  </a:cubicBezTo>
                  <a:cubicBezTo>
                    <a:pt x="567618" y="273001"/>
                    <a:pt x="590131" y="325532"/>
                    <a:pt x="612645" y="3780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94" name="Freeform: Shape 293"/>
            <p:cNvSpPr/>
            <p:nvPr/>
          </p:nvSpPr>
          <p:spPr bwMode="auto">
            <a:xfrm>
              <a:off x="4385028" y="3499088"/>
              <a:ext cx="2848808" cy="43502"/>
            </a:xfrm>
            <a:custGeom>
              <a:avLst/>
              <a:gdLst>
                <a:gd name="connsiteX0" fmla="*/ 0 w 8458200"/>
                <a:gd name="connsiteY0" fmla="*/ 110095 h 110095"/>
                <a:gd name="connsiteX1" fmla="*/ 3953933 w 8458200"/>
                <a:gd name="connsiteY1" fmla="*/ 28 h 110095"/>
                <a:gd name="connsiteX2" fmla="*/ 8458200 w 8458200"/>
                <a:gd name="connsiteY2" fmla="*/ 101628 h 110095"/>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58200"/>
                <a:gd name="connsiteY0" fmla="*/ 110067 h 110067"/>
                <a:gd name="connsiteX1" fmla="*/ 3953933 w 8458200"/>
                <a:gd name="connsiteY1" fmla="*/ 0 h 110067"/>
                <a:gd name="connsiteX2" fmla="*/ 8458200 w 8458200"/>
                <a:gd name="connsiteY2" fmla="*/ 101600 h 110067"/>
                <a:gd name="connsiteX0" fmla="*/ 0 w 8441266"/>
                <a:gd name="connsiteY0" fmla="*/ 147705 h 147705"/>
                <a:gd name="connsiteX1" fmla="*/ 3936999 w 8441266"/>
                <a:gd name="connsiteY1" fmla="*/ 3772 h 147705"/>
                <a:gd name="connsiteX2" fmla="*/ 8441266 w 8441266"/>
                <a:gd name="connsiteY2" fmla="*/ 105372 h 147705"/>
                <a:gd name="connsiteX0" fmla="*/ 0 w 8441266"/>
                <a:gd name="connsiteY0" fmla="*/ 128901 h 128901"/>
                <a:gd name="connsiteX1" fmla="*/ 3936999 w 8441266"/>
                <a:gd name="connsiteY1" fmla="*/ 10368 h 128901"/>
                <a:gd name="connsiteX2" fmla="*/ 8441266 w 8441266"/>
                <a:gd name="connsiteY2" fmla="*/ 86568 h 128901"/>
              </a:gdLst>
              <a:ahLst/>
              <a:cxnLst>
                <a:cxn ang="0">
                  <a:pos x="connsiteX0" y="connsiteY0"/>
                </a:cxn>
                <a:cxn ang="0">
                  <a:pos x="connsiteX1" y="connsiteY1"/>
                </a:cxn>
                <a:cxn ang="0">
                  <a:pos x="connsiteX2" y="connsiteY2"/>
                </a:cxn>
              </a:cxnLst>
              <a:rect l="l" t="t" r="r" b="b"/>
              <a:pathLst>
                <a:path w="8441266" h="128901">
                  <a:moveTo>
                    <a:pt x="0" y="128901"/>
                  </a:moveTo>
                  <a:cubicBezTo>
                    <a:pt x="1272116" y="74573"/>
                    <a:pt x="2530121" y="17424"/>
                    <a:pt x="3936999" y="10368"/>
                  </a:cubicBezTo>
                  <a:cubicBezTo>
                    <a:pt x="5343877" y="3312"/>
                    <a:pt x="6939844" y="-31966"/>
                    <a:pt x="8441266" y="8656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cxnSp>
          <p:nvCxnSpPr>
            <p:cNvPr id="295" name="Straight Connector 294"/>
            <p:cNvCxnSpPr/>
            <p:nvPr/>
          </p:nvCxnSpPr>
          <p:spPr>
            <a:xfrm flipV="1">
              <a:off x="4323776" y="3542590"/>
              <a:ext cx="2952922" cy="25717"/>
            </a:xfrm>
            <a:prstGeom prst="line">
              <a:avLst/>
            </a:prstGeom>
            <a:noFill/>
            <a:ln w="9525" cap="rnd" cmpd="sng" algn="ctr">
              <a:solidFill>
                <a:schemeClr val="bg1">
                  <a:lumMod val="50000"/>
                </a:schemeClr>
              </a:solidFill>
              <a:prstDash val="solid"/>
              <a:headEnd type="none"/>
              <a:tailEnd type="none"/>
            </a:ln>
            <a:effectLst/>
          </p:spPr>
        </p:cxnSp>
        <p:sp>
          <p:nvSpPr>
            <p:cNvPr id="296" name="Freeform: Shape 295"/>
            <p:cNvSpPr/>
            <p:nvPr/>
          </p:nvSpPr>
          <p:spPr bwMode="auto">
            <a:xfrm>
              <a:off x="4639335" y="2730282"/>
              <a:ext cx="4006055" cy="706585"/>
            </a:xfrm>
            <a:custGeom>
              <a:avLst/>
              <a:gdLst>
                <a:gd name="connsiteX0" fmla="*/ 0 w 11870537"/>
                <a:gd name="connsiteY0" fmla="*/ 1585830 h 2093830"/>
                <a:gd name="connsiteX1" fmla="*/ 1617133 w 11870537"/>
                <a:gd name="connsiteY1" fmla="*/ 1645097 h 2093830"/>
                <a:gd name="connsiteX2" fmla="*/ 3843866 w 11870537"/>
                <a:gd name="connsiteY2" fmla="*/ 1585830 h 2093830"/>
                <a:gd name="connsiteX3" fmla="*/ 5190066 w 11870537"/>
                <a:gd name="connsiteY3" fmla="*/ 1501164 h 2093830"/>
                <a:gd name="connsiteX4" fmla="*/ 6663266 w 11870537"/>
                <a:gd name="connsiteY4" fmla="*/ 1382630 h 2093830"/>
                <a:gd name="connsiteX5" fmla="*/ 7704666 w 11870537"/>
                <a:gd name="connsiteY5" fmla="*/ 1289497 h 2093830"/>
                <a:gd name="connsiteX6" fmla="*/ 7806266 w 11870537"/>
                <a:gd name="connsiteY6" fmla="*/ 1272564 h 2093830"/>
                <a:gd name="connsiteX7" fmla="*/ 7924800 w 11870537"/>
                <a:gd name="connsiteY7" fmla="*/ 1137097 h 2093830"/>
                <a:gd name="connsiteX8" fmla="*/ 8161866 w 11870537"/>
                <a:gd name="connsiteY8" fmla="*/ 798430 h 2093830"/>
                <a:gd name="connsiteX9" fmla="*/ 8525933 w 11870537"/>
                <a:gd name="connsiteY9" fmla="*/ 476697 h 2093830"/>
                <a:gd name="connsiteX10" fmla="*/ 9110133 w 11870537"/>
                <a:gd name="connsiteY10" fmla="*/ 112630 h 2093830"/>
                <a:gd name="connsiteX11" fmla="*/ 9787466 w 11870537"/>
                <a:gd name="connsiteY11" fmla="*/ 2564 h 2093830"/>
                <a:gd name="connsiteX12" fmla="*/ 10718800 w 11870537"/>
                <a:gd name="connsiteY12" fmla="*/ 197297 h 2093830"/>
                <a:gd name="connsiteX13" fmla="*/ 11125200 w 11870537"/>
                <a:gd name="connsiteY13" fmla="*/ 493630 h 2093830"/>
                <a:gd name="connsiteX14" fmla="*/ 11557000 w 11870537"/>
                <a:gd name="connsiteY14" fmla="*/ 967764 h 2093830"/>
                <a:gd name="connsiteX15" fmla="*/ 11760200 w 11870537"/>
                <a:gd name="connsiteY15" fmla="*/ 1416497 h 2093830"/>
                <a:gd name="connsiteX16" fmla="*/ 11853333 w 11870537"/>
                <a:gd name="connsiteY16" fmla="*/ 1763630 h 2093830"/>
                <a:gd name="connsiteX17" fmla="*/ 11870266 w 11870537"/>
                <a:gd name="connsiteY17" fmla="*/ 2093830 h 2093830"/>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718800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57000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537"/>
                <a:gd name="connsiteY0" fmla="*/ 1585673 h 2093673"/>
                <a:gd name="connsiteX1" fmla="*/ 1617133 w 11870537"/>
                <a:gd name="connsiteY1" fmla="*/ 1644940 h 2093673"/>
                <a:gd name="connsiteX2" fmla="*/ 3843866 w 11870537"/>
                <a:gd name="connsiteY2" fmla="*/ 1585673 h 2093673"/>
                <a:gd name="connsiteX3" fmla="*/ 5190066 w 11870537"/>
                <a:gd name="connsiteY3" fmla="*/ 1501007 h 2093673"/>
                <a:gd name="connsiteX4" fmla="*/ 6663266 w 11870537"/>
                <a:gd name="connsiteY4" fmla="*/ 1382473 h 2093673"/>
                <a:gd name="connsiteX5" fmla="*/ 7704666 w 11870537"/>
                <a:gd name="connsiteY5" fmla="*/ 1289340 h 2093673"/>
                <a:gd name="connsiteX6" fmla="*/ 7806266 w 11870537"/>
                <a:gd name="connsiteY6" fmla="*/ 1272407 h 2093673"/>
                <a:gd name="connsiteX7" fmla="*/ 7924800 w 11870537"/>
                <a:gd name="connsiteY7" fmla="*/ 1136940 h 2093673"/>
                <a:gd name="connsiteX8" fmla="*/ 8161866 w 11870537"/>
                <a:gd name="connsiteY8" fmla="*/ 798273 h 2093673"/>
                <a:gd name="connsiteX9" fmla="*/ 8517466 w 11870537"/>
                <a:gd name="connsiteY9" fmla="*/ 451140 h 2093673"/>
                <a:gd name="connsiteX10" fmla="*/ 9110133 w 11870537"/>
                <a:gd name="connsiteY10" fmla="*/ 112473 h 2093673"/>
                <a:gd name="connsiteX11" fmla="*/ 9787466 w 11870537"/>
                <a:gd name="connsiteY11" fmla="*/ 2407 h 2093673"/>
                <a:gd name="connsiteX12" fmla="*/ 10676467 w 11870537"/>
                <a:gd name="connsiteY12" fmla="*/ 197140 h 2093673"/>
                <a:gd name="connsiteX13" fmla="*/ 11125200 w 11870537"/>
                <a:gd name="connsiteY13" fmla="*/ 493473 h 2093673"/>
                <a:gd name="connsiteX14" fmla="*/ 11548534 w 11870537"/>
                <a:gd name="connsiteY14" fmla="*/ 967607 h 2093673"/>
                <a:gd name="connsiteX15" fmla="*/ 11760200 w 11870537"/>
                <a:gd name="connsiteY15" fmla="*/ 1416340 h 2093673"/>
                <a:gd name="connsiteX16" fmla="*/ 11853333 w 11870537"/>
                <a:gd name="connsiteY16" fmla="*/ 1763473 h 2093673"/>
                <a:gd name="connsiteX17" fmla="*/ 11870266 w 11870537"/>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8534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 name="connsiteX0" fmla="*/ 0 w 11870288"/>
                <a:gd name="connsiteY0" fmla="*/ 1585673 h 2093673"/>
                <a:gd name="connsiteX1" fmla="*/ 1617133 w 11870288"/>
                <a:gd name="connsiteY1" fmla="*/ 1644940 h 2093673"/>
                <a:gd name="connsiteX2" fmla="*/ 3843866 w 11870288"/>
                <a:gd name="connsiteY2" fmla="*/ 1585673 h 2093673"/>
                <a:gd name="connsiteX3" fmla="*/ 5190066 w 11870288"/>
                <a:gd name="connsiteY3" fmla="*/ 1501007 h 2093673"/>
                <a:gd name="connsiteX4" fmla="*/ 6663266 w 11870288"/>
                <a:gd name="connsiteY4" fmla="*/ 1382473 h 2093673"/>
                <a:gd name="connsiteX5" fmla="*/ 7704666 w 11870288"/>
                <a:gd name="connsiteY5" fmla="*/ 1289340 h 2093673"/>
                <a:gd name="connsiteX6" fmla="*/ 7806266 w 11870288"/>
                <a:gd name="connsiteY6" fmla="*/ 1272407 h 2093673"/>
                <a:gd name="connsiteX7" fmla="*/ 7924800 w 11870288"/>
                <a:gd name="connsiteY7" fmla="*/ 1136940 h 2093673"/>
                <a:gd name="connsiteX8" fmla="*/ 8161866 w 11870288"/>
                <a:gd name="connsiteY8" fmla="*/ 798273 h 2093673"/>
                <a:gd name="connsiteX9" fmla="*/ 8517466 w 11870288"/>
                <a:gd name="connsiteY9" fmla="*/ 451140 h 2093673"/>
                <a:gd name="connsiteX10" fmla="*/ 9110133 w 11870288"/>
                <a:gd name="connsiteY10" fmla="*/ 112473 h 2093673"/>
                <a:gd name="connsiteX11" fmla="*/ 9787466 w 11870288"/>
                <a:gd name="connsiteY11" fmla="*/ 2407 h 2093673"/>
                <a:gd name="connsiteX12" fmla="*/ 10676467 w 11870288"/>
                <a:gd name="connsiteY12" fmla="*/ 197140 h 2093673"/>
                <a:gd name="connsiteX13" fmla="*/ 11125200 w 11870288"/>
                <a:gd name="connsiteY13" fmla="*/ 493473 h 2093673"/>
                <a:gd name="connsiteX14" fmla="*/ 11540067 w 11870288"/>
                <a:gd name="connsiteY14" fmla="*/ 967607 h 2093673"/>
                <a:gd name="connsiteX15" fmla="*/ 11760200 w 11870288"/>
                <a:gd name="connsiteY15" fmla="*/ 1416340 h 2093673"/>
                <a:gd name="connsiteX16" fmla="*/ 11836400 w 11870288"/>
                <a:gd name="connsiteY16" fmla="*/ 1755006 h 2093673"/>
                <a:gd name="connsiteX17" fmla="*/ 11870266 w 11870288"/>
                <a:gd name="connsiteY17" fmla="*/ 2093673 h 209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70288" h="2093673">
                  <a:moveTo>
                    <a:pt x="0" y="1585673"/>
                  </a:moveTo>
                  <a:cubicBezTo>
                    <a:pt x="488244" y="1615306"/>
                    <a:pt x="976489" y="1644940"/>
                    <a:pt x="1617133" y="1644940"/>
                  </a:cubicBezTo>
                  <a:cubicBezTo>
                    <a:pt x="2257777" y="1644940"/>
                    <a:pt x="3248377" y="1609662"/>
                    <a:pt x="3843866" y="1585673"/>
                  </a:cubicBezTo>
                  <a:cubicBezTo>
                    <a:pt x="4439355" y="1561684"/>
                    <a:pt x="5190066" y="1501007"/>
                    <a:pt x="5190066" y="1501007"/>
                  </a:cubicBezTo>
                  <a:lnTo>
                    <a:pt x="6663266" y="1382473"/>
                  </a:lnTo>
                  <a:lnTo>
                    <a:pt x="7704666" y="1289340"/>
                  </a:lnTo>
                  <a:cubicBezTo>
                    <a:pt x="7895166" y="1270996"/>
                    <a:pt x="7769577" y="1297807"/>
                    <a:pt x="7806266" y="1272407"/>
                  </a:cubicBezTo>
                  <a:cubicBezTo>
                    <a:pt x="7842955" y="1247007"/>
                    <a:pt x="7865533" y="1215962"/>
                    <a:pt x="7924800" y="1136940"/>
                  </a:cubicBezTo>
                  <a:cubicBezTo>
                    <a:pt x="7984067" y="1057918"/>
                    <a:pt x="8063088" y="912573"/>
                    <a:pt x="8161866" y="798273"/>
                  </a:cubicBezTo>
                  <a:cubicBezTo>
                    <a:pt x="8260644" y="683973"/>
                    <a:pt x="8359422" y="565440"/>
                    <a:pt x="8517466" y="451140"/>
                  </a:cubicBezTo>
                  <a:cubicBezTo>
                    <a:pt x="8675510" y="336840"/>
                    <a:pt x="8898466" y="187262"/>
                    <a:pt x="9110133" y="112473"/>
                  </a:cubicBezTo>
                  <a:cubicBezTo>
                    <a:pt x="9321800" y="37684"/>
                    <a:pt x="9526410" y="-11704"/>
                    <a:pt x="9787466" y="2407"/>
                  </a:cubicBezTo>
                  <a:cubicBezTo>
                    <a:pt x="10048522" y="16518"/>
                    <a:pt x="10461978" y="98363"/>
                    <a:pt x="10676467" y="197140"/>
                  </a:cubicBezTo>
                  <a:cubicBezTo>
                    <a:pt x="10890956" y="295917"/>
                    <a:pt x="10981267" y="365062"/>
                    <a:pt x="11125200" y="493473"/>
                  </a:cubicBezTo>
                  <a:cubicBezTo>
                    <a:pt x="11269133" y="621884"/>
                    <a:pt x="11434234" y="813796"/>
                    <a:pt x="11540067" y="967607"/>
                  </a:cubicBezTo>
                  <a:cubicBezTo>
                    <a:pt x="11645900" y="1121418"/>
                    <a:pt x="11710811" y="1285107"/>
                    <a:pt x="11760200" y="1416340"/>
                  </a:cubicBezTo>
                  <a:cubicBezTo>
                    <a:pt x="11809589" y="1547573"/>
                    <a:pt x="11818056" y="1642117"/>
                    <a:pt x="11836400" y="1755006"/>
                  </a:cubicBezTo>
                  <a:cubicBezTo>
                    <a:pt x="11854744" y="1867895"/>
                    <a:pt x="11870971" y="1985017"/>
                    <a:pt x="11870266" y="209367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97" name="Freeform: Shape 296"/>
            <p:cNvSpPr/>
            <p:nvPr/>
          </p:nvSpPr>
          <p:spPr bwMode="auto">
            <a:xfrm>
              <a:off x="8879688" y="3308091"/>
              <a:ext cx="288595" cy="40197"/>
            </a:xfrm>
            <a:custGeom>
              <a:avLst/>
              <a:gdLst>
                <a:gd name="connsiteX0" fmla="*/ 0 w 855133"/>
                <a:gd name="connsiteY0" fmla="*/ 116336 h 116336"/>
                <a:gd name="connsiteX1" fmla="*/ 448733 w 855133"/>
                <a:gd name="connsiteY1" fmla="*/ 6269 h 116336"/>
                <a:gd name="connsiteX2" fmla="*/ 855133 w 855133"/>
                <a:gd name="connsiteY2" fmla="*/ 23202 h 116336"/>
                <a:gd name="connsiteX0" fmla="*/ 0 w 855133"/>
                <a:gd name="connsiteY0" fmla="*/ 119108 h 119108"/>
                <a:gd name="connsiteX1" fmla="*/ 448733 w 855133"/>
                <a:gd name="connsiteY1" fmla="*/ 9041 h 119108"/>
                <a:gd name="connsiteX2" fmla="*/ 855133 w 855133"/>
                <a:gd name="connsiteY2" fmla="*/ 17507 h 119108"/>
              </a:gdLst>
              <a:ahLst/>
              <a:cxnLst>
                <a:cxn ang="0">
                  <a:pos x="connsiteX0" y="connsiteY0"/>
                </a:cxn>
                <a:cxn ang="0">
                  <a:pos x="connsiteX1" y="connsiteY1"/>
                </a:cxn>
                <a:cxn ang="0">
                  <a:pos x="connsiteX2" y="connsiteY2"/>
                </a:cxn>
              </a:cxnLst>
              <a:rect l="l" t="t" r="r" b="b"/>
              <a:pathLst>
                <a:path w="855133" h="119108">
                  <a:moveTo>
                    <a:pt x="0" y="119108"/>
                  </a:moveTo>
                  <a:cubicBezTo>
                    <a:pt x="153105" y="71835"/>
                    <a:pt x="306211" y="25974"/>
                    <a:pt x="448733" y="9041"/>
                  </a:cubicBezTo>
                  <a:cubicBezTo>
                    <a:pt x="591255" y="-7892"/>
                    <a:pt x="723194" y="1279"/>
                    <a:pt x="855133" y="1750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298" name="Oval 297"/>
            <p:cNvSpPr/>
            <p:nvPr/>
          </p:nvSpPr>
          <p:spPr bwMode="auto">
            <a:xfrm>
              <a:off x="7547029" y="2975359"/>
              <a:ext cx="776357" cy="776356"/>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299" name="Freeform: Shape 298"/>
            <p:cNvSpPr/>
            <p:nvPr/>
          </p:nvSpPr>
          <p:spPr bwMode="auto">
            <a:xfrm>
              <a:off x="7640607" y="3077565"/>
              <a:ext cx="589122" cy="579980"/>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00" name="Freeform: Shape 299"/>
            <p:cNvSpPr/>
            <p:nvPr/>
          </p:nvSpPr>
          <p:spPr bwMode="auto">
            <a:xfrm>
              <a:off x="7566244" y="2986778"/>
              <a:ext cx="738326" cy="711139"/>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01" name="Oval 300"/>
            <p:cNvSpPr/>
            <p:nvPr/>
          </p:nvSpPr>
          <p:spPr bwMode="auto">
            <a:xfrm>
              <a:off x="7851929"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02" name="Oval 301"/>
            <p:cNvSpPr/>
            <p:nvPr/>
          </p:nvSpPr>
          <p:spPr bwMode="auto">
            <a:xfrm>
              <a:off x="8002797"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03" name="Oval 302"/>
            <p:cNvSpPr/>
            <p:nvPr/>
          </p:nvSpPr>
          <p:spPr bwMode="auto">
            <a:xfrm>
              <a:off x="7817239"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04" name="Oval 303"/>
            <p:cNvSpPr/>
            <p:nvPr/>
          </p:nvSpPr>
          <p:spPr bwMode="auto">
            <a:xfrm>
              <a:off x="7968703"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7910949" y="3240503"/>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06" name="Freeform: Shape 305"/>
            <p:cNvSpPr/>
            <p:nvPr/>
          </p:nvSpPr>
          <p:spPr bwMode="auto">
            <a:xfrm>
              <a:off x="7604243" y="3012020"/>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07" name="Freeform: Shape 306"/>
            <p:cNvSpPr/>
            <p:nvPr/>
          </p:nvSpPr>
          <p:spPr bwMode="auto">
            <a:xfrm rot="4374466">
              <a:off x="7933937" y="2996944"/>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08" name="Freeform: Shape 307"/>
            <p:cNvSpPr/>
            <p:nvPr/>
          </p:nvSpPr>
          <p:spPr bwMode="auto">
            <a:xfrm rot="17319209">
              <a:off x="7518808" y="333295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09" name="Freeform: Shape 308"/>
            <p:cNvSpPr/>
            <p:nvPr/>
          </p:nvSpPr>
          <p:spPr bwMode="auto">
            <a:xfrm rot="8698688">
              <a:off x="8052533" y="3303658"/>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10" name="Freeform: Shape 309"/>
            <p:cNvSpPr/>
            <p:nvPr/>
          </p:nvSpPr>
          <p:spPr bwMode="auto">
            <a:xfrm rot="12956291">
              <a:off x="7796038" y="351074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nvGrpSpPr>
            <p:cNvPr id="311" name="Group 310"/>
            <p:cNvGrpSpPr/>
            <p:nvPr/>
          </p:nvGrpSpPr>
          <p:grpSpPr>
            <a:xfrm>
              <a:off x="7574467" y="3164176"/>
              <a:ext cx="119666" cy="202459"/>
              <a:chOff x="15588916" y="7188536"/>
              <a:chExt cx="354582" cy="599905"/>
            </a:xfrm>
          </p:grpSpPr>
          <p:sp>
            <p:nvSpPr>
              <p:cNvPr id="395" name="Freeform: Shape 394"/>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96" name="Freeform: Shape 395"/>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grpSp>
          <p:nvGrpSpPr>
            <p:cNvPr id="312" name="Group 311"/>
            <p:cNvGrpSpPr/>
            <p:nvPr/>
          </p:nvGrpSpPr>
          <p:grpSpPr>
            <a:xfrm rot="4323909">
              <a:off x="7876283" y="2944917"/>
              <a:ext cx="119666" cy="202459"/>
              <a:chOff x="15588916" y="7188536"/>
              <a:chExt cx="354582" cy="599905"/>
            </a:xfrm>
          </p:grpSpPr>
          <p:sp>
            <p:nvSpPr>
              <p:cNvPr id="393" name="Freeform: Shape 392"/>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94" name="Freeform: Shape 393"/>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grpSp>
          <p:nvGrpSpPr>
            <p:cNvPr id="313" name="Group 312"/>
            <p:cNvGrpSpPr/>
            <p:nvPr/>
          </p:nvGrpSpPr>
          <p:grpSpPr>
            <a:xfrm rot="8686591" flipH="1">
              <a:off x="7686147" y="3521466"/>
              <a:ext cx="127761" cy="198470"/>
              <a:chOff x="15588916" y="7188536"/>
              <a:chExt cx="354582" cy="599905"/>
            </a:xfrm>
          </p:grpSpPr>
          <p:sp>
            <p:nvSpPr>
              <p:cNvPr id="391" name="Freeform: Shape 390"/>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92" name="Freeform: Shape 391"/>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sp>
          <p:nvSpPr>
            <p:cNvPr id="314" name="Freeform: Shape 313"/>
            <p:cNvSpPr/>
            <p:nvPr/>
          </p:nvSpPr>
          <p:spPr bwMode="auto">
            <a:xfrm rot="4398861" flipV="1">
              <a:off x="8025316" y="3647622"/>
              <a:ext cx="56576" cy="41687"/>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15" name="Freeform: Shape 314"/>
            <p:cNvSpPr/>
            <p:nvPr/>
          </p:nvSpPr>
          <p:spPr bwMode="auto">
            <a:xfrm rot="17414756" flipV="1">
              <a:off x="8156490" y="3540962"/>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16" name="Oval 315"/>
            <p:cNvSpPr/>
            <p:nvPr/>
          </p:nvSpPr>
          <p:spPr bwMode="auto">
            <a:xfrm>
              <a:off x="7896717" y="3323557"/>
              <a:ext cx="79608" cy="79608"/>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17" name="Freeform: Shape 316"/>
            <p:cNvSpPr/>
            <p:nvPr/>
          </p:nvSpPr>
          <p:spPr bwMode="auto">
            <a:xfrm rot="12965245" flipV="1">
              <a:off x="8181489" y="315098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18" name="Freeform: Shape 317"/>
            <p:cNvSpPr/>
            <p:nvPr/>
          </p:nvSpPr>
          <p:spPr bwMode="auto">
            <a:xfrm rot="6683114">
              <a:off x="8231228" y="332125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19" name="Oval 318"/>
            <p:cNvSpPr/>
            <p:nvPr/>
          </p:nvSpPr>
          <p:spPr bwMode="auto">
            <a:xfrm>
              <a:off x="3225828" y="2975359"/>
              <a:ext cx="776357" cy="776356"/>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20" name="Freeform: Shape 319"/>
            <p:cNvSpPr/>
            <p:nvPr/>
          </p:nvSpPr>
          <p:spPr bwMode="auto">
            <a:xfrm>
              <a:off x="3319406" y="3077565"/>
              <a:ext cx="589122" cy="579980"/>
            </a:xfrm>
            <a:custGeom>
              <a:avLst/>
              <a:gdLst>
                <a:gd name="connsiteX0" fmla="*/ 884187 w 1745619"/>
                <a:gd name="connsiteY0" fmla="*/ 1276758 h 1718533"/>
                <a:gd name="connsiteX1" fmla="*/ 1055303 w 1745619"/>
                <a:gd name="connsiteY1" fmla="*/ 1428712 h 1718533"/>
                <a:gd name="connsiteX2" fmla="*/ 1187795 w 1745619"/>
                <a:gd name="connsiteY2" fmla="*/ 1625124 h 1718533"/>
                <a:gd name="connsiteX3" fmla="*/ 1205357 w 1745619"/>
                <a:gd name="connsiteY3" fmla="*/ 1652575 h 1718533"/>
                <a:gd name="connsiteX4" fmla="*/ 1132355 w 1745619"/>
                <a:gd name="connsiteY4" fmla="*/ 1679293 h 1718533"/>
                <a:gd name="connsiteX5" fmla="*/ 872809 w 1745619"/>
                <a:gd name="connsiteY5" fmla="*/ 1718533 h 1718533"/>
                <a:gd name="connsiteX6" fmla="*/ 613262 w 1745619"/>
                <a:gd name="connsiteY6" fmla="*/ 1679293 h 1718533"/>
                <a:gd name="connsiteX7" fmla="*/ 561261 w 1745619"/>
                <a:gd name="connsiteY7" fmla="*/ 1660260 h 1718533"/>
                <a:gd name="connsiteX8" fmla="*/ 562002 w 1745619"/>
                <a:gd name="connsiteY8" fmla="*/ 1659042 h 1718533"/>
                <a:gd name="connsiteX9" fmla="*/ 731341 w 1745619"/>
                <a:gd name="connsiteY9" fmla="*/ 1391726 h 1718533"/>
                <a:gd name="connsiteX10" fmla="*/ 884187 w 1745619"/>
                <a:gd name="connsiteY10" fmla="*/ 1276758 h 1718533"/>
                <a:gd name="connsiteX11" fmla="*/ 2596 w 1745619"/>
                <a:gd name="connsiteY11" fmla="*/ 794315 h 1718533"/>
                <a:gd name="connsiteX12" fmla="*/ 13123 w 1745619"/>
                <a:gd name="connsiteY12" fmla="*/ 796274 h 1718533"/>
                <a:gd name="connsiteX13" fmla="*/ 259436 w 1745619"/>
                <a:gd name="connsiteY13" fmla="*/ 852979 h 1718533"/>
                <a:gd name="connsiteX14" fmla="*/ 457735 w 1745619"/>
                <a:gd name="connsiteY14" fmla="*/ 975969 h 1718533"/>
                <a:gd name="connsiteX15" fmla="*/ 445703 w 1745619"/>
                <a:gd name="connsiteY15" fmla="*/ 1098512 h 1718533"/>
                <a:gd name="connsiteX16" fmla="*/ 234036 w 1745619"/>
                <a:gd name="connsiteY16" fmla="*/ 1386379 h 1718533"/>
                <a:gd name="connsiteX17" fmla="*/ 212738 w 1745619"/>
                <a:gd name="connsiteY17" fmla="*/ 1410895 h 1718533"/>
                <a:gd name="connsiteX18" fmla="*/ 149062 w 1745619"/>
                <a:gd name="connsiteY18" fmla="*/ 1333720 h 1718533"/>
                <a:gd name="connsiteX19" fmla="*/ 0 w 1745619"/>
                <a:gd name="connsiteY19" fmla="*/ 845724 h 1718533"/>
                <a:gd name="connsiteX20" fmla="*/ 1742823 w 1745619"/>
                <a:gd name="connsiteY20" fmla="*/ 790371 h 1718533"/>
                <a:gd name="connsiteX21" fmla="*/ 1745619 w 1745619"/>
                <a:gd name="connsiteY21" fmla="*/ 845724 h 1718533"/>
                <a:gd name="connsiteX22" fmla="*/ 1596557 w 1745619"/>
                <a:gd name="connsiteY22" fmla="*/ 1333720 h 1718533"/>
                <a:gd name="connsiteX23" fmla="*/ 1530125 w 1745619"/>
                <a:gd name="connsiteY23" fmla="*/ 1414235 h 1718533"/>
                <a:gd name="connsiteX24" fmla="*/ 1458695 w 1745619"/>
                <a:gd name="connsiteY24" fmla="*/ 1320655 h 1718533"/>
                <a:gd name="connsiteX25" fmla="*/ 1393971 w 1745619"/>
                <a:gd name="connsiteY25" fmla="*/ 1225512 h 1718533"/>
                <a:gd name="connsiteX26" fmla="*/ 1304847 w 1745619"/>
                <a:gd name="connsiteY26" fmla="*/ 969284 h 1718533"/>
                <a:gd name="connsiteX27" fmla="*/ 1652871 w 1745619"/>
                <a:gd name="connsiteY27" fmla="*/ 815102 h 1718533"/>
                <a:gd name="connsiteX28" fmla="*/ 1736999 w 1745619"/>
                <a:gd name="connsiteY28" fmla="*/ 791575 h 1718533"/>
                <a:gd name="connsiteX29" fmla="*/ 1091005 w 1745619"/>
                <a:gd name="connsiteY29" fmla="*/ 1523 h 1718533"/>
                <a:gd name="connsiteX30" fmla="*/ 1132355 w 1745619"/>
                <a:gd name="connsiteY30" fmla="*/ 12155 h 1718533"/>
                <a:gd name="connsiteX31" fmla="*/ 1596557 w 1745619"/>
                <a:gd name="connsiteY31" fmla="*/ 357729 h 1718533"/>
                <a:gd name="connsiteX32" fmla="*/ 1617117 w 1745619"/>
                <a:gd name="connsiteY32" fmla="*/ 395610 h 1718533"/>
                <a:gd name="connsiteX33" fmla="*/ 1521829 w 1745619"/>
                <a:gd name="connsiteY33" fmla="*/ 440567 h 1718533"/>
                <a:gd name="connsiteX34" fmla="*/ 1423379 w 1745619"/>
                <a:gd name="connsiteY34" fmla="*/ 479555 h 1718533"/>
                <a:gd name="connsiteX35" fmla="*/ 1147099 w 1745619"/>
                <a:gd name="connsiteY35" fmla="*/ 513421 h 1718533"/>
                <a:gd name="connsiteX36" fmla="*/ 1073127 w 1745619"/>
                <a:gd name="connsiteY36" fmla="*/ 357455 h 1718533"/>
                <a:gd name="connsiteX37" fmla="*/ 1072235 w 1745619"/>
                <a:gd name="connsiteY37" fmla="*/ 99445 h 1718533"/>
                <a:gd name="connsiteX38" fmla="*/ 1085869 w 1745619"/>
                <a:gd name="connsiteY38" fmla="*/ 22062 h 1718533"/>
                <a:gd name="connsiteX39" fmla="*/ 660536 w 1745619"/>
                <a:gd name="connsiteY39" fmla="*/ 0 h 1718533"/>
                <a:gd name="connsiteX40" fmla="*/ 661366 w 1745619"/>
                <a:gd name="connsiteY40" fmla="*/ 10048 h 1718533"/>
                <a:gd name="connsiteX41" fmla="*/ 682770 w 1745619"/>
                <a:gd name="connsiteY41" fmla="*/ 328045 h 1718533"/>
                <a:gd name="connsiteX42" fmla="*/ 629296 w 1745619"/>
                <a:gd name="connsiteY42" fmla="*/ 500053 h 1718533"/>
                <a:gd name="connsiteX43" fmla="*/ 428770 w 1745619"/>
                <a:gd name="connsiteY43" fmla="*/ 505845 h 1718533"/>
                <a:gd name="connsiteX44" fmla="*/ 186185 w 1745619"/>
                <a:gd name="connsiteY44" fmla="*/ 410198 h 1718533"/>
                <a:gd name="connsiteX45" fmla="*/ 133312 w 1745619"/>
                <a:gd name="connsiteY45" fmla="*/ 386745 h 1718533"/>
                <a:gd name="connsiteX46" fmla="*/ 149062 w 1745619"/>
                <a:gd name="connsiteY46" fmla="*/ 357729 h 1718533"/>
                <a:gd name="connsiteX47" fmla="*/ 613262 w 1745619"/>
                <a:gd name="connsiteY47" fmla="*/ 12155 h 171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45619" h="1718533">
                  <a:moveTo>
                    <a:pt x="884187" y="1276758"/>
                  </a:moveTo>
                  <a:cubicBezTo>
                    <a:pt x="938181" y="1282922"/>
                    <a:pt x="998563" y="1361053"/>
                    <a:pt x="1055303" y="1428712"/>
                  </a:cubicBezTo>
                  <a:cubicBezTo>
                    <a:pt x="1097859" y="1479456"/>
                    <a:pt x="1147349" y="1560405"/>
                    <a:pt x="1187795" y="1625124"/>
                  </a:cubicBezTo>
                  <a:lnTo>
                    <a:pt x="1205357" y="1652575"/>
                  </a:lnTo>
                  <a:lnTo>
                    <a:pt x="1132355" y="1679293"/>
                  </a:lnTo>
                  <a:cubicBezTo>
                    <a:pt x="1050365" y="1704795"/>
                    <a:pt x="963191" y="1718533"/>
                    <a:pt x="872809" y="1718533"/>
                  </a:cubicBezTo>
                  <a:cubicBezTo>
                    <a:pt x="782427" y="1718533"/>
                    <a:pt x="695253" y="1704795"/>
                    <a:pt x="613262" y="1679293"/>
                  </a:cubicBezTo>
                  <a:lnTo>
                    <a:pt x="561261" y="1660260"/>
                  </a:lnTo>
                  <a:lnTo>
                    <a:pt x="562002" y="1659042"/>
                  </a:lnTo>
                  <a:cubicBezTo>
                    <a:pt x="615357" y="1570167"/>
                    <a:pt x="685276" y="1448821"/>
                    <a:pt x="731341" y="1391726"/>
                  </a:cubicBezTo>
                  <a:cubicBezTo>
                    <a:pt x="792761" y="1315600"/>
                    <a:pt x="830193" y="1270594"/>
                    <a:pt x="884187" y="1276758"/>
                  </a:cubicBezTo>
                  <a:close/>
                  <a:moveTo>
                    <a:pt x="2596" y="794315"/>
                  </a:moveTo>
                  <a:lnTo>
                    <a:pt x="13123" y="796274"/>
                  </a:lnTo>
                  <a:cubicBezTo>
                    <a:pt x="105662" y="813932"/>
                    <a:pt x="205517" y="834969"/>
                    <a:pt x="259436" y="852979"/>
                  </a:cubicBezTo>
                  <a:cubicBezTo>
                    <a:pt x="367275" y="889000"/>
                    <a:pt x="426691" y="935047"/>
                    <a:pt x="457735" y="975969"/>
                  </a:cubicBezTo>
                  <a:cubicBezTo>
                    <a:pt x="488779" y="1016891"/>
                    <a:pt x="482986" y="1030110"/>
                    <a:pt x="445703" y="1098512"/>
                  </a:cubicBezTo>
                  <a:cubicBezTo>
                    <a:pt x="408420" y="1166914"/>
                    <a:pt x="295457" y="1310476"/>
                    <a:pt x="234036" y="1386379"/>
                  </a:cubicBezTo>
                  <a:lnTo>
                    <a:pt x="212738" y="1410895"/>
                  </a:lnTo>
                  <a:lnTo>
                    <a:pt x="149062" y="1333720"/>
                  </a:lnTo>
                  <a:cubicBezTo>
                    <a:pt x="54952" y="1194419"/>
                    <a:pt x="0" y="1026489"/>
                    <a:pt x="0" y="845724"/>
                  </a:cubicBezTo>
                  <a:close/>
                  <a:moveTo>
                    <a:pt x="1742823" y="790371"/>
                  </a:moveTo>
                  <a:lnTo>
                    <a:pt x="1745619" y="845724"/>
                  </a:lnTo>
                  <a:cubicBezTo>
                    <a:pt x="1745619" y="1026489"/>
                    <a:pt x="1690667" y="1194419"/>
                    <a:pt x="1596557" y="1333720"/>
                  </a:cubicBezTo>
                  <a:lnTo>
                    <a:pt x="1530125" y="1414235"/>
                  </a:lnTo>
                  <a:lnTo>
                    <a:pt x="1458695" y="1320655"/>
                  </a:lnTo>
                  <a:cubicBezTo>
                    <a:pt x="1432237" y="1284491"/>
                    <a:pt x="1409195" y="1251079"/>
                    <a:pt x="1393971" y="1225512"/>
                  </a:cubicBezTo>
                  <a:cubicBezTo>
                    <a:pt x="1333069" y="1123243"/>
                    <a:pt x="1261695" y="1037686"/>
                    <a:pt x="1304847" y="969284"/>
                  </a:cubicBezTo>
                  <a:cubicBezTo>
                    <a:pt x="1347995" y="900882"/>
                    <a:pt x="1546071" y="850677"/>
                    <a:pt x="1652871" y="815102"/>
                  </a:cubicBezTo>
                  <a:cubicBezTo>
                    <a:pt x="1679571" y="806208"/>
                    <a:pt x="1708253" y="798387"/>
                    <a:pt x="1736999" y="791575"/>
                  </a:cubicBezTo>
                  <a:close/>
                  <a:moveTo>
                    <a:pt x="1091005" y="1523"/>
                  </a:moveTo>
                  <a:lnTo>
                    <a:pt x="1132355" y="12155"/>
                  </a:lnTo>
                  <a:cubicBezTo>
                    <a:pt x="1323667" y="71659"/>
                    <a:pt x="1486761" y="195210"/>
                    <a:pt x="1596557" y="357729"/>
                  </a:cubicBezTo>
                  <a:lnTo>
                    <a:pt x="1617117" y="395610"/>
                  </a:lnTo>
                  <a:lnTo>
                    <a:pt x="1521829" y="440567"/>
                  </a:lnTo>
                  <a:cubicBezTo>
                    <a:pt x="1485115" y="456977"/>
                    <a:pt x="1450915" y="470959"/>
                    <a:pt x="1423379" y="479555"/>
                  </a:cubicBezTo>
                  <a:cubicBezTo>
                    <a:pt x="1313239" y="513942"/>
                    <a:pt x="1205475" y="533771"/>
                    <a:pt x="1147099" y="513421"/>
                  </a:cubicBezTo>
                  <a:cubicBezTo>
                    <a:pt x="1088725" y="493071"/>
                    <a:pt x="1085605" y="426451"/>
                    <a:pt x="1073127" y="357455"/>
                  </a:cubicBezTo>
                  <a:cubicBezTo>
                    <a:pt x="1060651" y="288459"/>
                    <a:pt x="1065329" y="192281"/>
                    <a:pt x="1072235" y="99445"/>
                  </a:cubicBezTo>
                  <a:cubicBezTo>
                    <a:pt x="1073963" y="76236"/>
                    <a:pt x="1079295" y="49722"/>
                    <a:pt x="1085869" y="22062"/>
                  </a:cubicBezTo>
                  <a:close/>
                  <a:moveTo>
                    <a:pt x="660536" y="0"/>
                  </a:moveTo>
                  <a:lnTo>
                    <a:pt x="661366" y="10048"/>
                  </a:lnTo>
                  <a:cubicBezTo>
                    <a:pt x="670007" y="105699"/>
                    <a:pt x="686994" y="251103"/>
                    <a:pt x="682770" y="328045"/>
                  </a:cubicBezTo>
                  <a:cubicBezTo>
                    <a:pt x="677943" y="415980"/>
                    <a:pt x="671629" y="470420"/>
                    <a:pt x="629296" y="500053"/>
                  </a:cubicBezTo>
                  <a:cubicBezTo>
                    <a:pt x="586963" y="529686"/>
                    <a:pt x="514402" y="526046"/>
                    <a:pt x="428770" y="505845"/>
                  </a:cubicBezTo>
                  <a:cubicBezTo>
                    <a:pt x="364546" y="490695"/>
                    <a:pt x="265480" y="445966"/>
                    <a:pt x="186185" y="410198"/>
                  </a:cubicBezTo>
                  <a:lnTo>
                    <a:pt x="133312" y="386745"/>
                  </a:lnTo>
                  <a:lnTo>
                    <a:pt x="149062" y="357729"/>
                  </a:lnTo>
                  <a:cubicBezTo>
                    <a:pt x="258857" y="195210"/>
                    <a:pt x="421951" y="71659"/>
                    <a:pt x="613262" y="12155"/>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21" name="Freeform: Shape 320"/>
            <p:cNvSpPr/>
            <p:nvPr/>
          </p:nvSpPr>
          <p:spPr bwMode="auto">
            <a:xfrm>
              <a:off x="3245043" y="2986778"/>
              <a:ext cx="738326" cy="711139"/>
            </a:xfrm>
            <a:custGeom>
              <a:avLst/>
              <a:gdLst>
                <a:gd name="connsiteX0" fmla="*/ 35576 w 2222211"/>
                <a:gd name="connsiteY0" fmla="*/ 1025226 h 2108983"/>
                <a:gd name="connsiteX1" fmla="*/ 484309 w 2222211"/>
                <a:gd name="connsiteY1" fmla="*/ 1118360 h 2108983"/>
                <a:gd name="connsiteX2" fmla="*/ 670576 w 2222211"/>
                <a:gd name="connsiteY2" fmla="*/ 124536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35576 w 2222211"/>
                <a:gd name="connsiteY0" fmla="*/ 1025226 h 2108983"/>
                <a:gd name="connsiteX1" fmla="*/ 484309 w 2222211"/>
                <a:gd name="connsiteY1" fmla="*/ 1118360 h 2108983"/>
                <a:gd name="connsiteX2" fmla="*/ 682608 w 2222211"/>
                <a:gd name="connsiteY2" fmla="*/ 1241350 h 2108983"/>
                <a:gd name="connsiteX3" fmla="*/ 670576 w 2222211"/>
                <a:gd name="connsiteY3" fmla="*/ 1363893 h 2108983"/>
                <a:gd name="connsiteX4" fmla="*/ 458909 w 2222211"/>
                <a:gd name="connsiteY4" fmla="*/ 1651760 h 2108983"/>
                <a:gd name="connsiteX5" fmla="*/ 298043 w 2222211"/>
                <a:gd name="connsiteY5" fmla="*/ 1863426 h 2108983"/>
                <a:gd name="connsiteX6" fmla="*/ 408109 w 2222211"/>
                <a:gd name="connsiteY6" fmla="*/ 2007360 h 2108983"/>
                <a:gd name="connsiteX7" fmla="*/ 653643 w 2222211"/>
                <a:gd name="connsiteY7" fmla="*/ 2108960 h 2108983"/>
                <a:gd name="connsiteX8" fmla="*/ 704443 w 2222211"/>
                <a:gd name="connsiteY8" fmla="*/ 1998893 h 2108983"/>
                <a:gd name="connsiteX9" fmla="*/ 992309 w 2222211"/>
                <a:gd name="connsiteY9" fmla="*/ 1677160 h 2108983"/>
                <a:gd name="connsiteX10" fmla="*/ 1076976 w 2222211"/>
                <a:gd name="connsiteY10" fmla="*/ 1550160 h 2108983"/>
                <a:gd name="connsiteX11" fmla="*/ 1280176 w 2222211"/>
                <a:gd name="connsiteY11" fmla="*/ 1694093 h 2108983"/>
                <a:gd name="connsiteX12" fmla="*/ 1449509 w 2222211"/>
                <a:gd name="connsiteY12" fmla="*/ 1948093 h 2108983"/>
                <a:gd name="connsiteX13" fmla="*/ 1517243 w 2222211"/>
                <a:gd name="connsiteY13" fmla="*/ 2092026 h 2108983"/>
                <a:gd name="connsiteX14" fmla="*/ 1771243 w 2222211"/>
                <a:gd name="connsiteY14" fmla="*/ 2015826 h 2108983"/>
                <a:gd name="connsiteX15" fmla="*/ 1915176 w 2222211"/>
                <a:gd name="connsiteY15" fmla="*/ 1880360 h 2108983"/>
                <a:gd name="connsiteX16" fmla="*/ 1881309 w 2222211"/>
                <a:gd name="connsiteY16" fmla="*/ 1787226 h 2108983"/>
                <a:gd name="connsiteX17" fmla="*/ 1618843 w 2222211"/>
                <a:gd name="connsiteY17" fmla="*/ 1490893 h 2108983"/>
                <a:gd name="connsiteX18" fmla="*/ 1525709 w 2222211"/>
                <a:gd name="connsiteY18" fmla="*/ 1270760 h 2108983"/>
                <a:gd name="connsiteX19" fmla="*/ 1534176 w 2222211"/>
                <a:gd name="connsiteY19" fmla="*/ 1211493 h 2108983"/>
                <a:gd name="connsiteX20" fmla="*/ 1889776 w 2222211"/>
                <a:gd name="connsiteY20" fmla="*/ 1084493 h 2108983"/>
                <a:gd name="connsiteX21" fmla="*/ 2194576 w 2222211"/>
                <a:gd name="connsiteY21" fmla="*/ 1025226 h 2108983"/>
                <a:gd name="connsiteX22" fmla="*/ 2194576 w 2222211"/>
                <a:gd name="connsiteY22" fmla="*/ 864360 h 2108983"/>
                <a:gd name="connsiteX23" fmla="*/ 2076043 w 2222211"/>
                <a:gd name="connsiteY23" fmla="*/ 559560 h 2108983"/>
                <a:gd name="connsiteX24" fmla="*/ 2016776 w 2222211"/>
                <a:gd name="connsiteY24" fmla="*/ 576493 h 2108983"/>
                <a:gd name="connsiteX25" fmla="*/ 1644243 w 2222211"/>
                <a:gd name="connsiteY25" fmla="*/ 728893 h 2108983"/>
                <a:gd name="connsiteX26" fmla="*/ 1415643 w 2222211"/>
                <a:gd name="connsiteY26" fmla="*/ 779693 h 2108983"/>
                <a:gd name="connsiteX27" fmla="*/ 1347909 w 2222211"/>
                <a:gd name="connsiteY27" fmla="*/ 762760 h 2108983"/>
                <a:gd name="connsiteX28" fmla="*/ 1314043 w 2222211"/>
                <a:gd name="connsiteY28" fmla="*/ 618826 h 2108983"/>
                <a:gd name="connsiteX29" fmla="*/ 1297109 w 2222211"/>
                <a:gd name="connsiteY29" fmla="*/ 364826 h 2108983"/>
                <a:gd name="connsiteX30" fmla="*/ 1339443 w 2222211"/>
                <a:gd name="connsiteY30" fmla="*/ 93893 h 2108983"/>
                <a:gd name="connsiteX31" fmla="*/ 1246309 w 2222211"/>
                <a:gd name="connsiteY31" fmla="*/ 26160 h 2108983"/>
                <a:gd name="connsiteX32" fmla="*/ 992309 w 2222211"/>
                <a:gd name="connsiteY32" fmla="*/ 760 h 2108983"/>
                <a:gd name="connsiteX33" fmla="*/ 856843 w 2222211"/>
                <a:gd name="connsiteY33" fmla="*/ 51560 h 2108983"/>
                <a:gd name="connsiteX34" fmla="*/ 899176 w 2222211"/>
                <a:gd name="connsiteY34" fmla="*/ 237826 h 2108983"/>
                <a:gd name="connsiteX35" fmla="*/ 907643 w 2222211"/>
                <a:gd name="connsiteY35" fmla="*/ 593426 h 2108983"/>
                <a:gd name="connsiteX36" fmla="*/ 882243 w 2222211"/>
                <a:gd name="connsiteY36" fmla="*/ 737360 h 2108983"/>
                <a:gd name="connsiteX37" fmla="*/ 653643 w 2222211"/>
                <a:gd name="connsiteY37" fmla="*/ 771226 h 2108983"/>
                <a:gd name="connsiteX38" fmla="*/ 340376 w 2222211"/>
                <a:gd name="connsiteY38" fmla="*/ 644226 h 2108983"/>
                <a:gd name="connsiteX39" fmla="*/ 137176 w 2222211"/>
                <a:gd name="connsiteY39" fmla="*/ 551093 h 2108983"/>
                <a:gd name="connsiteX40" fmla="*/ 44043 w 2222211"/>
                <a:gd name="connsiteY40" fmla="*/ 703493 h 2108983"/>
                <a:gd name="connsiteX41" fmla="*/ 35576 w 2222211"/>
                <a:gd name="connsiteY41" fmla="*/ 1025226 h 2108983"/>
                <a:gd name="connsiteX0" fmla="*/ 60470 w 2247105"/>
                <a:gd name="connsiteY0" fmla="*/ 1025226 h 2108983"/>
                <a:gd name="connsiteX1" fmla="*/ 509203 w 2247105"/>
                <a:gd name="connsiteY1" fmla="*/ 1118360 h 2108983"/>
                <a:gd name="connsiteX2" fmla="*/ 707502 w 2247105"/>
                <a:gd name="connsiteY2" fmla="*/ 1241350 h 2108983"/>
                <a:gd name="connsiteX3" fmla="*/ 695470 w 2247105"/>
                <a:gd name="connsiteY3" fmla="*/ 1363893 h 2108983"/>
                <a:gd name="connsiteX4" fmla="*/ 483803 w 2247105"/>
                <a:gd name="connsiteY4" fmla="*/ 1651760 h 2108983"/>
                <a:gd name="connsiteX5" fmla="*/ 322937 w 2247105"/>
                <a:gd name="connsiteY5" fmla="*/ 1863426 h 2108983"/>
                <a:gd name="connsiteX6" fmla="*/ 433003 w 2247105"/>
                <a:gd name="connsiteY6" fmla="*/ 2007360 h 2108983"/>
                <a:gd name="connsiteX7" fmla="*/ 678537 w 2247105"/>
                <a:gd name="connsiteY7" fmla="*/ 2108960 h 2108983"/>
                <a:gd name="connsiteX8" fmla="*/ 729337 w 2247105"/>
                <a:gd name="connsiteY8" fmla="*/ 1998893 h 2108983"/>
                <a:gd name="connsiteX9" fmla="*/ 1017203 w 2247105"/>
                <a:gd name="connsiteY9" fmla="*/ 1677160 h 2108983"/>
                <a:gd name="connsiteX10" fmla="*/ 1101870 w 2247105"/>
                <a:gd name="connsiteY10" fmla="*/ 1550160 h 2108983"/>
                <a:gd name="connsiteX11" fmla="*/ 1305070 w 2247105"/>
                <a:gd name="connsiteY11" fmla="*/ 1694093 h 2108983"/>
                <a:gd name="connsiteX12" fmla="*/ 1474403 w 2247105"/>
                <a:gd name="connsiteY12" fmla="*/ 1948093 h 2108983"/>
                <a:gd name="connsiteX13" fmla="*/ 1542137 w 2247105"/>
                <a:gd name="connsiteY13" fmla="*/ 2092026 h 2108983"/>
                <a:gd name="connsiteX14" fmla="*/ 1796137 w 2247105"/>
                <a:gd name="connsiteY14" fmla="*/ 2015826 h 2108983"/>
                <a:gd name="connsiteX15" fmla="*/ 1940070 w 2247105"/>
                <a:gd name="connsiteY15" fmla="*/ 1880360 h 2108983"/>
                <a:gd name="connsiteX16" fmla="*/ 1906203 w 2247105"/>
                <a:gd name="connsiteY16" fmla="*/ 1787226 h 2108983"/>
                <a:gd name="connsiteX17" fmla="*/ 1643737 w 2247105"/>
                <a:gd name="connsiteY17" fmla="*/ 1490893 h 2108983"/>
                <a:gd name="connsiteX18" fmla="*/ 1550603 w 2247105"/>
                <a:gd name="connsiteY18" fmla="*/ 1270760 h 2108983"/>
                <a:gd name="connsiteX19" fmla="*/ 1559070 w 2247105"/>
                <a:gd name="connsiteY19" fmla="*/ 1211493 h 2108983"/>
                <a:gd name="connsiteX20" fmla="*/ 1914670 w 2247105"/>
                <a:gd name="connsiteY20" fmla="*/ 1084493 h 2108983"/>
                <a:gd name="connsiteX21" fmla="*/ 2219470 w 2247105"/>
                <a:gd name="connsiteY21" fmla="*/ 1025226 h 2108983"/>
                <a:gd name="connsiteX22" fmla="*/ 2219470 w 2247105"/>
                <a:gd name="connsiteY22" fmla="*/ 864360 h 2108983"/>
                <a:gd name="connsiteX23" fmla="*/ 2100937 w 2247105"/>
                <a:gd name="connsiteY23" fmla="*/ 559560 h 2108983"/>
                <a:gd name="connsiteX24" fmla="*/ 2041670 w 2247105"/>
                <a:gd name="connsiteY24" fmla="*/ 576493 h 2108983"/>
                <a:gd name="connsiteX25" fmla="*/ 1669137 w 2247105"/>
                <a:gd name="connsiteY25" fmla="*/ 728893 h 2108983"/>
                <a:gd name="connsiteX26" fmla="*/ 1440537 w 2247105"/>
                <a:gd name="connsiteY26" fmla="*/ 779693 h 2108983"/>
                <a:gd name="connsiteX27" fmla="*/ 1372803 w 2247105"/>
                <a:gd name="connsiteY27" fmla="*/ 762760 h 2108983"/>
                <a:gd name="connsiteX28" fmla="*/ 1338937 w 2247105"/>
                <a:gd name="connsiteY28" fmla="*/ 618826 h 2108983"/>
                <a:gd name="connsiteX29" fmla="*/ 1322003 w 2247105"/>
                <a:gd name="connsiteY29" fmla="*/ 364826 h 2108983"/>
                <a:gd name="connsiteX30" fmla="*/ 1364337 w 2247105"/>
                <a:gd name="connsiteY30" fmla="*/ 93893 h 2108983"/>
                <a:gd name="connsiteX31" fmla="*/ 1271203 w 2247105"/>
                <a:gd name="connsiteY31" fmla="*/ 26160 h 2108983"/>
                <a:gd name="connsiteX32" fmla="*/ 1017203 w 2247105"/>
                <a:gd name="connsiteY32" fmla="*/ 760 h 2108983"/>
                <a:gd name="connsiteX33" fmla="*/ 881737 w 2247105"/>
                <a:gd name="connsiteY33" fmla="*/ 51560 h 2108983"/>
                <a:gd name="connsiteX34" fmla="*/ 924070 w 2247105"/>
                <a:gd name="connsiteY34" fmla="*/ 237826 h 2108983"/>
                <a:gd name="connsiteX35" fmla="*/ 932537 w 2247105"/>
                <a:gd name="connsiteY35" fmla="*/ 593426 h 2108983"/>
                <a:gd name="connsiteX36" fmla="*/ 907137 w 2247105"/>
                <a:gd name="connsiteY36" fmla="*/ 737360 h 2108983"/>
                <a:gd name="connsiteX37" fmla="*/ 678537 w 2247105"/>
                <a:gd name="connsiteY37" fmla="*/ 771226 h 2108983"/>
                <a:gd name="connsiteX38" fmla="*/ 365270 w 2247105"/>
                <a:gd name="connsiteY38" fmla="*/ 644226 h 2108983"/>
                <a:gd name="connsiteX39" fmla="*/ 162070 w 2247105"/>
                <a:gd name="connsiteY39" fmla="*/ 551093 h 2108983"/>
                <a:gd name="connsiteX40" fmla="*/ 68937 w 2247105"/>
                <a:gd name="connsiteY40" fmla="*/ 703493 h 2108983"/>
                <a:gd name="connsiteX41" fmla="*/ 60470 w 2247105"/>
                <a:gd name="connsiteY41" fmla="*/ 1025226 h 2108983"/>
                <a:gd name="connsiteX0" fmla="*/ 24949 w 2211584"/>
                <a:gd name="connsiteY0" fmla="*/ 1025226 h 2108983"/>
                <a:gd name="connsiteX1" fmla="*/ 473682 w 2211584"/>
                <a:gd name="connsiteY1" fmla="*/ 1118360 h 2108983"/>
                <a:gd name="connsiteX2" fmla="*/ 671981 w 2211584"/>
                <a:gd name="connsiteY2" fmla="*/ 1241350 h 2108983"/>
                <a:gd name="connsiteX3" fmla="*/ 659949 w 2211584"/>
                <a:gd name="connsiteY3" fmla="*/ 1363893 h 2108983"/>
                <a:gd name="connsiteX4" fmla="*/ 448282 w 2211584"/>
                <a:gd name="connsiteY4" fmla="*/ 1651760 h 2108983"/>
                <a:gd name="connsiteX5" fmla="*/ 287416 w 2211584"/>
                <a:gd name="connsiteY5" fmla="*/ 1863426 h 2108983"/>
                <a:gd name="connsiteX6" fmla="*/ 397482 w 2211584"/>
                <a:gd name="connsiteY6" fmla="*/ 2007360 h 2108983"/>
                <a:gd name="connsiteX7" fmla="*/ 643016 w 2211584"/>
                <a:gd name="connsiteY7" fmla="*/ 2108960 h 2108983"/>
                <a:gd name="connsiteX8" fmla="*/ 693816 w 2211584"/>
                <a:gd name="connsiteY8" fmla="*/ 1998893 h 2108983"/>
                <a:gd name="connsiteX9" fmla="*/ 981682 w 2211584"/>
                <a:gd name="connsiteY9" fmla="*/ 1677160 h 2108983"/>
                <a:gd name="connsiteX10" fmla="*/ 1066349 w 2211584"/>
                <a:gd name="connsiteY10" fmla="*/ 1550160 h 2108983"/>
                <a:gd name="connsiteX11" fmla="*/ 1269549 w 2211584"/>
                <a:gd name="connsiteY11" fmla="*/ 1694093 h 2108983"/>
                <a:gd name="connsiteX12" fmla="*/ 1438882 w 2211584"/>
                <a:gd name="connsiteY12" fmla="*/ 1948093 h 2108983"/>
                <a:gd name="connsiteX13" fmla="*/ 1506616 w 2211584"/>
                <a:gd name="connsiteY13" fmla="*/ 2092026 h 2108983"/>
                <a:gd name="connsiteX14" fmla="*/ 1760616 w 2211584"/>
                <a:gd name="connsiteY14" fmla="*/ 2015826 h 2108983"/>
                <a:gd name="connsiteX15" fmla="*/ 1904549 w 2211584"/>
                <a:gd name="connsiteY15" fmla="*/ 1880360 h 2108983"/>
                <a:gd name="connsiteX16" fmla="*/ 1870682 w 2211584"/>
                <a:gd name="connsiteY16" fmla="*/ 1787226 h 2108983"/>
                <a:gd name="connsiteX17" fmla="*/ 1608216 w 2211584"/>
                <a:gd name="connsiteY17" fmla="*/ 1490893 h 2108983"/>
                <a:gd name="connsiteX18" fmla="*/ 1515082 w 2211584"/>
                <a:gd name="connsiteY18" fmla="*/ 1270760 h 2108983"/>
                <a:gd name="connsiteX19" fmla="*/ 1523549 w 2211584"/>
                <a:gd name="connsiteY19" fmla="*/ 1211493 h 2108983"/>
                <a:gd name="connsiteX20" fmla="*/ 1879149 w 2211584"/>
                <a:gd name="connsiteY20" fmla="*/ 1084493 h 2108983"/>
                <a:gd name="connsiteX21" fmla="*/ 2183949 w 2211584"/>
                <a:gd name="connsiteY21" fmla="*/ 1025226 h 2108983"/>
                <a:gd name="connsiteX22" fmla="*/ 2183949 w 2211584"/>
                <a:gd name="connsiteY22" fmla="*/ 864360 h 2108983"/>
                <a:gd name="connsiteX23" fmla="*/ 2065416 w 2211584"/>
                <a:gd name="connsiteY23" fmla="*/ 559560 h 2108983"/>
                <a:gd name="connsiteX24" fmla="*/ 2006149 w 2211584"/>
                <a:gd name="connsiteY24" fmla="*/ 576493 h 2108983"/>
                <a:gd name="connsiteX25" fmla="*/ 1633616 w 2211584"/>
                <a:gd name="connsiteY25" fmla="*/ 728893 h 2108983"/>
                <a:gd name="connsiteX26" fmla="*/ 1405016 w 2211584"/>
                <a:gd name="connsiteY26" fmla="*/ 779693 h 2108983"/>
                <a:gd name="connsiteX27" fmla="*/ 1337282 w 2211584"/>
                <a:gd name="connsiteY27" fmla="*/ 762760 h 2108983"/>
                <a:gd name="connsiteX28" fmla="*/ 1303416 w 2211584"/>
                <a:gd name="connsiteY28" fmla="*/ 618826 h 2108983"/>
                <a:gd name="connsiteX29" fmla="*/ 1286482 w 2211584"/>
                <a:gd name="connsiteY29" fmla="*/ 364826 h 2108983"/>
                <a:gd name="connsiteX30" fmla="*/ 1328816 w 2211584"/>
                <a:gd name="connsiteY30" fmla="*/ 93893 h 2108983"/>
                <a:gd name="connsiteX31" fmla="*/ 1235682 w 2211584"/>
                <a:gd name="connsiteY31" fmla="*/ 26160 h 2108983"/>
                <a:gd name="connsiteX32" fmla="*/ 981682 w 2211584"/>
                <a:gd name="connsiteY32" fmla="*/ 760 h 2108983"/>
                <a:gd name="connsiteX33" fmla="*/ 846216 w 2211584"/>
                <a:gd name="connsiteY33" fmla="*/ 51560 h 2108983"/>
                <a:gd name="connsiteX34" fmla="*/ 888549 w 2211584"/>
                <a:gd name="connsiteY34" fmla="*/ 237826 h 2108983"/>
                <a:gd name="connsiteX35" fmla="*/ 897016 w 2211584"/>
                <a:gd name="connsiteY35" fmla="*/ 593426 h 2108983"/>
                <a:gd name="connsiteX36" fmla="*/ 871616 w 2211584"/>
                <a:gd name="connsiteY36" fmla="*/ 737360 h 2108983"/>
                <a:gd name="connsiteX37" fmla="*/ 643016 w 2211584"/>
                <a:gd name="connsiteY37" fmla="*/ 771226 h 2108983"/>
                <a:gd name="connsiteX38" fmla="*/ 329749 w 2211584"/>
                <a:gd name="connsiteY38" fmla="*/ 644226 h 2108983"/>
                <a:gd name="connsiteX39" fmla="*/ 126549 w 2211584"/>
                <a:gd name="connsiteY39" fmla="*/ 551093 h 2108983"/>
                <a:gd name="connsiteX40" fmla="*/ 33416 w 2211584"/>
                <a:gd name="connsiteY40" fmla="*/ 703493 h 2108983"/>
                <a:gd name="connsiteX41" fmla="*/ 24949 w 2211584"/>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3538 w 2210173"/>
                <a:gd name="connsiteY0" fmla="*/ 1025226 h 2108983"/>
                <a:gd name="connsiteX1" fmla="*/ 472271 w 2210173"/>
                <a:gd name="connsiteY1" fmla="*/ 1118360 h 2108983"/>
                <a:gd name="connsiteX2" fmla="*/ 670570 w 2210173"/>
                <a:gd name="connsiteY2" fmla="*/ 1241350 h 2108983"/>
                <a:gd name="connsiteX3" fmla="*/ 658538 w 2210173"/>
                <a:gd name="connsiteY3" fmla="*/ 1363893 h 2108983"/>
                <a:gd name="connsiteX4" fmla="*/ 446871 w 2210173"/>
                <a:gd name="connsiteY4" fmla="*/ 1651760 h 2108983"/>
                <a:gd name="connsiteX5" fmla="*/ 286005 w 2210173"/>
                <a:gd name="connsiteY5" fmla="*/ 1863426 h 2108983"/>
                <a:gd name="connsiteX6" fmla="*/ 396071 w 2210173"/>
                <a:gd name="connsiteY6" fmla="*/ 2007360 h 2108983"/>
                <a:gd name="connsiteX7" fmla="*/ 641605 w 2210173"/>
                <a:gd name="connsiteY7" fmla="*/ 2108960 h 2108983"/>
                <a:gd name="connsiteX8" fmla="*/ 692405 w 2210173"/>
                <a:gd name="connsiteY8" fmla="*/ 1998893 h 2108983"/>
                <a:gd name="connsiteX9" fmla="*/ 980271 w 2210173"/>
                <a:gd name="connsiteY9" fmla="*/ 1677160 h 2108983"/>
                <a:gd name="connsiteX10" fmla="*/ 1064938 w 2210173"/>
                <a:gd name="connsiteY10" fmla="*/ 1550160 h 2108983"/>
                <a:gd name="connsiteX11" fmla="*/ 1268138 w 2210173"/>
                <a:gd name="connsiteY11" fmla="*/ 1694093 h 2108983"/>
                <a:gd name="connsiteX12" fmla="*/ 1437471 w 2210173"/>
                <a:gd name="connsiteY12" fmla="*/ 1948093 h 2108983"/>
                <a:gd name="connsiteX13" fmla="*/ 1505205 w 2210173"/>
                <a:gd name="connsiteY13" fmla="*/ 2092026 h 2108983"/>
                <a:gd name="connsiteX14" fmla="*/ 1759205 w 2210173"/>
                <a:gd name="connsiteY14" fmla="*/ 2015826 h 2108983"/>
                <a:gd name="connsiteX15" fmla="*/ 1903138 w 2210173"/>
                <a:gd name="connsiteY15" fmla="*/ 1880360 h 2108983"/>
                <a:gd name="connsiteX16" fmla="*/ 1869271 w 2210173"/>
                <a:gd name="connsiteY16" fmla="*/ 1787226 h 2108983"/>
                <a:gd name="connsiteX17" fmla="*/ 1606805 w 2210173"/>
                <a:gd name="connsiteY17" fmla="*/ 1490893 h 2108983"/>
                <a:gd name="connsiteX18" fmla="*/ 1513671 w 2210173"/>
                <a:gd name="connsiteY18" fmla="*/ 1270760 h 2108983"/>
                <a:gd name="connsiteX19" fmla="*/ 1522138 w 2210173"/>
                <a:gd name="connsiteY19" fmla="*/ 1211493 h 2108983"/>
                <a:gd name="connsiteX20" fmla="*/ 1877738 w 2210173"/>
                <a:gd name="connsiteY20" fmla="*/ 1084493 h 2108983"/>
                <a:gd name="connsiteX21" fmla="*/ 2182538 w 2210173"/>
                <a:gd name="connsiteY21" fmla="*/ 1025226 h 2108983"/>
                <a:gd name="connsiteX22" fmla="*/ 2182538 w 2210173"/>
                <a:gd name="connsiteY22" fmla="*/ 864360 h 2108983"/>
                <a:gd name="connsiteX23" fmla="*/ 2064005 w 2210173"/>
                <a:gd name="connsiteY23" fmla="*/ 559560 h 2108983"/>
                <a:gd name="connsiteX24" fmla="*/ 2004738 w 2210173"/>
                <a:gd name="connsiteY24" fmla="*/ 576493 h 2108983"/>
                <a:gd name="connsiteX25" fmla="*/ 1632205 w 2210173"/>
                <a:gd name="connsiteY25" fmla="*/ 728893 h 2108983"/>
                <a:gd name="connsiteX26" fmla="*/ 1403605 w 2210173"/>
                <a:gd name="connsiteY26" fmla="*/ 779693 h 2108983"/>
                <a:gd name="connsiteX27" fmla="*/ 1335871 w 2210173"/>
                <a:gd name="connsiteY27" fmla="*/ 762760 h 2108983"/>
                <a:gd name="connsiteX28" fmla="*/ 1302005 w 2210173"/>
                <a:gd name="connsiteY28" fmla="*/ 618826 h 2108983"/>
                <a:gd name="connsiteX29" fmla="*/ 1285071 w 2210173"/>
                <a:gd name="connsiteY29" fmla="*/ 364826 h 2108983"/>
                <a:gd name="connsiteX30" fmla="*/ 1327405 w 2210173"/>
                <a:gd name="connsiteY30" fmla="*/ 93893 h 2108983"/>
                <a:gd name="connsiteX31" fmla="*/ 1234271 w 2210173"/>
                <a:gd name="connsiteY31" fmla="*/ 26160 h 2108983"/>
                <a:gd name="connsiteX32" fmla="*/ 980271 w 2210173"/>
                <a:gd name="connsiteY32" fmla="*/ 760 h 2108983"/>
                <a:gd name="connsiteX33" fmla="*/ 844805 w 2210173"/>
                <a:gd name="connsiteY33" fmla="*/ 51560 h 2108983"/>
                <a:gd name="connsiteX34" fmla="*/ 887138 w 2210173"/>
                <a:gd name="connsiteY34" fmla="*/ 237826 h 2108983"/>
                <a:gd name="connsiteX35" fmla="*/ 895605 w 2210173"/>
                <a:gd name="connsiteY35" fmla="*/ 593426 h 2108983"/>
                <a:gd name="connsiteX36" fmla="*/ 870205 w 2210173"/>
                <a:gd name="connsiteY36" fmla="*/ 737360 h 2108983"/>
                <a:gd name="connsiteX37" fmla="*/ 641605 w 2210173"/>
                <a:gd name="connsiteY37" fmla="*/ 771226 h 2108983"/>
                <a:gd name="connsiteX38" fmla="*/ 328338 w 2210173"/>
                <a:gd name="connsiteY38" fmla="*/ 644226 h 2108983"/>
                <a:gd name="connsiteX39" fmla="*/ 125138 w 2210173"/>
                <a:gd name="connsiteY39" fmla="*/ 551093 h 2108983"/>
                <a:gd name="connsiteX40" fmla="*/ 32005 w 2210173"/>
                <a:gd name="connsiteY40" fmla="*/ 703493 h 2108983"/>
                <a:gd name="connsiteX41" fmla="*/ 23538 w 2210173"/>
                <a:gd name="connsiteY41" fmla="*/ 1025226 h 2108983"/>
                <a:gd name="connsiteX0" fmla="*/ 25044 w 2211679"/>
                <a:gd name="connsiteY0" fmla="*/ 1025226 h 2108983"/>
                <a:gd name="connsiteX1" fmla="*/ 473777 w 2211679"/>
                <a:gd name="connsiteY1" fmla="*/ 1118360 h 2108983"/>
                <a:gd name="connsiteX2" fmla="*/ 672076 w 2211679"/>
                <a:gd name="connsiteY2" fmla="*/ 1241350 h 2108983"/>
                <a:gd name="connsiteX3" fmla="*/ 660044 w 2211679"/>
                <a:gd name="connsiteY3" fmla="*/ 1363893 h 2108983"/>
                <a:gd name="connsiteX4" fmla="*/ 448377 w 2211679"/>
                <a:gd name="connsiteY4" fmla="*/ 1651760 h 2108983"/>
                <a:gd name="connsiteX5" fmla="*/ 287511 w 2211679"/>
                <a:gd name="connsiteY5" fmla="*/ 1863426 h 2108983"/>
                <a:gd name="connsiteX6" fmla="*/ 397577 w 2211679"/>
                <a:gd name="connsiteY6" fmla="*/ 2007360 h 2108983"/>
                <a:gd name="connsiteX7" fmla="*/ 643111 w 2211679"/>
                <a:gd name="connsiteY7" fmla="*/ 2108960 h 2108983"/>
                <a:gd name="connsiteX8" fmla="*/ 693911 w 2211679"/>
                <a:gd name="connsiteY8" fmla="*/ 1998893 h 2108983"/>
                <a:gd name="connsiteX9" fmla="*/ 981777 w 2211679"/>
                <a:gd name="connsiteY9" fmla="*/ 1677160 h 2108983"/>
                <a:gd name="connsiteX10" fmla="*/ 1066444 w 2211679"/>
                <a:gd name="connsiteY10" fmla="*/ 1550160 h 2108983"/>
                <a:gd name="connsiteX11" fmla="*/ 1269644 w 2211679"/>
                <a:gd name="connsiteY11" fmla="*/ 1694093 h 2108983"/>
                <a:gd name="connsiteX12" fmla="*/ 1438977 w 2211679"/>
                <a:gd name="connsiteY12" fmla="*/ 1948093 h 2108983"/>
                <a:gd name="connsiteX13" fmla="*/ 1506711 w 2211679"/>
                <a:gd name="connsiteY13" fmla="*/ 2092026 h 2108983"/>
                <a:gd name="connsiteX14" fmla="*/ 1760711 w 2211679"/>
                <a:gd name="connsiteY14" fmla="*/ 2015826 h 2108983"/>
                <a:gd name="connsiteX15" fmla="*/ 1904644 w 2211679"/>
                <a:gd name="connsiteY15" fmla="*/ 1880360 h 2108983"/>
                <a:gd name="connsiteX16" fmla="*/ 1870777 w 2211679"/>
                <a:gd name="connsiteY16" fmla="*/ 1787226 h 2108983"/>
                <a:gd name="connsiteX17" fmla="*/ 1608311 w 2211679"/>
                <a:gd name="connsiteY17" fmla="*/ 1490893 h 2108983"/>
                <a:gd name="connsiteX18" fmla="*/ 1515177 w 2211679"/>
                <a:gd name="connsiteY18" fmla="*/ 1270760 h 2108983"/>
                <a:gd name="connsiteX19" fmla="*/ 1523644 w 2211679"/>
                <a:gd name="connsiteY19" fmla="*/ 1211493 h 2108983"/>
                <a:gd name="connsiteX20" fmla="*/ 1879244 w 2211679"/>
                <a:gd name="connsiteY20" fmla="*/ 1084493 h 2108983"/>
                <a:gd name="connsiteX21" fmla="*/ 2184044 w 2211679"/>
                <a:gd name="connsiteY21" fmla="*/ 1025226 h 2108983"/>
                <a:gd name="connsiteX22" fmla="*/ 2184044 w 2211679"/>
                <a:gd name="connsiteY22" fmla="*/ 864360 h 2108983"/>
                <a:gd name="connsiteX23" fmla="*/ 2065511 w 2211679"/>
                <a:gd name="connsiteY23" fmla="*/ 559560 h 2108983"/>
                <a:gd name="connsiteX24" fmla="*/ 2006244 w 2211679"/>
                <a:gd name="connsiteY24" fmla="*/ 576493 h 2108983"/>
                <a:gd name="connsiteX25" fmla="*/ 1633711 w 2211679"/>
                <a:gd name="connsiteY25" fmla="*/ 728893 h 2108983"/>
                <a:gd name="connsiteX26" fmla="*/ 1405111 w 2211679"/>
                <a:gd name="connsiteY26" fmla="*/ 779693 h 2108983"/>
                <a:gd name="connsiteX27" fmla="*/ 1337377 w 2211679"/>
                <a:gd name="connsiteY27" fmla="*/ 762760 h 2108983"/>
                <a:gd name="connsiteX28" fmla="*/ 1303511 w 2211679"/>
                <a:gd name="connsiteY28" fmla="*/ 618826 h 2108983"/>
                <a:gd name="connsiteX29" fmla="*/ 1286577 w 2211679"/>
                <a:gd name="connsiteY29" fmla="*/ 364826 h 2108983"/>
                <a:gd name="connsiteX30" fmla="*/ 1328911 w 2211679"/>
                <a:gd name="connsiteY30" fmla="*/ 93893 h 2108983"/>
                <a:gd name="connsiteX31" fmla="*/ 1235777 w 2211679"/>
                <a:gd name="connsiteY31" fmla="*/ 26160 h 2108983"/>
                <a:gd name="connsiteX32" fmla="*/ 981777 w 2211679"/>
                <a:gd name="connsiteY32" fmla="*/ 760 h 2108983"/>
                <a:gd name="connsiteX33" fmla="*/ 846311 w 2211679"/>
                <a:gd name="connsiteY33" fmla="*/ 51560 h 2108983"/>
                <a:gd name="connsiteX34" fmla="*/ 888644 w 2211679"/>
                <a:gd name="connsiteY34" fmla="*/ 237826 h 2108983"/>
                <a:gd name="connsiteX35" fmla="*/ 897111 w 2211679"/>
                <a:gd name="connsiteY35" fmla="*/ 593426 h 2108983"/>
                <a:gd name="connsiteX36" fmla="*/ 871711 w 2211679"/>
                <a:gd name="connsiteY36" fmla="*/ 737360 h 2108983"/>
                <a:gd name="connsiteX37" fmla="*/ 643111 w 2211679"/>
                <a:gd name="connsiteY37" fmla="*/ 771226 h 2108983"/>
                <a:gd name="connsiteX38" fmla="*/ 329844 w 2211679"/>
                <a:gd name="connsiteY38" fmla="*/ 644226 h 2108983"/>
                <a:gd name="connsiteX39" fmla="*/ 162738 w 2211679"/>
                <a:gd name="connsiteY39" fmla="*/ 567135 h 2108983"/>
                <a:gd name="connsiteX40" fmla="*/ 33511 w 2211679"/>
                <a:gd name="connsiteY40" fmla="*/ 703493 h 2108983"/>
                <a:gd name="connsiteX41" fmla="*/ 25044 w 2211679"/>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75087 w 2215055"/>
                <a:gd name="connsiteY36" fmla="*/ 737360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92020 w 2215055"/>
                <a:gd name="connsiteY34" fmla="*/ 237826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25226 h 2108983"/>
                <a:gd name="connsiteX1" fmla="*/ 477153 w 2215055"/>
                <a:gd name="connsiteY1" fmla="*/ 1118360 h 2108983"/>
                <a:gd name="connsiteX2" fmla="*/ 675452 w 2215055"/>
                <a:gd name="connsiteY2" fmla="*/ 1241350 h 2108983"/>
                <a:gd name="connsiteX3" fmla="*/ 663420 w 2215055"/>
                <a:gd name="connsiteY3" fmla="*/ 1363893 h 2108983"/>
                <a:gd name="connsiteX4" fmla="*/ 451753 w 2215055"/>
                <a:gd name="connsiteY4" fmla="*/ 1651760 h 2108983"/>
                <a:gd name="connsiteX5" fmla="*/ 290887 w 2215055"/>
                <a:gd name="connsiteY5" fmla="*/ 1863426 h 2108983"/>
                <a:gd name="connsiteX6" fmla="*/ 400953 w 2215055"/>
                <a:gd name="connsiteY6" fmla="*/ 2007360 h 2108983"/>
                <a:gd name="connsiteX7" fmla="*/ 646487 w 2215055"/>
                <a:gd name="connsiteY7" fmla="*/ 2108960 h 2108983"/>
                <a:gd name="connsiteX8" fmla="*/ 697287 w 2215055"/>
                <a:gd name="connsiteY8" fmla="*/ 1998893 h 2108983"/>
                <a:gd name="connsiteX9" fmla="*/ 985153 w 2215055"/>
                <a:gd name="connsiteY9" fmla="*/ 1677160 h 2108983"/>
                <a:gd name="connsiteX10" fmla="*/ 1069820 w 2215055"/>
                <a:gd name="connsiteY10" fmla="*/ 1550160 h 2108983"/>
                <a:gd name="connsiteX11" fmla="*/ 1273020 w 2215055"/>
                <a:gd name="connsiteY11" fmla="*/ 1694093 h 2108983"/>
                <a:gd name="connsiteX12" fmla="*/ 1442353 w 2215055"/>
                <a:gd name="connsiteY12" fmla="*/ 1948093 h 2108983"/>
                <a:gd name="connsiteX13" fmla="*/ 1510087 w 2215055"/>
                <a:gd name="connsiteY13" fmla="*/ 2092026 h 2108983"/>
                <a:gd name="connsiteX14" fmla="*/ 1764087 w 2215055"/>
                <a:gd name="connsiteY14" fmla="*/ 2015826 h 2108983"/>
                <a:gd name="connsiteX15" fmla="*/ 1908020 w 2215055"/>
                <a:gd name="connsiteY15" fmla="*/ 1880360 h 2108983"/>
                <a:gd name="connsiteX16" fmla="*/ 1874153 w 2215055"/>
                <a:gd name="connsiteY16" fmla="*/ 1787226 h 2108983"/>
                <a:gd name="connsiteX17" fmla="*/ 1611687 w 2215055"/>
                <a:gd name="connsiteY17" fmla="*/ 1490893 h 2108983"/>
                <a:gd name="connsiteX18" fmla="*/ 1518553 w 2215055"/>
                <a:gd name="connsiteY18" fmla="*/ 1270760 h 2108983"/>
                <a:gd name="connsiteX19" fmla="*/ 1527020 w 2215055"/>
                <a:gd name="connsiteY19" fmla="*/ 1211493 h 2108983"/>
                <a:gd name="connsiteX20" fmla="*/ 1882620 w 2215055"/>
                <a:gd name="connsiteY20" fmla="*/ 1084493 h 2108983"/>
                <a:gd name="connsiteX21" fmla="*/ 2187420 w 2215055"/>
                <a:gd name="connsiteY21" fmla="*/ 1025226 h 2108983"/>
                <a:gd name="connsiteX22" fmla="*/ 2187420 w 2215055"/>
                <a:gd name="connsiteY22" fmla="*/ 864360 h 2108983"/>
                <a:gd name="connsiteX23" fmla="*/ 2068887 w 2215055"/>
                <a:gd name="connsiteY23" fmla="*/ 559560 h 2108983"/>
                <a:gd name="connsiteX24" fmla="*/ 2009620 w 2215055"/>
                <a:gd name="connsiteY24" fmla="*/ 576493 h 2108983"/>
                <a:gd name="connsiteX25" fmla="*/ 1637087 w 2215055"/>
                <a:gd name="connsiteY25" fmla="*/ 728893 h 2108983"/>
                <a:gd name="connsiteX26" fmla="*/ 1408487 w 2215055"/>
                <a:gd name="connsiteY26" fmla="*/ 779693 h 2108983"/>
                <a:gd name="connsiteX27" fmla="*/ 1340753 w 2215055"/>
                <a:gd name="connsiteY27" fmla="*/ 762760 h 2108983"/>
                <a:gd name="connsiteX28" fmla="*/ 1306887 w 2215055"/>
                <a:gd name="connsiteY28" fmla="*/ 618826 h 2108983"/>
                <a:gd name="connsiteX29" fmla="*/ 1289953 w 2215055"/>
                <a:gd name="connsiteY29" fmla="*/ 364826 h 2108983"/>
                <a:gd name="connsiteX30" fmla="*/ 1332287 w 2215055"/>
                <a:gd name="connsiteY30" fmla="*/ 93893 h 2108983"/>
                <a:gd name="connsiteX31" fmla="*/ 1239153 w 2215055"/>
                <a:gd name="connsiteY31" fmla="*/ 26160 h 2108983"/>
                <a:gd name="connsiteX32" fmla="*/ 985153 w 2215055"/>
                <a:gd name="connsiteY32" fmla="*/ 760 h 2108983"/>
                <a:gd name="connsiteX33" fmla="*/ 849687 w 2215055"/>
                <a:gd name="connsiteY33" fmla="*/ 51560 h 2108983"/>
                <a:gd name="connsiteX34" fmla="*/ 888009 w 2215055"/>
                <a:gd name="connsiteY34" fmla="*/ 241837 h 2108983"/>
                <a:gd name="connsiteX35" fmla="*/ 900487 w 2215055"/>
                <a:gd name="connsiteY35" fmla="*/ 593426 h 2108983"/>
                <a:gd name="connsiteX36" fmla="*/ 847013 w 2215055"/>
                <a:gd name="connsiteY36" fmla="*/ 765434 h 2108983"/>
                <a:gd name="connsiteX37" fmla="*/ 646487 w 2215055"/>
                <a:gd name="connsiteY37" fmla="*/ 771226 h 2108983"/>
                <a:gd name="connsiteX38" fmla="*/ 333220 w 2215055"/>
                <a:gd name="connsiteY38" fmla="*/ 644226 h 2108983"/>
                <a:gd name="connsiteX39" fmla="*/ 166114 w 2215055"/>
                <a:gd name="connsiteY39" fmla="*/ 567135 h 2108983"/>
                <a:gd name="connsiteX40" fmla="*/ 36887 w 2215055"/>
                <a:gd name="connsiteY40" fmla="*/ 703493 h 2108983"/>
                <a:gd name="connsiteX41" fmla="*/ 28420 w 2215055"/>
                <a:gd name="connsiteY41" fmla="*/ 1025226 h 2108983"/>
                <a:gd name="connsiteX0" fmla="*/ 28420 w 2215055"/>
                <a:gd name="connsiteY0" fmla="*/ 1014032 h 2097789"/>
                <a:gd name="connsiteX1" fmla="*/ 477153 w 2215055"/>
                <a:gd name="connsiteY1" fmla="*/ 1107166 h 2097789"/>
                <a:gd name="connsiteX2" fmla="*/ 675452 w 2215055"/>
                <a:gd name="connsiteY2" fmla="*/ 1230156 h 2097789"/>
                <a:gd name="connsiteX3" fmla="*/ 663420 w 2215055"/>
                <a:gd name="connsiteY3" fmla="*/ 1352699 h 2097789"/>
                <a:gd name="connsiteX4" fmla="*/ 451753 w 2215055"/>
                <a:gd name="connsiteY4" fmla="*/ 1640566 h 2097789"/>
                <a:gd name="connsiteX5" fmla="*/ 290887 w 2215055"/>
                <a:gd name="connsiteY5" fmla="*/ 1852232 h 2097789"/>
                <a:gd name="connsiteX6" fmla="*/ 400953 w 2215055"/>
                <a:gd name="connsiteY6" fmla="*/ 1996166 h 2097789"/>
                <a:gd name="connsiteX7" fmla="*/ 646487 w 2215055"/>
                <a:gd name="connsiteY7" fmla="*/ 2097766 h 2097789"/>
                <a:gd name="connsiteX8" fmla="*/ 697287 w 2215055"/>
                <a:gd name="connsiteY8" fmla="*/ 1987699 h 2097789"/>
                <a:gd name="connsiteX9" fmla="*/ 985153 w 2215055"/>
                <a:gd name="connsiteY9" fmla="*/ 1665966 h 2097789"/>
                <a:gd name="connsiteX10" fmla="*/ 1069820 w 2215055"/>
                <a:gd name="connsiteY10" fmla="*/ 1538966 h 2097789"/>
                <a:gd name="connsiteX11" fmla="*/ 1273020 w 2215055"/>
                <a:gd name="connsiteY11" fmla="*/ 1682899 h 2097789"/>
                <a:gd name="connsiteX12" fmla="*/ 1442353 w 2215055"/>
                <a:gd name="connsiteY12" fmla="*/ 1936899 h 2097789"/>
                <a:gd name="connsiteX13" fmla="*/ 1510087 w 2215055"/>
                <a:gd name="connsiteY13" fmla="*/ 2080832 h 2097789"/>
                <a:gd name="connsiteX14" fmla="*/ 1764087 w 2215055"/>
                <a:gd name="connsiteY14" fmla="*/ 2004632 h 2097789"/>
                <a:gd name="connsiteX15" fmla="*/ 1908020 w 2215055"/>
                <a:gd name="connsiteY15" fmla="*/ 1869166 h 2097789"/>
                <a:gd name="connsiteX16" fmla="*/ 1874153 w 2215055"/>
                <a:gd name="connsiteY16" fmla="*/ 1776032 h 2097789"/>
                <a:gd name="connsiteX17" fmla="*/ 1611687 w 2215055"/>
                <a:gd name="connsiteY17" fmla="*/ 1479699 h 2097789"/>
                <a:gd name="connsiteX18" fmla="*/ 1518553 w 2215055"/>
                <a:gd name="connsiteY18" fmla="*/ 1259566 h 2097789"/>
                <a:gd name="connsiteX19" fmla="*/ 1527020 w 2215055"/>
                <a:gd name="connsiteY19" fmla="*/ 1200299 h 2097789"/>
                <a:gd name="connsiteX20" fmla="*/ 1882620 w 2215055"/>
                <a:gd name="connsiteY20" fmla="*/ 1073299 h 2097789"/>
                <a:gd name="connsiteX21" fmla="*/ 2187420 w 2215055"/>
                <a:gd name="connsiteY21" fmla="*/ 1014032 h 2097789"/>
                <a:gd name="connsiteX22" fmla="*/ 2187420 w 2215055"/>
                <a:gd name="connsiteY22" fmla="*/ 853166 h 2097789"/>
                <a:gd name="connsiteX23" fmla="*/ 2068887 w 2215055"/>
                <a:gd name="connsiteY23" fmla="*/ 548366 h 2097789"/>
                <a:gd name="connsiteX24" fmla="*/ 2009620 w 2215055"/>
                <a:gd name="connsiteY24" fmla="*/ 565299 h 2097789"/>
                <a:gd name="connsiteX25" fmla="*/ 1637087 w 2215055"/>
                <a:gd name="connsiteY25" fmla="*/ 717699 h 2097789"/>
                <a:gd name="connsiteX26" fmla="*/ 1408487 w 2215055"/>
                <a:gd name="connsiteY26" fmla="*/ 768499 h 2097789"/>
                <a:gd name="connsiteX27" fmla="*/ 1340753 w 2215055"/>
                <a:gd name="connsiteY27" fmla="*/ 751566 h 2097789"/>
                <a:gd name="connsiteX28" fmla="*/ 1306887 w 2215055"/>
                <a:gd name="connsiteY28" fmla="*/ 607632 h 2097789"/>
                <a:gd name="connsiteX29" fmla="*/ 1289953 w 2215055"/>
                <a:gd name="connsiteY29" fmla="*/ 353632 h 2097789"/>
                <a:gd name="connsiteX30" fmla="*/ 1332287 w 2215055"/>
                <a:gd name="connsiteY30" fmla="*/ 82699 h 2097789"/>
                <a:gd name="connsiteX31" fmla="*/ 1239153 w 2215055"/>
                <a:gd name="connsiteY31" fmla="*/ 14966 h 2097789"/>
                <a:gd name="connsiteX32" fmla="*/ 989163 w 2215055"/>
                <a:gd name="connsiteY32" fmla="*/ 1598 h 2097789"/>
                <a:gd name="connsiteX33" fmla="*/ 849687 w 2215055"/>
                <a:gd name="connsiteY33" fmla="*/ 40366 h 2097789"/>
                <a:gd name="connsiteX34" fmla="*/ 888009 w 2215055"/>
                <a:gd name="connsiteY34" fmla="*/ 230643 h 2097789"/>
                <a:gd name="connsiteX35" fmla="*/ 900487 w 2215055"/>
                <a:gd name="connsiteY35" fmla="*/ 582232 h 2097789"/>
                <a:gd name="connsiteX36" fmla="*/ 847013 w 2215055"/>
                <a:gd name="connsiteY36" fmla="*/ 754240 h 2097789"/>
                <a:gd name="connsiteX37" fmla="*/ 646487 w 2215055"/>
                <a:gd name="connsiteY37" fmla="*/ 760032 h 2097789"/>
                <a:gd name="connsiteX38" fmla="*/ 333220 w 2215055"/>
                <a:gd name="connsiteY38" fmla="*/ 633032 h 2097789"/>
                <a:gd name="connsiteX39" fmla="*/ 166114 w 2215055"/>
                <a:gd name="connsiteY39" fmla="*/ 555941 h 2097789"/>
                <a:gd name="connsiteX40" fmla="*/ 36887 w 2215055"/>
                <a:gd name="connsiteY40" fmla="*/ 692299 h 2097789"/>
                <a:gd name="connsiteX41" fmla="*/ 28420 w 2215055"/>
                <a:gd name="connsiteY41" fmla="*/ 1014032 h 2097789"/>
                <a:gd name="connsiteX0" fmla="*/ 28420 w 2215055"/>
                <a:gd name="connsiteY0" fmla="*/ 1017508 h 2101265"/>
                <a:gd name="connsiteX1" fmla="*/ 477153 w 2215055"/>
                <a:gd name="connsiteY1" fmla="*/ 1110642 h 2101265"/>
                <a:gd name="connsiteX2" fmla="*/ 675452 w 2215055"/>
                <a:gd name="connsiteY2" fmla="*/ 1233632 h 2101265"/>
                <a:gd name="connsiteX3" fmla="*/ 663420 w 2215055"/>
                <a:gd name="connsiteY3" fmla="*/ 1356175 h 2101265"/>
                <a:gd name="connsiteX4" fmla="*/ 451753 w 2215055"/>
                <a:gd name="connsiteY4" fmla="*/ 1644042 h 2101265"/>
                <a:gd name="connsiteX5" fmla="*/ 290887 w 2215055"/>
                <a:gd name="connsiteY5" fmla="*/ 1855708 h 2101265"/>
                <a:gd name="connsiteX6" fmla="*/ 400953 w 2215055"/>
                <a:gd name="connsiteY6" fmla="*/ 1999642 h 2101265"/>
                <a:gd name="connsiteX7" fmla="*/ 646487 w 2215055"/>
                <a:gd name="connsiteY7" fmla="*/ 2101242 h 2101265"/>
                <a:gd name="connsiteX8" fmla="*/ 697287 w 2215055"/>
                <a:gd name="connsiteY8" fmla="*/ 1991175 h 2101265"/>
                <a:gd name="connsiteX9" fmla="*/ 985153 w 2215055"/>
                <a:gd name="connsiteY9" fmla="*/ 1669442 h 2101265"/>
                <a:gd name="connsiteX10" fmla="*/ 1069820 w 2215055"/>
                <a:gd name="connsiteY10" fmla="*/ 1542442 h 2101265"/>
                <a:gd name="connsiteX11" fmla="*/ 1273020 w 2215055"/>
                <a:gd name="connsiteY11" fmla="*/ 1686375 h 2101265"/>
                <a:gd name="connsiteX12" fmla="*/ 1442353 w 2215055"/>
                <a:gd name="connsiteY12" fmla="*/ 1940375 h 2101265"/>
                <a:gd name="connsiteX13" fmla="*/ 1510087 w 2215055"/>
                <a:gd name="connsiteY13" fmla="*/ 2084308 h 2101265"/>
                <a:gd name="connsiteX14" fmla="*/ 1764087 w 2215055"/>
                <a:gd name="connsiteY14" fmla="*/ 2008108 h 2101265"/>
                <a:gd name="connsiteX15" fmla="*/ 1908020 w 2215055"/>
                <a:gd name="connsiteY15" fmla="*/ 1872642 h 2101265"/>
                <a:gd name="connsiteX16" fmla="*/ 1874153 w 2215055"/>
                <a:gd name="connsiteY16" fmla="*/ 1779508 h 2101265"/>
                <a:gd name="connsiteX17" fmla="*/ 1611687 w 2215055"/>
                <a:gd name="connsiteY17" fmla="*/ 1483175 h 2101265"/>
                <a:gd name="connsiteX18" fmla="*/ 1518553 w 2215055"/>
                <a:gd name="connsiteY18" fmla="*/ 1263042 h 2101265"/>
                <a:gd name="connsiteX19" fmla="*/ 1527020 w 2215055"/>
                <a:gd name="connsiteY19" fmla="*/ 1203775 h 2101265"/>
                <a:gd name="connsiteX20" fmla="*/ 1882620 w 2215055"/>
                <a:gd name="connsiteY20" fmla="*/ 1076775 h 2101265"/>
                <a:gd name="connsiteX21" fmla="*/ 2187420 w 2215055"/>
                <a:gd name="connsiteY21" fmla="*/ 1017508 h 2101265"/>
                <a:gd name="connsiteX22" fmla="*/ 2187420 w 2215055"/>
                <a:gd name="connsiteY22" fmla="*/ 856642 h 2101265"/>
                <a:gd name="connsiteX23" fmla="*/ 2068887 w 2215055"/>
                <a:gd name="connsiteY23" fmla="*/ 551842 h 2101265"/>
                <a:gd name="connsiteX24" fmla="*/ 2009620 w 2215055"/>
                <a:gd name="connsiteY24" fmla="*/ 568775 h 2101265"/>
                <a:gd name="connsiteX25" fmla="*/ 1637087 w 2215055"/>
                <a:gd name="connsiteY25" fmla="*/ 721175 h 2101265"/>
                <a:gd name="connsiteX26" fmla="*/ 1408487 w 2215055"/>
                <a:gd name="connsiteY26" fmla="*/ 771975 h 2101265"/>
                <a:gd name="connsiteX27" fmla="*/ 1340753 w 2215055"/>
                <a:gd name="connsiteY27" fmla="*/ 755042 h 2101265"/>
                <a:gd name="connsiteX28" fmla="*/ 1306887 w 2215055"/>
                <a:gd name="connsiteY28" fmla="*/ 611108 h 2101265"/>
                <a:gd name="connsiteX29" fmla="*/ 1289953 w 2215055"/>
                <a:gd name="connsiteY29" fmla="*/ 357108 h 2101265"/>
                <a:gd name="connsiteX30" fmla="*/ 1332287 w 2215055"/>
                <a:gd name="connsiteY30" fmla="*/ 86175 h 2101265"/>
                <a:gd name="connsiteX31" fmla="*/ 1239153 w 2215055"/>
                <a:gd name="connsiteY31" fmla="*/ 18442 h 2101265"/>
                <a:gd name="connsiteX32" fmla="*/ 989163 w 2215055"/>
                <a:gd name="connsiteY32" fmla="*/ 5074 h 2101265"/>
                <a:gd name="connsiteX33" fmla="*/ 849687 w 2215055"/>
                <a:gd name="connsiteY33" fmla="*/ 43842 h 2101265"/>
                <a:gd name="connsiteX34" fmla="*/ 888009 w 2215055"/>
                <a:gd name="connsiteY34" fmla="*/ 234119 h 2101265"/>
                <a:gd name="connsiteX35" fmla="*/ 900487 w 2215055"/>
                <a:gd name="connsiteY35" fmla="*/ 585708 h 2101265"/>
                <a:gd name="connsiteX36" fmla="*/ 847013 w 2215055"/>
                <a:gd name="connsiteY36" fmla="*/ 757716 h 2101265"/>
                <a:gd name="connsiteX37" fmla="*/ 646487 w 2215055"/>
                <a:gd name="connsiteY37" fmla="*/ 763508 h 2101265"/>
                <a:gd name="connsiteX38" fmla="*/ 333220 w 2215055"/>
                <a:gd name="connsiteY38" fmla="*/ 636508 h 2101265"/>
                <a:gd name="connsiteX39" fmla="*/ 166114 w 2215055"/>
                <a:gd name="connsiteY39" fmla="*/ 559417 h 2101265"/>
                <a:gd name="connsiteX40" fmla="*/ 36887 w 2215055"/>
                <a:gd name="connsiteY40" fmla="*/ 695775 h 2101265"/>
                <a:gd name="connsiteX41" fmla="*/ 28420 w 2215055"/>
                <a:gd name="connsiteY41" fmla="*/ 1017508 h 2101265"/>
                <a:gd name="connsiteX0" fmla="*/ 28420 w 2215055"/>
                <a:gd name="connsiteY0" fmla="*/ 1003628 h 2087385"/>
                <a:gd name="connsiteX1" fmla="*/ 477153 w 2215055"/>
                <a:gd name="connsiteY1" fmla="*/ 1096762 h 2087385"/>
                <a:gd name="connsiteX2" fmla="*/ 675452 w 2215055"/>
                <a:gd name="connsiteY2" fmla="*/ 1219752 h 2087385"/>
                <a:gd name="connsiteX3" fmla="*/ 663420 w 2215055"/>
                <a:gd name="connsiteY3" fmla="*/ 1342295 h 2087385"/>
                <a:gd name="connsiteX4" fmla="*/ 451753 w 2215055"/>
                <a:gd name="connsiteY4" fmla="*/ 1630162 h 2087385"/>
                <a:gd name="connsiteX5" fmla="*/ 290887 w 2215055"/>
                <a:gd name="connsiteY5" fmla="*/ 1841828 h 2087385"/>
                <a:gd name="connsiteX6" fmla="*/ 400953 w 2215055"/>
                <a:gd name="connsiteY6" fmla="*/ 1985762 h 2087385"/>
                <a:gd name="connsiteX7" fmla="*/ 646487 w 2215055"/>
                <a:gd name="connsiteY7" fmla="*/ 2087362 h 2087385"/>
                <a:gd name="connsiteX8" fmla="*/ 697287 w 2215055"/>
                <a:gd name="connsiteY8" fmla="*/ 1977295 h 2087385"/>
                <a:gd name="connsiteX9" fmla="*/ 985153 w 2215055"/>
                <a:gd name="connsiteY9" fmla="*/ 1655562 h 2087385"/>
                <a:gd name="connsiteX10" fmla="*/ 1069820 w 2215055"/>
                <a:gd name="connsiteY10" fmla="*/ 1528562 h 2087385"/>
                <a:gd name="connsiteX11" fmla="*/ 1273020 w 2215055"/>
                <a:gd name="connsiteY11" fmla="*/ 1672495 h 2087385"/>
                <a:gd name="connsiteX12" fmla="*/ 1442353 w 2215055"/>
                <a:gd name="connsiteY12" fmla="*/ 1926495 h 2087385"/>
                <a:gd name="connsiteX13" fmla="*/ 1510087 w 2215055"/>
                <a:gd name="connsiteY13" fmla="*/ 2070428 h 2087385"/>
                <a:gd name="connsiteX14" fmla="*/ 1764087 w 2215055"/>
                <a:gd name="connsiteY14" fmla="*/ 1994228 h 2087385"/>
                <a:gd name="connsiteX15" fmla="*/ 1908020 w 2215055"/>
                <a:gd name="connsiteY15" fmla="*/ 1858762 h 2087385"/>
                <a:gd name="connsiteX16" fmla="*/ 1874153 w 2215055"/>
                <a:gd name="connsiteY16" fmla="*/ 1765628 h 2087385"/>
                <a:gd name="connsiteX17" fmla="*/ 1611687 w 2215055"/>
                <a:gd name="connsiteY17" fmla="*/ 1469295 h 2087385"/>
                <a:gd name="connsiteX18" fmla="*/ 1518553 w 2215055"/>
                <a:gd name="connsiteY18" fmla="*/ 1249162 h 2087385"/>
                <a:gd name="connsiteX19" fmla="*/ 1527020 w 2215055"/>
                <a:gd name="connsiteY19" fmla="*/ 1189895 h 2087385"/>
                <a:gd name="connsiteX20" fmla="*/ 1882620 w 2215055"/>
                <a:gd name="connsiteY20" fmla="*/ 1062895 h 2087385"/>
                <a:gd name="connsiteX21" fmla="*/ 2187420 w 2215055"/>
                <a:gd name="connsiteY21" fmla="*/ 1003628 h 2087385"/>
                <a:gd name="connsiteX22" fmla="*/ 2187420 w 2215055"/>
                <a:gd name="connsiteY22" fmla="*/ 842762 h 2087385"/>
                <a:gd name="connsiteX23" fmla="*/ 2068887 w 2215055"/>
                <a:gd name="connsiteY23" fmla="*/ 537962 h 2087385"/>
                <a:gd name="connsiteX24" fmla="*/ 2009620 w 2215055"/>
                <a:gd name="connsiteY24" fmla="*/ 554895 h 2087385"/>
                <a:gd name="connsiteX25" fmla="*/ 1637087 w 2215055"/>
                <a:gd name="connsiteY25" fmla="*/ 707295 h 2087385"/>
                <a:gd name="connsiteX26" fmla="*/ 1408487 w 2215055"/>
                <a:gd name="connsiteY26" fmla="*/ 758095 h 2087385"/>
                <a:gd name="connsiteX27" fmla="*/ 1340753 w 2215055"/>
                <a:gd name="connsiteY27" fmla="*/ 741162 h 2087385"/>
                <a:gd name="connsiteX28" fmla="*/ 1306887 w 2215055"/>
                <a:gd name="connsiteY28" fmla="*/ 597228 h 2087385"/>
                <a:gd name="connsiteX29" fmla="*/ 1289953 w 2215055"/>
                <a:gd name="connsiteY29" fmla="*/ 343228 h 2087385"/>
                <a:gd name="connsiteX30" fmla="*/ 1332287 w 2215055"/>
                <a:gd name="connsiteY30" fmla="*/ 72295 h 2087385"/>
                <a:gd name="connsiteX31" fmla="*/ 1239153 w 2215055"/>
                <a:gd name="connsiteY31" fmla="*/ 4562 h 2087385"/>
                <a:gd name="connsiteX32" fmla="*/ 849687 w 2215055"/>
                <a:gd name="connsiteY32" fmla="*/ 29962 h 2087385"/>
                <a:gd name="connsiteX33" fmla="*/ 888009 w 2215055"/>
                <a:gd name="connsiteY33" fmla="*/ 220239 h 2087385"/>
                <a:gd name="connsiteX34" fmla="*/ 900487 w 2215055"/>
                <a:gd name="connsiteY34" fmla="*/ 571828 h 2087385"/>
                <a:gd name="connsiteX35" fmla="*/ 847013 w 2215055"/>
                <a:gd name="connsiteY35" fmla="*/ 743836 h 2087385"/>
                <a:gd name="connsiteX36" fmla="*/ 646487 w 2215055"/>
                <a:gd name="connsiteY36" fmla="*/ 749628 h 2087385"/>
                <a:gd name="connsiteX37" fmla="*/ 333220 w 2215055"/>
                <a:gd name="connsiteY37" fmla="*/ 622628 h 2087385"/>
                <a:gd name="connsiteX38" fmla="*/ 166114 w 2215055"/>
                <a:gd name="connsiteY38" fmla="*/ 545537 h 2087385"/>
                <a:gd name="connsiteX39" fmla="*/ 36887 w 2215055"/>
                <a:gd name="connsiteY39" fmla="*/ 681895 h 2087385"/>
                <a:gd name="connsiteX40" fmla="*/ 28420 w 2215055"/>
                <a:gd name="connsiteY40" fmla="*/ 1003628 h 2087385"/>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090764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4710 h 2108467"/>
                <a:gd name="connsiteX1" fmla="*/ 477153 w 2215055"/>
                <a:gd name="connsiteY1" fmla="*/ 1117844 h 2108467"/>
                <a:gd name="connsiteX2" fmla="*/ 675452 w 2215055"/>
                <a:gd name="connsiteY2" fmla="*/ 1240834 h 2108467"/>
                <a:gd name="connsiteX3" fmla="*/ 663420 w 2215055"/>
                <a:gd name="connsiteY3" fmla="*/ 1363377 h 2108467"/>
                <a:gd name="connsiteX4" fmla="*/ 451753 w 2215055"/>
                <a:gd name="connsiteY4" fmla="*/ 1651244 h 2108467"/>
                <a:gd name="connsiteX5" fmla="*/ 290887 w 2215055"/>
                <a:gd name="connsiteY5" fmla="*/ 1862910 h 2108467"/>
                <a:gd name="connsiteX6" fmla="*/ 400953 w 2215055"/>
                <a:gd name="connsiteY6" fmla="*/ 2006844 h 2108467"/>
                <a:gd name="connsiteX7" fmla="*/ 646487 w 2215055"/>
                <a:gd name="connsiteY7" fmla="*/ 2108444 h 2108467"/>
                <a:gd name="connsiteX8" fmla="*/ 697287 w 2215055"/>
                <a:gd name="connsiteY8" fmla="*/ 1998377 h 2108467"/>
                <a:gd name="connsiteX9" fmla="*/ 985153 w 2215055"/>
                <a:gd name="connsiteY9" fmla="*/ 1676644 h 2108467"/>
                <a:gd name="connsiteX10" fmla="*/ 1069820 w 2215055"/>
                <a:gd name="connsiteY10" fmla="*/ 1549644 h 2108467"/>
                <a:gd name="connsiteX11" fmla="*/ 1273020 w 2215055"/>
                <a:gd name="connsiteY11" fmla="*/ 1693577 h 2108467"/>
                <a:gd name="connsiteX12" fmla="*/ 1442353 w 2215055"/>
                <a:gd name="connsiteY12" fmla="*/ 1947577 h 2108467"/>
                <a:gd name="connsiteX13" fmla="*/ 1510087 w 2215055"/>
                <a:gd name="connsiteY13" fmla="*/ 2091510 h 2108467"/>
                <a:gd name="connsiteX14" fmla="*/ 1764087 w 2215055"/>
                <a:gd name="connsiteY14" fmla="*/ 2015310 h 2108467"/>
                <a:gd name="connsiteX15" fmla="*/ 1908020 w 2215055"/>
                <a:gd name="connsiteY15" fmla="*/ 1879844 h 2108467"/>
                <a:gd name="connsiteX16" fmla="*/ 1874153 w 2215055"/>
                <a:gd name="connsiteY16" fmla="*/ 1786710 h 2108467"/>
                <a:gd name="connsiteX17" fmla="*/ 1611687 w 2215055"/>
                <a:gd name="connsiteY17" fmla="*/ 1490377 h 2108467"/>
                <a:gd name="connsiteX18" fmla="*/ 1518553 w 2215055"/>
                <a:gd name="connsiteY18" fmla="*/ 1270244 h 2108467"/>
                <a:gd name="connsiteX19" fmla="*/ 1527020 w 2215055"/>
                <a:gd name="connsiteY19" fmla="*/ 1210977 h 2108467"/>
                <a:gd name="connsiteX20" fmla="*/ 1882620 w 2215055"/>
                <a:gd name="connsiteY20" fmla="*/ 1083977 h 2108467"/>
                <a:gd name="connsiteX21" fmla="*/ 2187420 w 2215055"/>
                <a:gd name="connsiteY21" fmla="*/ 1024710 h 2108467"/>
                <a:gd name="connsiteX22" fmla="*/ 2187420 w 2215055"/>
                <a:gd name="connsiteY22" fmla="*/ 863844 h 2108467"/>
                <a:gd name="connsiteX23" fmla="*/ 2068887 w 2215055"/>
                <a:gd name="connsiteY23" fmla="*/ 559044 h 2108467"/>
                <a:gd name="connsiteX24" fmla="*/ 2009620 w 2215055"/>
                <a:gd name="connsiteY24" fmla="*/ 575977 h 2108467"/>
                <a:gd name="connsiteX25" fmla="*/ 1637087 w 2215055"/>
                <a:gd name="connsiteY25" fmla="*/ 728377 h 2108467"/>
                <a:gd name="connsiteX26" fmla="*/ 1408487 w 2215055"/>
                <a:gd name="connsiteY26" fmla="*/ 779177 h 2108467"/>
                <a:gd name="connsiteX27" fmla="*/ 1340753 w 2215055"/>
                <a:gd name="connsiteY27" fmla="*/ 762244 h 2108467"/>
                <a:gd name="connsiteX28" fmla="*/ 1306887 w 2215055"/>
                <a:gd name="connsiteY28" fmla="*/ 618310 h 2108467"/>
                <a:gd name="connsiteX29" fmla="*/ 1289953 w 2215055"/>
                <a:gd name="connsiteY29" fmla="*/ 364310 h 2108467"/>
                <a:gd name="connsiteX30" fmla="*/ 1332287 w 2215055"/>
                <a:gd name="connsiteY30" fmla="*/ 93377 h 2108467"/>
                <a:gd name="connsiteX31" fmla="*/ 1114827 w 2215055"/>
                <a:gd name="connsiteY31" fmla="*/ 1581 h 2108467"/>
                <a:gd name="connsiteX32" fmla="*/ 849687 w 2215055"/>
                <a:gd name="connsiteY32" fmla="*/ 51044 h 2108467"/>
                <a:gd name="connsiteX33" fmla="*/ 888009 w 2215055"/>
                <a:gd name="connsiteY33" fmla="*/ 241321 h 2108467"/>
                <a:gd name="connsiteX34" fmla="*/ 900487 w 2215055"/>
                <a:gd name="connsiteY34" fmla="*/ 592910 h 2108467"/>
                <a:gd name="connsiteX35" fmla="*/ 847013 w 2215055"/>
                <a:gd name="connsiteY35" fmla="*/ 764918 h 2108467"/>
                <a:gd name="connsiteX36" fmla="*/ 646487 w 2215055"/>
                <a:gd name="connsiteY36" fmla="*/ 770710 h 2108467"/>
                <a:gd name="connsiteX37" fmla="*/ 333220 w 2215055"/>
                <a:gd name="connsiteY37" fmla="*/ 643710 h 2108467"/>
                <a:gd name="connsiteX38" fmla="*/ 166114 w 2215055"/>
                <a:gd name="connsiteY38" fmla="*/ 566619 h 2108467"/>
                <a:gd name="connsiteX39" fmla="*/ 36887 w 2215055"/>
                <a:gd name="connsiteY39" fmla="*/ 702977 h 2108467"/>
                <a:gd name="connsiteX40" fmla="*/ 28420 w 2215055"/>
                <a:gd name="connsiteY40" fmla="*/ 1024710 h 2108467"/>
                <a:gd name="connsiteX0" fmla="*/ 28420 w 2215055"/>
                <a:gd name="connsiteY0" fmla="*/ 1023151 h 2106908"/>
                <a:gd name="connsiteX1" fmla="*/ 477153 w 2215055"/>
                <a:gd name="connsiteY1" fmla="*/ 1116285 h 2106908"/>
                <a:gd name="connsiteX2" fmla="*/ 675452 w 2215055"/>
                <a:gd name="connsiteY2" fmla="*/ 1239275 h 2106908"/>
                <a:gd name="connsiteX3" fmla="*/ 663420 w 2215055"/>
                <a:gd name="connsiteY3" fmla="*/ 1361818 h 2106908"/>
                <a:gd name="connsiteX4" fmla="*/ 451753 w 2215055"/>
                <a:gd name="connsiteY4" fmla="*/ 1649685 h 2106908"/>
                <a:gd name="connsiteX5" fmla="*/ 290887 w 2215055"/>
                <a:gd name="connsiteY5" fmla="*/ 1861351 h 2106908"/>
                <a:gd name="connsiteX6" fmla="*/ 400953 w 2215055"/>
                <a:gd name="connsiteY6" fmla="*/ 2005285 h 2106908"/>
                <a:gd name="connsiteX7" fmla="*/ 646487 w 2215055"/>
                <a:gd name="connsiteY7" fmla="*/ 2106885 h 2106908"/>
                <a:gd name="connsiteX8" fmla="*/ 697287 w 2215055"/>
                <a:gd name="connsiteY8" fmla="*/ 1996818 h 2106908"/>
                <a:gd name="connsiteX9" fmla="*/ 985153 w 2215055"/>
                <a:gd name="connsiteY9" fmla="*/ 1675085 h 2106908"/>
                <a:gd name="connsiteX10" fmla="*/ 1069820 w 2215055"/>
                <a:gd name="connsiteY10" fmla="*/ 1548085 h 2106908"/>
                <a:gd name="connsiteX11" fmla="*/ 1273020 w 2215055"/>
                <a:gd name="connsiteY11" fmla="*/ 1692018 h 2106908"/>
                <a:gd name="connsiteX12" fmla="*/ 1442353 w 2215055"/>
                <a:gd name="connsiteY12" fmla="*/ 1946018 h 2106908"/>
                <a:gd name="connsiteX13" fmla="*/ 1510087 w 2215055"/>
                <a:gd name="connsiteY13" fmla="*/ 2089951 h 2106908"/>
                <a:gd name="connsiteX14" fmla="*/ 1764087 w 2215055"/>
                <a:gd name="connsiteY14" fmla="*/ 2013751 h 2106908"/>
                <a:gd name="connsiteX15" fmla="*/ 1908020 w 2215055"/>
                <a:gd name="connsiteY15" fmla="*/ 1878285 h 2106908"/>
                <a:gd name="connsiteX16" fmla="*/ 1874153 w 2215055"/>
                <a:gd name="connsiteY16" fmla="*/ 1785151 h 2106908"/>
                <a:gd name="connsiteX17" fmla="*/ 1611687 w 2215055"/>
                <a:gd name="connsiteY17" fmla="*/ 1488818 h 2106908"/>
                <a:gd name="connsiteX18" fmla="*/ 1518553 w 2215055"/>
                <a:gd name="connsiteY18" fmla="*/ 1268685 h 2106908"/>
                <a:gd name="connsiteX19" fmla="*/ 1527020 w 2215055"/>
                <a:gd name="connsiteY19" fmla="*/ 1209418 h 2106908"/>
                <a:gd name="connsiteX20" fmla="*/ 1882620 w 2215055"/>
                <a:gd name="connsiteY20" fmla="*/ 1082418 h 2106908"/>
                <a:gd name="connsiteX21" fmla="*/ 2187420 w 2215055"/>
                <a:gd name="connsiteY21" fmla="*/ 1023151 h 2106908"/>
                <a:gd name="connsiteX22" fmla="*/ 2187420 w 2215055"/>
                <a:gd name="connsiteY22" fmla="*/ 862285 h 2106908"/>
                <a:gd name="connsiteX23" fmla="*/ 2068887 w 2215055"/>
                <a:gd name="connsiteY23" fmla="*/ 557485 h 2106908"/>
                <a:gd name="connsiteX24" fmla="*/ 2009620 w 2215055"/>
                <a:gd name="connsiteY24" fmla="*/ 574418 h 2106908"/>
                <a:gd name="connsiteX25" fmla="*/ 1637087 w 2215055"/>
                <a:gd name="connsiteY25" fmla="*/ 726818 h 2106908"/>
                <a:gd name="connsiteX26" fmla="*/ 1408487 w 2215055"/>
                <a:gd name="connsiteY26" fmla="*/ 777618 h 2106908"/>
                <a:gd name="connsiteX27" fmla="*/ 1340753 w 2215055"/>
                <a:gd name="connsiteY27" fmla="*/ 760685 h 2106908"/>
                <a:gd name="connsiteX28" fmla="*/ 1306887 w 2215055"/>
                <a:gd name="connsiteY28" fmla="*/ 616751 h 2106908"/>
                <a:gd name="connsiteX29" fmla="*/ 1289953 w 2215055"/>
                <a:gd name="connsiteY29" fmla="*/ 362751 h 2106908"/>
                <a:gd name="connsiteX30" fmla="*/ 1332287 w 2215055"/>
                <a:gd name="connsiteY30" fmla="*/ 91818 h 2106908"/>
                <a:gd name="connsiteX31" fmla="*/ 1114827 w 2215055"/>
                <a:gd name="connsiteY31" fmla="*/ 22 h 2106908"/>
                <a:gd name="connsiteX32" fmla="*/ 849687 w 2215055"/>
                <a:gd name="connsiteY32" fmla="*/ 49485 h 2106908"/>
                <a:gd name="connsiteX33" fmla="*/ 888009 w 2215055"/>
                <a:gd name="connsiteY33" fmla="*/ 239762 h 2106908"/>
                <a:gd name="connsiteX34" fmla="*/ 900487 w 2215055"/>
                <a:gd name="connsiteY34" fmla="*/ 591351 h 2106908"/>
                <a:gd name="connsiteX35" fmla="*/ 847013 w 2215055"/>
                <a:gd name="connsiteY35" fmla="*/ 763359 h 2106908"/>
                <a:gd name="connsiteX36" fmla="*/ 646487 w 2215055"/>
                <a:gd name="connsiteY36" fmla="*/ 769151 h 2106908"/>
                <a:gd name="connsiteX37" fmla="*/ 333220 w 2215055"/>
                <a:gd name="connsiteY37" fmla="*/ 642151 h 2106908"/>
                <a:gd name="connsiteX38" fmla="*/ 166114 w 2215055"/>
                <a:gd name="connsiteY38" fmla="*/ 565060 h 2106908"/>
                <a:gd name="connsiteX39" fmla="*/ 36887 w 2215055"/>
                <a:gd name="connsiteY39" fmla="*/ 701418 h 2106908"/>
                <a:gd name="connsiteX40" fmla="*/ 28420 w 2215055"/>
                <a:gd name="connsiteY40" fmla="*/ 1023151 h 2106908"/>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6887 w 2215055"/>
                <a:gd name="connsiteY28" fmla="*/ 61701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408487 w 2215055"/>
                <a:gd name="connsiteY26" fmla="*/ 777885 h 2107175"/>
                <a:gd name="connsiteX27" fmla="*/ 1340753 w 2215055"/>
                <a:gd name="connsiteY27" fmla="*/ 760952 h 2107175"/>
                <a:gd name="connsiteX28" fmla="*/ 1302877 w 2215055"/>
                <a:gd name="connsiteY28" fmla="*/ 621028 h 2107175"/>
                <a:gd name="connsiteX29" fmla="*/ 1289953 w 2215055"/>
                <a:gd name="connsiteY29" fmla="*/ 363018 h 2107175"/>
                <a:gd name="connsiteX30" fmla="*/ 1332287 w 2215055"/>
                <a:gd name="connsiteY30" fmla="*/ 64012 h 2107175"/>
                <a:gd name="connsiteX31" fmla="*/ 1114827 w 2215055"/>
                <a:gd name="connsiteY31" fmla="*/ 289 h 2107175"/>
                <a:gd name="connsiteX32" fmla="*/ 849687 w 2215055"/>
                <a:gd name="connsiteY32" fmla="*/ 49752 h 2107175"/>
                <a:gd name="connsiteX33" fmla="*/ 888009 w 2215055"/>
                <a:gd name="connsiteY33" fmla="*/ 240029 h 2107175"/>
                <a:gd name="connsiteX34" fmla="*/ 900487 w 2215055"/>
                <a:gd name="connsiteY34" fmla="*/ 591618 h 2107175"/>
                <a:gd name="connsiteX35" fmla="*/ 847013 w 2215055"/>
                <a:gd name="connsiteY35" fmla="*/ 763626 h 2107175"/>
                <a:gd name="connsiteX36" fmla="*/ 646487 w 2215055"/>
                <a:gd name="connsiteY36" fmla="*/ 769418 h 2107175"/>
                <a:gd name="connsiteX37" fmla="*/ 333220 w 2215055"/>
                <a:gd name="connsiteY37" fmla="*/ 642418 h 2107175"/>
                <a:gd name="connsiteX38" fmla="*/ 166114 w 2215055"/>
                <a:gd name="connsiteY38" fmla="*/ 565327 h 2107175"/>
                <a:gd name="connsiteX39" fmla="*/ 36887 w 2215055"/>
                <a:gd name="connsiteY39" fmla="*/ 701685 h 2107175"/>
                <a:gd name="connsiteX40" fmla="*/ 28420 w 2215055"/>
                <a:gd name="connsiteY40"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40753 w 2215055"/>
                <a:gd name="connsiteY26" fmla="*/ 760952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302877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8866 w 2215055"/>
                <a:gd name="connsiteY27" fmla="*/ 617017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37087 w 2215055"/>
                <a:gd name="connsiteY25" fmla="*/ 727085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5055"/>
                <a:gd name="connsiteY0" fmla="*/ 1023418 h 2107175"/>
                <a:gd name="connsiteX1" fmla="*/ 477153 w 2215055"/>
                <a:gd name="connsiteY1" fmla="*/ 1116552 h 2107175"/>
                <a:gd name="connsiteX2" fmla="*/ 675452 w 2215055"/>
                <a:gd name="connsiteY2" fmla="*/ 1239542 h 2107175"/>
                <a:gd name="connsiteX3" fmla="*/ 663420 w 2215055"/>
                <a:gd name="connsiteY3" fmla="*/ 1362085 h 2107175"/>
                <a:gd name="connsiteX4" fmla="*/ 451753 w 2215055"/>
                <a:gd name="connsiteY4" fmla="*/ 1649952 h 2107175"/>
                <a:gd name="connsiteX5" fmla="*/ 290887 w 2215055"/>
                <a:gd name="connsiteY5" fmla="*/ 1861618 h 2107175"/>
                <a:gd name="connsiteX6" fmla="*/ 400953 w 2215055"/>
                <a:gd name="connsiteY6" fmla="*/ 2005552 h 2107175"/>
                <a:gd name="connsiteX7" fmla="*/ 646487 w 2215055"/>
                <a:gd name="connsiteY7" fmla="*/ 2107152 h 2107175"/>
                <a:gd name="connsiteX8" fmla="*/ 697287 w 2215055"/>
                <a:gd name="connsiteY8" fmla="*/ 1997085 h 2107175"/>
                <a:gd name="connsiteX9" fmla="*/ 985153 w 2215055"/>
                <a:gd name="connsiteY9" fmla="*/ 1675352 h 2107175"/>
                <a:gd name="connsiteX10" fmla="*/ 1069820 w 2215055"/>
                <a:gd name="connsiteY10" fmla="*/ 1548352 h 2107175"/>
                <a:gd name="connsiteX11" fmla="*/ 1273020 w 2215055"/>
                <a:gd name="connsiteY11" fmla="*/ 1692285 h 2107175"/>
                <a:gd name="connsiteX12" fmla="*/ 1442353 w 2215055"/>
                <a:gd name="connsiteY12" fmla="*/ 1946285 h 2107175"/>
                <a:gd name="connsiteX13" fmla="*/ 1510087 w 2215055"/>
                <a:gd name="connsiteY13" fmla="*/ 2090218 h 2107175"/>
                <a:gd name="connsiteX14" fmla="*/ 1764087 w 2215055"/>
                <a:gd name="connsiteY14" fmla="*/ 2014018 h 2107175"/>
                <a:gd name="connsiteX15" fmla="*/ 1908020 w 2215055"/>
                <a:gd name="connsiteY15" fmla="*/ 1878552 h 2107175"/>
                <a:gd name="connsiteX16" fmla="*/ 1874153 w 2215055"/>
                <a:gd name="connsiteY16" fmla="*/ 1785418 h 2107175"/>
                <a:gd name="connsiteX17" fmla="*/ 1611687 w 2215055"/>
                <a:gd name="connsiteY17" fmla="*/ 1489085 h 2107175"/>
                <a:gd name="connsiteX18" fmla="*/ 1518553 w 2215055"/>
                <a:gd name="connsiteY18" fmla="*/ 1268952 h 2107175"/>
                <a:gd name="connsiteX19" fmla="*/ 1527020 w 2215055"/>
                <a:gd name="connsiteY19" fmla="*/ 1209685 h 2107175"/>
                <a:gd name="connsiteX20" fmla="*/ 1882620 w 2215055"/>
                <a:gd name="connsiteY20" fmla="*/ 1082685 h 2107175"/>
                <a:gd name="connsiteX21" fmla="*/ 2187420 w 2215055"/>
                <a:gd name="connsiteY21" fmla="*/ 1023418 h 2107175"/>
                <a:gd name="connsiteX22" fmla="*/ 2187420 w 2215055"/>
                <a:gd name="connsiteY22" fmla="*/ 862552 h 2107175"/>
                <a:gd name="connsiteX23" fmla="*/ 2068887 w 2215055"/>
                <a:gd name="connsiteY23" fmla="*/ 557752 h 2107175"/>
                <a:gd name="connsiteX24" fmla="*/ 2009620 w 2215055"/>
                <a:gd name="connsiteY24" fmla="*/ 574685 h 2107175"/>
                <a:gd name="connsiteX25" fmla="*/ 1641097 w 2215055"/>
                <a:gd name="connsiteY25" fmla="*/ 743128 h 2107175"/>
                <a:gd name="connsiteX26" fmla="*/ 1364817 w 2215055"/>
                <a:gd name="connsiteY26" fmla="*/ 776994 h 2107175"/>
                <a:gd name="connsiteX27" fmla="*/ 1290845 w 2215055"/>
                <a:gd name="connsiteY27" fmla="*/ 621028 h 2107175"/>
                <a:gd name="connsiteX28" fmla="*/ 1289953 w 2215055"/>
                <a:gd name="connsiteY28" fmla="*/ 363018 h 2107175"/>
                <a:gd name="connsiteX29" fmla="*/ 1332287 w 2215055"/>
                <a:gd name="connsiteY29" fmla="*/ 64012 h 2107175"/>
                <a:gd name="connsiteX30" fmla="*/ 1114827 w 2215055"/>
                <a:gd name="connsiteY30" fmla="*/ 289 h 2107175"/>
                <a:gd name="connsiteX31" fmla="*/ 849687 w 2215055"/>
                <a:gd name="connsiteY31" fmla="*/ 49752 h 2107175"/>
                <a:gd name="connsiteX32" fmla="*/ 888009 w 2215055"/>
                <a:gd name="connsiteY32" fmla="*/ 240029 h 2107175"/>
                <a:gd name="connsiteX33" fmla="*/ 900487 w 2215055"/>
                <a:gd name="connsiteY33" fmla="*/ 591618 h 2107175"/>
                <a:gd name="connsiteX34" fmla="*/ 847013 w 2215055"/>
                <a:gd name="connsiteY34" fmla="*/ 763626 h 2107175"/>
                <a:gd name="connsiteX35" fmla="*/ 646487 w 2215055"/>
                <a:gd name="connsiteY35" fmla="*/ 769418 h 2107175"/>
                <a:gd name="connsiteX36" fmla="*/ 333220 w 2215055"/>
                <a:gd name="connsiteY36" fmla="*/ 642418 h 2107175"/>
                <a:gd name="connsiteX37" fmla="*/ 166114 w 2215055"/>
                <a:gd name="connsiteY37" fmla="*/ 565327 h 2107175"/>
                <a:gd name="connsiteX38" fmla="*/ 36887 w 2215055"/>
                <a:gd name="connsiteY38" fmla="*/ 701685 h 2107175"/>
                <a:gd name="connsiteX39" fmla="*/ 28420 w 2215055"/>
                <a:gd name="connsiteY39" fmla="*/ 1023418 h 2107175"/>
                <a:gd name="connsiteX0" fmla="*/ 28420 w 2218087"/>
                <a:gd name="connsiteY0" fmla="*/ 1023418 h 2107175"/>
                <a:gd name="connsiteX1" fmla="*/ 477153 w 2218087"/>
                <a:gd name="connsiteY1" fmla="*/ 1116552 h 2107175"/>
                <a:gd name="connsiteX2" fmla="*/ 675452 w 2218087"/>
                <a:gd name="connsiteY2" fmla="*/ 1239542 h 2107175"/>
                <a:gd name="connsiteX3" fmla="*/ 663420 w 2218087"/>
                <a:gd name="connsiteY3" fmla="*/ 1362085 h 2107175"/>
                <a:gd name="connsiteX4" fmla="*/ 451753 w 2218087"/>
                <a:gd name="connsiteY4" fmla="*/ 1649952 h 2107175"/>
                <a:gd name="connsiteX5" fmla="*/ 290887 w 2218087"/>
                <a:gd name="connsiteY5" fmla="*/ 1861618 h 2107175"/>
                <a:gd name="connsiteX6" fmla="*/ 400953 w 2218087"/>
                <a:gd name="connsiteY6" fmla="*/ 2005552 h 2107175"/>
                <a:gd name="connsiteX7" fmla="*/ 646487 w 2218087"/>
                <a:gd name="connsiteY7" fmla="*/ 2107152 h 2107175"/>
                <a:gd name="connsiteX8" fmla="*/ 697287 w 2218087"/>
                <a:gd name="connsiteY8" fmla="*/ 1997085 h 2107175"/>
                <a:gd name="connsiteX9" fmla="*/ 985153 w 2218087"/>
                <a:gd name="connsiteY9" fmla="*/ 1675352 h 2107175"/>
                <a:gd name="connsiteX10" fmla="*/ 1069820 w 2218087"/>
                <a:gd name="connsiteY10" fmla="*/ 1548352 h 2107175"/>
                <a:gd name="connsiteX11" fmla="*/ 1273020 w 2218087"/>
                <a:gd name="connsiteY11" fmla="*/ 1692285 h 2107175"/>
                <a:gd name="connsiteX12" fmla="*/ 1442353 w 2218087"/>
                <a:gd name="connsiteY12" fmla="*/ 1946285 h 2107175"/>
                <a:gd name="connsiteX13" fmla="*/ 1510087 w 2218087"/>
                <a:gd name="connsiteY13" fmla="*/ 2090218 h 2107175"/>
                <a:gd name="connsiteX14" fmla="*/ 1764087 w 2218087"/>
                <a:gd name="connsiteY14" fmla="*/ 2014018 h 2107175"/>
                <a:gd name="connsiteX15" fmla="*/ 1908020 w 2218087"/>
                <a:gd name="connsiteY15" fmla="*/ 1878552 h 2107175"/>
                <a:gd name="connsiteX16" fmla="*/ 1874153 w 2218087"/>
                <a:gd name="connsiteY16" fmla="*/ 1785418 h 2107175"/>
                <a:gd name="connsiteX17" fmla="*/ 1611687 w 2218087"/>
                <a:gd name="connsiteY17" fmla="*/ 1489085 h 2107175"/>
                <a:gd name="connsiteX18" fmla="*/ 1518553 w 2218087"/>
                <a:gd name="connsiteY18" fmla="*/ 1268952 h 2107175"/>
                <a:gd name="connsiteX19" fmla="*/ 1527020 w 2218087"/>
                <a:gd name="connsiteY19" fmla="*/ 1209685 h 2107175"/>
                <a:gd name="connsiteX20" fmla="*/ 1882620 w 2218087"/>
                <a:gd name="connsiteY20" fmla="*/ 1082685 h 2107175"/>
                <a:gd name="connsiteX21" fmla="*/ 2187420 w 2218087"/>
                <a:gd name="connsiteY21" fmla="*/ 1023418 h 2107175"/>
                <a:gd name="connsiteX22" fmla="*/ 2187420 w 2218087"/>
                <a:gd name="connsiteY22" fmla="*/ 862552 h 2107175"/>
                <a:gd name="connsiteX23" fmla="*/ 2009620 w 2218087"/>
                <a:gd name="connsiteY23" fmla="*/ 574685 h 2107175"/>
                <a:gd name="connsiteX24" fmla="*/ 1641097 w 2218087"/>
                <a:gd name="connsiteY24" fmla="*/ 743128 h 2107175"/>
                <a:gd name="connsiteX25" fmla="*/ 1364817 w 2218087"/>
                <a:gd name="connsiteY25" fmla="*/ 776994 h 2107175"/>
                <a:gd name="connsiteX26" fmla="*/ 1290845 w 2218087"/>
                <a:gd name="connsiteY26" fmla="*/ 621028 h 2107175"/>
                <a:gd name="connsiteX27" fmla="*/ 1289953 w 2218087"/>
                <a:gd name="connsiteY27" fmla="*/ 363018 h 2107175"/>
                <a:gd name="connsiteX28" fmla="*/ 1332287 w 2218087"/>
                <a:gd name="connsiteY28" fmla="*/ 64012 h 2107175"/>
                <a:gd name="connsiteX29" fmla="*/ 1114827 w 2218087"/>
                <a:gd name="connsiteY29" fmla="*/ 289 h 2107175"/>
                <a:gd name="connsiteX30" fmla="*/ 849687 w 2218087"/>
                <a:gd name="connsiteY30" fmla="*/ 49752 h 2107175"/>
                <a:gd name="connsiteX31" fmla="*/ 888009 w 2218087"/>
                <a:gd name="connsiteY31" fmla="*/ 240029 h 2107175"/>
                <a:gd name="connsiteX32" fmla="*/ 900487 w 2218087"/>
                <a:gd name="connsiteY32" fmla="*/ 591618 h 2107175"/>
                <a:gd name="connsiteX33" fmla="*/ 847013 w 2218087"/>
                <a:gd name="connsiteY33" fmla="*/ 763626 h 2107175"/>
                <a:gd name="connsiteX34" fmla="*/ 646487 w 2218087"/>
                <a:gd name="connsiteY34" fmla="*/ 769418 h 2107175"/>
                <a:gd name="connsiteX35" fmla="*/ 333220 w 2218087"/>
                <a:gd name="connsiteY35" fmla="*/ 642418 h 2107175"/>
                <a:gd name="connsiteX36" fmla="*/ 166114 w 2218087"/>
                <a:gd name="connsiteY36" fmla="*/ 565327 h 2107175"/>
                <a:gd name="connsiteX37" fmla="*/ 36887 w 2218087"/>
                <a:gd name="connsiteY37" fmla="*/ 701685 h 2107175"/>
                <a:gd name="connsiteX38" fmla="*/ 28420 w 2218087"/>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17236"/>
                <a:gd name="connsiteY0" fmla="*/ 1023418 h 2107175"/>
                <a:gd name="connsiteX1" fmla="*/ 477153 w 2217236"/>
                <a:gd name="connsiteY1" fmla="*/ 1116552 h 2107175"/>
                <a:gd name="connsiteX2" fmla="*/ 675452 w 2217236"/>
                <a:gd name="connsiteY2" fmla="*/ 1239542 h 2107175"/>
                <a:gd name="connsiteX3" fmla="*/ 663420 w 2217236"/>
                <a:gd name="connsiteY3" fmla="*/ 1362085 h 2107175"/>
                <a:gd name="connsiteX4" fmla="*/ 451753 w 2217236"/>
                <a:gd name="connsiteY4" fmla="*/ 1649952 h 2107175"/>
                <a:gd name="connsiteX5" fmla="*/ 290887 w 2217236"/>
                <a:gd name="connsiteY5" fmla="*/ 1861618 h 2107175"/>
                <a:gd name="connsiteX6" fmla="*/ 400953 w 2217236"/>
                <a:gd name="connsiteY6" fmla="*/ 2005552 h 2107175"/>
                <a:gd name="connsiteX7" fmla="*/ 646487 w 2217236"/>
                <a:gd name="connsiteY7" fmla="*/ 2107152 h 2107175"/>
                <a:gd name="connsiteX8" fmla="*/ 697287 w 2217236"/>
                <a:gd name="connsiteY8" fmla="*/ 1997085 h 2107175"/>
                <a:gd name="connsiteX9" fmla="*/ 985153 w 2217236"/>
                <a:gd name="connsiteY9" fmla="*/ 1675352 h 2107175"/>
                <a:gd name="connsiteX10" fmla="*/ 1069820 w 2217236"/>
                <a:gd name="connsiteY10" fmla="*/ 1548352 h 2107175"/>
                <a:gd name="connsiteX11" fmla="*/ 1273020 w 2217236"/>
                <a:gd name="connsiteY11" fmla="*/ 1692285 h 2107175"/>
                <a:gd name="connsiteX12" fmla="*/ 1442353 w 2217236"/>
                <a:gd name="connsiteY12" fmla="*/ 1946285 h 2107175"/>
                <a:gd name="connsiteX13" fmla="*/ 1510087 w 2217236"/>
                <a:gd name="connsiteY13" fmla="*/ 2090218 h 2107175"/>
                <a:gd name="connsiteX14" fmla="*/ 1764087 w 2217236"/>
                <a:gd name="connsiteY14" fmla="*/ 2014018 h 2107175"/>
                <a:gd name="connsiteX15" fmla="*/ 1908020 w 2217236"/>
                <a:gd name="connsiteY15" fmla="*/ 1878552 h 2107175"/>
                <a:gd name="connsiteX16" fmla="*/ 1874153 w 2217236"/>
                <a:gd name="connsiteY16" fmla="*/ 1785418 h 2107175"/>
                <a:gd name="connsiteX17" fmla="*/ 1611687 w 2217236"/>
                <a:gd name="connsiteY17" fmla="*/ 1489085 h 2107175"/>
                <a:gd name="connsiteX18" fmla="*/ 1518553 w 2217236"/>
                <a:gd name="connsiteY18" fmla="*/ 1268952 h 2107175"/>
                <a:gd name="connsiteX19" fmla="*/ 1527020 w 2217236"/>
                <a:gd name="connsiteY19" fmla="*/ 1209685 h 2107175"/>
                <a:gd name="connsiteX20" fmla="*/ 1882620 w 2217236"/>
                <a:gd name="connsiteY20" fmla="*/ 1082685 h 2107175"/>
                <a:gd name="connsiteX21" fmla="*/ 2187420 w 2217236"/>
                <a:gd name="connsiteY21" fmla="*/ 1023418 h 2107175"/>
                <a:gd name="connsiteX22" fmla="*/ 2187420 w 2217236"/>
                <a:gd name="connsiteY22" fmla="*/ 862552 h 2107175"/>
                <a:gd name="connsiteX23" fmla="*/ 2025662 w 2217236"/>
                <a:gd name="connsiteY23" fmla="*/ 570674 h 2107175"/>
                <a:gd name="connsiteX24" fmla="*/ 1641097 w 2217236"/>
                <a:gd name="connsiteY24" fmla="*/ 743128 h 2107175"/>
                <a:gd name="connsiteX25" fmla="*/ 1364817 w 2217236"/>
                <a:gd name="connsiteY25" fmla="*/ 776994 h 2107175"/>
                <a:gd name="connsiteX26" fmla="*/ 1290845 w 2217236"/>
                <a:gd name="connsiteY26" fmla="*/ 621028 h 2107175"/>
                <a:gd name="connsiteX27" fmla="*/ 1289953 w 2217236"/>
                <a:gd name="connsiteY27" fmla="*/ 363018 h 2107175"/>
                <a:gd name="connsiteX28" fmla="*/ 1332287 w 2217236"/>
                <a:gd name="connsiteY28" fmla="*/ 64012 h 2107175"/>
                <a:gd name="connsiteX29" fmla="*/ 1114827 w 2217236"/>
                <a:gd name="connsiteY29" fmla="*/ 289 h 2107175"/>
                <a:gd name="connsiteX30" fmla="*/ 849687 w 2217236"/>
                <a:gd name="connsiteY30" fmla="*/ 49752 h 2107175"/>
                <a:gd name="connsiteX31" fmla="*/ 888009 w 2217236"/>
                <a:gd name="connsiteY31" fmla="*/ 240029 h 2107175"/>
                <a:gd name="connsiteX32" fmla="*/ 900487 w 2217236"/>
                <a:gd name="connsiteY32" fmla="*/ 591618 h 2107175"/>
                <a:gd name="connsiteX33" fmla="*/ 847013 w 2217236"/>
                <a:gd name="connsiteY33" fmla="*/ 763626 h 2107175"/>
                <a:gd name="connsiteX34" fmla="*/ 646487 w 2217236"/>
                <a:gd name="connsiteY34" fmla="*/ 769418 h 2107175"/>
                <a:gd name="connsiteX35" fmla="*/ 333220 w 2217236"/>
                <a:gd name="connsiteY35" fmla="*/ 642418 h 2107175"/>
                <a:gd name="connsiteX36" fmla="*/ 166114 w 2217236"/>
                <a:gd name="connsiteY36" fmla="*/ 565327 h 2107175"/>
                <a:gd name="connsiteX37" fmla="*/ 36887 w 2217236"/>
                <a:gd name="connsiteY37" fmla="*/ 701685 h 2107175"/>
                <a:gd name="connsiteX38" fmla="*/ 28420 w 2217236"/>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05654"/>
                <a:gd name="connsiteY0" fmla="*/ 1023418 h 2107175"/>
                <a:gd name="connsiteX1" fmla="*/ 477153 w 2205654"/>
                <a:gd name="connsiteY1" fmla="*/ 1116552 h 2107175"/>
                <a:gd name="connsiteX2" fmla="*/ 675452 w 2205654"/>
                <a:gd name="connsiteY2" fmla="*/ 1239542 h 2107175"/>
                <a:gd name="connsiteX3" fmla="*/ 663420 w 2205654"/>
                <a:gd name="connsiteY3" fmla="*/ 1362085 h 2107175"/>
                <a:gd name="connsiteX4" fmla="*/ 451753 w 2205654"/>
                <a:gd name="connsiteY4" fmla="*/ 1649952 h 2107175"/>
                <a:gd name="connsiteX5" fmla="*/ 290887 w 2205654"/>
                <a:gd name="connsiteY5" fmla="*/ 1861618 h 2107175"/>
                <a:gd name="connsiteX6" fmla="*/ 400953 w 2205654"/>
                <a:gd name="connsiteY6" fmla="*/ 2005552 h 2107175"/>
                <a:gd name="connsiteX7" fmla="*/ 646487 w 2205654"/>
                <a:gd name="connsiteY7" fmla="*/ 2107152 h 2107175"/>
                <a:gd name="connsiteX8" fmla="*/ 697287 w 2205654"/>
                <a:gd name="connsiteY8" fmla="*/ 1997085 h 2107175"/>
                <a:gd name="connsiteX9" fmla="*/ 985153 w 2205654"/>
                <a:gd name="connsiteY9" fmla="*/ 1675352 h 2107175"/>
                <a:gd name="connsiteX10" fmla="*/ 1069820 w 2205654"/>
                <a:gd name="connsiteY10" fmla="*/ 1548352 h 2107175"/>
                <a:gd name="connsiteX11" fmla="*/ 1273020 w 2205654"/>
                <a:gd name="connsiteY11" fmla="*/ 1692285 h 2107175"/>
                <a:gd name="connsiteX12" fmla="*/ 1442353 w 2205654"/>
                <a:gd name="connsiteY12" fmla="*/ 1946285 h 2107175"/>
                <a:gd name="connsiteX13" fmla="*/ 1510087 w 2205654"/>
                <a:gd name="connsiteY13" fmla="*/ 2090218 h 2107175"/>
                <a:gd name="connsiteX14" fmla="*/ 1764087 w 2205654"/>
                <a:gd name="connsiteY14" fmla="*/ 2014018 h 2107175"/>
                <a:gd name="connsiteX15" fmla="*/ 1908020 w 2205654"/>
                <a:gd name="connsiteY15" fmla="*/ 1878552 h 2107175"/>
                <a:gd name="connsiteX16" fmla="*/ 1874153 w 2205654"/>
                <a:gd name="connsiteY16" fmla="*/ 1785418 h 2107175"/>
                <a:gd name="connsiteX17" fmla="*/ 1611687 w 2205654"/>
                <a:gd name="connsiteY17" fmla="*/ 1489085 h 2107175"/>
                <a:gd name="connsiteX18" fmla="*/ 1518553 w 2205654"/>
                <a:gd name="connsiteY18" fmla="*/ 1268952 h 2107175"/>
                <a:gd name="connsiteX19" fmla="*/ 1527020 w 2205654"/>
                <a:gd name="connsiteY19" fmla="*/ 1209685 h 2107175"/>
                <a:gd name="connsiteX20" fmla="*/ 1882620 w 2205654"/>
                <a:gd name="connsiteY20" fmla="*/ 1082685 h 2107175"/>
                <a:gd name="connsiteX21" fmla="*/ 2187420 w 2205654"/>
                <a:gd name="connsiteY21" fmla="*/ 1023418 h 2107175"/>
                <a:gd name="connsiteX22" fmla="*/ 2155335 w 2205654"/>
                <a:gd name="connsiteY22" fmla="*/ 782341 h 2107175"/>
                <a:gd name="connsiteX23" fmla="*/ 2025662 w 2205654"/>
                <a:gd name="connsiteY23" fmla="*/ 570674 h 2107175"/>
                <a:gd name="connsiteX24" fmla="*/ 1641097 w 2205654"/>
                <a:gd name="connsiteY24" fmla="*/ 743128 h 2107175"/>
                <a:gd name="connsiteX25" fmla="*/ 1364817 w 2205654"/>
                <a:gd name="connsiteY25" fmla="*/ 776994 h 2107175"/>
                <a:gd name="connsiteX26" fmla="*/ 1290845 w 2205654"/>
                <a:gd name="connsiteY26" fmla="*/ 621028 h 2107175"/>
                <a:gd name="connsiteX27" fmla="*/ 1289953 w 2205654"/>
                <a:gd name="connsiteY27" fmla="*/ 363018 h 2107175"/>
                <a:gd name="connsiteX28" fmla="*/ 1332287 w 2205654"/>
                <a:gd name="connsiteY28" fmla="*/ 64012 h 2107175"/>
                <a:gd name="connsiteX29" fmla="*/ 1114827 w 2205654"/>
                <a:gd name="connsiteY29" fmla="*/ 289 h 2107175"/>
                <a:gd name="connsiteX30" fmla="*/ 849687 w 2205654"/>
                <a:gd name="connsiteY30" fmla="*/ 49752 h 2107175"/>
                <a:gd name="connsiteX31" fmla="*/ 888009 w 2205654"/>
                <a:gd name="connsiteY31" fmla="*/ 240029 h 2107175"/>
                <a:gd name="connsiteX32" fmla="*/ 900487 w 2205654"/>
                <a:gd name="connsiteY32" fmla="*/ 591618 h 2107175"/>
                <a:gd name="connsiteX33" fmla="*/ 847013 w 2205654"/>
                <a:gd name="connsiteY33" fmla="*/ 763626 h 2107175"/>
                <a:gd name="connsiteX34" fmla="*/ 646487 w 2205654"/>
                <a:gd name="connsiteY34" fmla="*/ 769418 h 2107175"/>
                <a:gd name="connsiteX35" fmla="*/ 333220 w 2205654"/>
                <a:gd name="connsiteY35" fmla="*/ 642418 h 2107175"/>
                <a:gd name="connsiteX36" fmla="*/ 166114 w 2205654"/>
                <a:gd name="connsiteY36" fmla="*/ 565327 h 2107175"/>
                <a:gd name="connsiteX37" fmla="*/ 36887 w 2205654"/>
                <a:gd name="connsiteY37" fmla="*/ 701685 h 2107175"/>
                <a:gd name="connsiteX38" fmla="*/ 28420 w 2205654"/>
                <a:gd name="connsiteY38" fmla="*/ 1023418 h 2107175"/>
                <a:gd name="connsiteX0" fmla="*/ 28420 w 2210939"/>
                <a:gd name="connsiteY0" fmla="*/ 1023418 h 2107175"/>
                <a:gd name="connsiteX1" fmla="*/ 477153 w 2210939"/>
                <a:gd name="connsiteY1" fmla="*/ 1116552 h 2107175"/>
                <a:gd name="connsiteX2" fmla="*/ 675452 w 2210939"/>
                <a:gd name="connsiteY2" fmla="*/ 1239542 h 2107175"/>
                <a:gd name="connsiteX3" fmla="*/ 663420 w 2210939"/>
                <a:gd name="connsiteY3" fmla="*/ 1362085 h 2107175"/>
                <a:gd name="connsiteX4" fmla="*/ 451753 w 2210939"/>
                <a:gd name="connsiteY4" fmla="*/ 1649952 h 2107175"/>
                <a:gd name="connsiteX5" fmla="*/ 290887 w 2210939"/>
                <a:gd name="connsiteY5" fmla="*/ 1861618 h 2107175"/>
                <a:gd name="connsiteX6" fmla="*/ 400953 w 2210939"/>
                <a:gd name="connsiteY6" fmla="*/ 2005552 h 2107175"/>
                <a:gd name="connsiteX7" fmla="*/ 646487 w 2210939"/>
                <a:gd name="connsiteY7" fmla="*/ 2107152 h 2107175"/>
                <a:gd name="connsiteX8" fmla="*/ 697287 w 2210939"/>
                <a:gd name="connsiteY8" fmla="*/ 1997085 h 2107175"/>
                <a:gd name="connsiteX9" fmla="*/ 985153 w 2210939"/>
                <a:gd name="connsiteY9" fmla="*/ 1675352 h 2107175"/>
                <a:gd name="connsiteX10" fmla="*/ 1069820 w 2210939"/>
                <a:gd name="connsiteY10" fmla="*/ 1548352 h 2107175"/>
                <a:gd name="connsiteX11" fmla="*/ 1273020 w 2210939"/>
                <a:gd name="connsiteY11" fmla="*/ 1692285 h 2107175"/>
                <a:gd name="connsiteX12" fmla="*/ 1442353 w 2210939"/>
                <a:gd name="connsiteY12" fmla="*/ 1946285 h 2107175"/>
                <a:gd name="connsiteX13" fmla="*/ 1510087 w 2210939"/>
                <a:gd name="connsiteY13" fmla="*/ 2090218 h 2107175"/>
                <a:gd name="connsiteX14" fmla="*/ 1764087 w 2210939"/>
                <a:gd name="connsiteY14" fmla="*/ 2014018 h 2107175"/>
                <a:gd name="connsiteX15" fmla="*/ 1908020 w 2210939"/>
                <a:gd name="connsiteY15" fmla="*/ 1878552 h 2107175"/>
                <a:gd name="connsiteX16" fmla="*/ 1874153 w 2210939"/>
                <a:gd name="connsiteY16" fmla="*/ 1785418 h 2107175"/>
                <a:gd name="connsiteX17" fmla="*/ 1611687 w 2210939"/>
                <a:gd name="connsiteY17" fmla="*/ 1489085 h 2107175"/>
                <a:gd name="connsiteX18" fmla="*/ 1518553 w 2210939"/>
                <a:gd name="connsiteY18" fmla="*/ 1268952 h 2107175"/>
                <a:gd name="connsiteX19" fmla="*/ 1527020 w 2210939"/>
                <a:gd name="connsiteY19" fmla="*/ 1209685 h 2107175"/>
                <a:gd name="connsiteX20" fmla="*/ 1882620 w 2210939"/>
                <a:gd name="connsiteY20" fmla="*/ 1082685 h 2107175"/>
                <a:gd name="connsiteX21" fmla="*/ 2187420 w 2210939"/>
                <a:gd name="connsiteY21" fmla="*/ 1023418 h 2107175"/>
                <a:gd name="connsiteX22" fmla="*/ 2155335 w 2210939"/>
                <a:gd name="connsiteY22" fmla="*/ 782341 h 2107175"/>
                <a:gd name="connsiteX23" fmla="*/ 2025662 w 2210939"/>
                <a:gd name="connsiteY23" fmla="*/ 570674 h 2107175"/>
                <a:gd name="connsiteX24" fmla="*/ 1641097 w 2210939"/>
                <a:gd name="connsiteY24" fmla="*/ 743128 h 2107175"/>
                <a:gd name="connsiteX25" fmla="*/ 1364817 w 2210939"/>
                <a:gd name="connsiteY25" fmla="*/ 776994 h 2107175"/>
                <a:gd name="connsiteX26" fmla="*/ 1290845 w 2210939"/>
                <a:gd name="connsiteY26" fmla="*/ 621028 h 2107175"/>
                <a:gd name="connsiteX27" fmla="*/ 1289953 w 2210939"/>
                <a:gd name="connsiteY27" fmla="*/ 363018 h 2107175"/>
                <a:gd name="connsiteX28" fmla="*/ 1332287 w 2210939"/>
                <a:gd name="connsiteY28" fmla="*/ 64012 h 2107175"/>
                <a:gd name="connsiteX29" fmla="*/ 1114827 w 2210939"/>
                <a:gd name="connsiteY29" fmla="*/ 289 h 2107175"/>
                <a:gd name="connsiteX30" fmla="*/ 849687 w 2210939"/>
                <a:gd name="connsiteY30" fmla="*/ 49752 h 2107175"/>
                <a:gd name="connsiteX31" fmla="*/ 888009 w 2210939"/>
                <a:gd name="connsiteY31" fmla="*/ 240029 h 2107175"/>
                <a:gd name="connsiteX32" fmla="*/ 900487 w 2210939"/>
                <a:gd name="connsiteY32" fmla="*/ 591618 h 2107175"/>
                <a:gd name="connsiteX33" fmla="*/ 847013 w 2210939"/>
                <a:gd name="connsiteY33" fmla="*/ 763626 h 2107175"/>
                <a:gd name="connsiteX34" fmla="*/ 646487 w 2210939"/>
                <a:gd name="connsiteY34" fmla="*/ 769418 h 2107175"/>
                <a:gd name="connsiteX35" fmla="*/ 333220 w 2210939"/>
                <a:gd name="connsiteY35" fmla="*/ 642418 h 2107175"/>
                <a:gd name="connsiteX36" fmla="*/ 166114 w 2210939"/>
                <a:gd name="connsiteY36" fmla="*/ 565327 h 2107175"/>
                <a:gd name="connsiteX37" fmla="*/ 36887 w 2210939"/>
                <a:gd name="connsiteY37" fmla="*/ 701685 h 2107175"/>
                <a:gd name="connsiteX38" fmla="*/ 28420 w 2210939"/>
                <a:gd name="connsiteY38" fmla="*/ 1023418 h 2107175"/>
                <a:gd name="connsiteX0" fmla="*/ 28420 w 2192138"/>
                <a:gd name="connsiteY0" fmla="*/ 1023418 h 2107175"/>
                <a:gd name="connsiteX1" fmla="*/ 477153 w 2192138"/>
                <a:gd name="connsiteY1" fmla="*/ 1116552 h 2107175"/>
                <a:gd name="connsiteX2" fmla="*/ 675452 w 2192138"/>
                <a:gd name="connsiteY2" fmla="*/ 1239542 h 2107175"/>
                <a:gd name="connsiteX3" fmla="*/ 663420 w 2192138"/>
                <a:gd name="connsiteY3" fmla="*/ 1362085 h 2107175"/>
                <a:gd name="connsiteX4" fmla="*/ 451753 w 2192138"/>
                <a:gd name="connsiteY4" fmla="*/ 1649952 h 2107175"/>
                <a:gd name="connsiteX5" fmla="*/ 290887 w 2192138"/>
                <a:gd name="connsiteY5" fmla="*/ 1861618 h 2107175"/>
                <a:gd name="connsiteX6" fmla="*/ 400953 w 2192138"/>
                <a:gd name="connsiteY6" fmla="*/ 2005552 h 2107175"/>
                <a:gd name="connsiteX7" fmla="*/ 646487 w 2192138"/>
                <a:gd name="connsiteY7" fmla="*/ 2107152 h 2107175"/>
                <a:gd name="connsiteX8" fmla="*/ 697287 w 2192138"/>
                <a:gd name="connsiteY8" fmla="*/ 1997085 h 2107175"/>
                <a:gd name="connsiteX9" fmla="*/ 985153 w 2192138"/>
                <a:gd name="connsiteY9" fmla="*/ 1675352 h 2107175"/>
                <a:gd name="connsiteX10" fmla="*/ 1069820 w 2192138"/>
                <a:gd name="connsiteY10" fmla="*/ 1548352 h 2107175"/>
                <a:gd name="connsiteX11" fmla="*/ 1273020 w 2192138"/>
                <a:gd name="connsiteY11" fmla="*/ 1692285 h 2107175"/>
                <a:gd name="connsiteX12" fmla="*/ 1442353 w 2192138"/>
                <a:gd name="connsiteY12" fmla="*/ 1946285 h 2107175"/>
                <a:gd name="connsiteX13" fmla="*/ 1510087 w 2192138"/>
                <a:gd name="connsiteY13" fmla="*/ 2090218 h 2107175"/>
                <a:gd name="connsiteX14" fmla="*/ 1764087 w 2192138"/>
                <a:gd name="connsiteY14" fmla="*/ 2014018 h 2107175"/>
                <a:gd name="connsiteX15" fmla="*/ 1908020 w 2192138"/>
                <a:gd name="connsiteY15" fmla="*/ 1878552 h 2107175"/>
                <a:gd name="connsiteX16" fmla="*/ 1874153 w 2192138"/>
                <a:gd name="connsiteY16" fmla="*/ 1785418 h 2107175"/>
                <a:gd name="connsiteX17" fmla="*/ 1611687 w 2192138"/>
                <a:gd name="connsiteY17" fmla="*/ 1489085 h 2107175"/>
                <a:gd name="connsiteX18" fmla="*/ 1518553 w 2192138"/>
                <a:gd name="connsiteY18" fmla="*/ 1268952 h 2107175"/>
                <a:gd name="connsiteX19" fmla="*/ 1527020 w 2192138"/>
                <a:gd name="connsiteY19" fmla="*/ 1209685 h 2107175"/>
                <a:gd name="connsiteX20" fmla="*/ 1882620 w 2192138"/>
                <a:gd name="connsiteY20" fmla="*/ 1082685 h 2107175"/>
                <a:gd name="connsiteX21" fmla="*/ 2163357 w 2192138"/>
                <a:gd name="connsiteY21" fmla="*/ 1019407 h 2107175"/>
                <a:gd name="connsiteX22" fmla="*/ 2155335 w 2192138"/>
                <a:gd name="connsiteY22" fmla="*/ 782341 h 2107175"/>
                <a:gd name="connsiteX23" fmla="*/ 2025662 w 2192138"/>
                <a:gd name="connsiteY23" fmla="*/ 570674 h 2107175"/>
                <a:gd name="connsiteX24" fmla="*/ 1641097 w 2192138"/>
                <a:gd name="connsiteY24" fmla="*/ 743128 h 2107175"/>
                <a:gd name="connsiteX25" fmla="*/ 1364817 w 2192138"/>
                <a:gd name="connsiteY25" fmla="*/ 776994 h 2107175"/>
                <a:gd name="connsiteX26" fmla="*/ 1290845 w 2192138"/>
                <a:gd name="connsiteY26" fmla="*/ 621028 h 2107175"/>
                <a:gd name="connsiteX27" fmla="*/ 1289953 w 2192138"/>
                <a:gd name="connsiteY27" fmla="*/ 363018 h 2107175"/>
                <a:gd name="connsiteX28" fmla="*/ 1332287 w 2192138"/>
                <a:gd name="connsiteY28" fmla="*/ 64012 h 2107175"/>
                <a:gd name="connsiteX29" fmla="*/ 1114827 w 2192138"/>
                <a:gd name="connsiteY29" fmla="*/ 289 h 2107175"/>
                <a:gd name="connsiteX30" fmla="*/ 849687 w 2192138"/>
                <a:gd name="connsiteY30" fmla="*/ 49752 h 2107175"/>
                <a:gd name="connsiteX31" fmla="*/ 888009 w 2192138"/>
                <a:gd name="connsiteY31" fmla="*/ 240029 h 2107175"/>
                <a:gd name="connsiteX32" fmla="*/ 900487 w 2192138"/>
                <a:gd name="connsiteY32" fmla="*/ 591618 h 2107175"/>
                <a:gd name="connsiteX33" fmla="*/ 847013 w 2192138"/>
                <a:gd name="connsiteY33" fmla="*/ 763626 h 2107175"/>
                <a:gd name="connsiteX34" fmla="*/ 646487 w 2192138"/>
                <a:gd name="connsiteY34" fmla="*/ 769418 h 2107175"/>
                <a:gd name="connsiteX35" fmla="*/ 333220 w 2192138"/>
                <a:gd name="connsiteY35" fmla="*/ 642418 h 2107175"/>
                <a:gd name="connsiteX36" fmla="*/ 166114 w 2192138"/>
                <a:gd name="connsiteY36" fmla="*/ 565327 h 2107175"/>
                <a:gd name="connsiteX37" fmla="*/ 36887 w 2192138"/>
                <a:gd name="connsiteY37" fmla="*/ 701685 h 2107175"/>
                <a:gd name="connsiteX38" fmla="*/ 28420 w 2192138"/>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96564"/>
                <a:gd name="connsiteY0" fmla="*/ 1023418 h 2107175"/>
                <a:gd name="connsiteX1" fmla="*/ 477153 w 2196564"/>
                <a:gd name="connsiteY1" fmla="*/ 1116552 h 2107175"/>
                <a:gd name="connsiteX2" fmla="*/ 675452 w 2196564"/>
                <a:gd name="connsiteY2" fmla="*/ 1239542 h 2107175"/>
                <a:gd name="connsiteX3" fmla="*/ 663420 w 2196564"/>
                <a:gd name="connsiteY3" fmla="*/ 1362085 h 2107175"/>
                <a:gd name="connsiteX4" fmla="*/ 451753 w 2196564"/>
                <a:gd name="connsiteY4" fmla="*/ 1649952 h 2107175"/>
                <a:gd name="connsiteX5" fmla="*/ 290887 w 2196564"/>
                <a:gd name="connsiteY5" fmla="*/ 1861618 h 2107175"/>
                <a:gd name="connsiteX6" fmla="*/ 400953 w 2196564"/>
                <a:gd name="connsiteY6" fmla="*/ 2005552 h 2107175"/>
                <a:gd name="connsiteX7" fmla="*/ 646487 w 2196564"/>
                <a:gd name="connsiteY7" fmla="*/ 2107152 h 2107175"/>
                <a:gd name="connsiteX8" fmla="*/ 697287 w 2196564"/>
                <a:gd name="connsiteY8" fmla="*/ 1997085 h 2107175"/>
                <a:gd name="connsiteX9" fmla="*/ 985153 w 2196564"/>
                <a:gd name="connsiteY9" fmla="*/ 1675352 h 2107175"/>
                <a:gd name="connsiteX10" fmla="*/ 1069820 w 2196564"/>
                <a:gd name="connsiteY10" fmla="*/ 1548352 h 2107175"/>
                <a:gd name="connsiteX11" fmla="*/ 1273020 w 2196564"/>
                <a:gd name="connsiteY11" fmla="*/ 1692285 h 2107175"/>
                <a:gd name="connsiteX12" fmla="*/ 1442353 w 2196564"/>
                <a:gd name="connsiteY12" fmla="*/ 1946285 h 2107175"/>
                <a:gd name="connsiteX13" fmla="*/ 1510087 w 2196564"/>
                <a:gd name="connsiteY13" fmla="*/ 2090218 h 2107175"/>
                <a:gd name="connsiteX14" fmla="*/ 1764087 w 2196564"/>
                <a:gd name="connsiteY14" fmla="*/ 2014018 h 2107175"/>
                <a:gd name="connsiteX15" fmla="*/ 1908020 w 2196564"/>
                <a:gd name="connsiteY15" fmla="*/ 1878552 h 2107175"/>
                <a:gd name="connsiteX16" fmla="*/ 1874153 w 2196564"/>
                <a:gd name="connsiteY16" fmla="*/ 1785418 h 2107175"/>
                <a:gd name="connsiteX17" fmla="*/ 1611687 w 2196564"/>
                <a:gd name="connsiteY17" fmla="*/ 1489085 h 2107175"/>
                <a:gd name="connsiteX18" fmla="*/ 1518553 w 2196564"/>
                <a:gd name="connsiteY18" fmla="*/ 1268952 h 2107175"/>
                <a:gd name="connsiteX19" fmla="*/ 1527020 w 2196564"/>
                <a:gd name="connsiteY19" fmla="*/ 1209685 h 2107175"/>
                <a:gd name="connsiteX20" fmla="*/ 1870588 w 2196564"/>
                <a:gd name="connsiteY20" fmla="*/ 1078675 h 2107175"/>
                <a:gd name="connsiteX21" fmla="*/ 2163357 w 2196564"/>
                <a:gd name="connsiteY21" fmla="*/ 1019407 h 2107175"/>
                <a:gd name="connsiteX22" fmla="*/ 2155335 w 2196564"/>
                <a:gd name="connsiteY22" fmla="*/ 782341 h 2107175"/>
                <a:gd name="connsiteX23" fmla="*/ 2025662 w 2196564"/>
                <a:gd name="connsiteY23" fmla="*/ 570674 h 2107175"/>
                <a:gd name="connsiteX24" fmla="*/ 1641097 w 2196564"/>
                <a:gd name="connsiteY24" fmla="*/ 743128 h 2107175"/>
                <a:gd name="connsiteX25" fmla="*/ 1364817 w 2196564"/>
                <a:gd name="connsiteY25" fmla="*/ 776994 h 2107175"/>
                <a:gd name="connsiteX26" fmla="*/ 1290845 w 2196564"/>
                <a:gd name="connsiteY26" fmla="*/ 621028 h 2107175"/>
                <a:gd name="connsiteX27" fmla="*/ 1289953 w 2196564"/>
                <a:gd name="connsiteY27" fmla="*/ 363018 h 2107175"/>
                <a:gd name="connsiteX28" fmla="*/ 1332287 w 2196564"/>
                <a:gd name="connsiteY28" fmla="*/ 64012 h 2107175"/>
                <a:gd name="connsiteX29" fmla="*/ 1114827 w 2196564"/>
                <a:gd name="connsiteY29" fmla="*/ 289 h 2107175"/>
                <a:gd name="connsiteX30" fmla="*/ 849687 w 2196564"/>
                <a:gd name="connsiteY30" fmla="*/ 49752 h 2107175"/>
                <a:gd name="connsiteX31" fmla="*/ 888009 w 2196564"/>
                <a:gd name="connsiteY31" fmla="*/ 240029 h 2107175"/>
                <a:gd name="connsiteX32" fmla="*/ 900487 w 2196564"/>
                <a:gd name="connsiteY32" fmla="*/ 591618 h 2107175"/>
                <a:gd name="connsiteX33" fmla="*/ 847013 w 2196564"/>
                <a:gd name="connsiteY33" fmla="*/ 763626 h 2107175"/>
                <a:gd name="connsiteX34" fmla="*/ 646487 w 2196564"/>
                <a:gd name="connsiteY34" fmla="*/ 769418 h 2107175"/>
                <a:gd name="connsiteX35" fmla="*/ 333220 w 2196564"/>
                <a:gd name="connsiteY35" fmla="*/ 642418 h 2107175"/>
                <a:gd name="connsiteX36" fmla="*/ 166114 w 2196564"/>
                <a:gd name="connsiteY36" fmla="*/ 565327 h 2107175"/>
                <a:gd name="connsiteX37" fmla="*/ 36887 w 2196564"/>
                <a:gd name="connsiteY37" fmla="*/ 701685 h 2107175"/>
                <a:gd name="connsiteX38" fmla="*/ 28420 w 2196564"/>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527020 w 2187725"/>
                <a:gd name="connsiteY19" fmla="*/ 1209685 h 2107175"/>
                <a:gd name="connsiteX20" fmla="*/ 1870588 w 2187725"/>
                <a:gd name="connsiteY20" fmla="*/ 1078675 h 2107175"/>
                <a:gd name="connsiteX21" fmla="*/ 2163357 w 2187725"/>
                <a:gd name="connsiteY21" fmla="*/ 1019407 h 2107175"/>
                <a:gd name="connsiteX22" fmla="*/ 2155335 w 2187725"/>
                <a:gd name="connsiteY22" fmla="*/ 782341 h 2107175"/>
                <a:gd name="connsiteX23" fmla="*/ 2025662 w 2187725"/>
                <a:gd name="connsiteY23" fmla="*/ 570674 h 2107175"/>
                <a:gd name="connsiteX24" fmla="*/ 1641097 w 2187725"/>
                <a:gd name="connsiteY24" fmla="*/ 743128 h 2107175"/>
                <a:gd name="connsiteX25" fmla="*/ 1364817 w 2187725"/>
                <a:gd name="connsiteY25" fmla="*/ 776994 h 2107175"/>
                <a:gd name="connsiteX26" fmla="*/ 1290845 w 2187725"/>
                <a:gd name="connsiteY26" fmla="*/ 621028 h 2107175"/>
                <a:gd name="connsiteX27" fmla="*/ 1289953 w 2187725"/>
                <a:gd name="connsiteY27" fmla="*/ 363018 h 2107175"/>
                <a:gd name="connsiteX28" fmla="*/ 1332287 w 2187725"/>
                <a:gd name="connsiteY28" fmla="*/ 64012 h 2107175"/>
                <a:gd name="connsiteX29" fmla="*/ 1114827 w 2187725"/>
                <a:gd name="connsiteY29" fmla="*/ 289 h 2107175"/>
                <a:gd name="connsiteX30" fmla="*/ 849687 w 2187725"/>
                <a:gd name="connsiteY30" fmla="*/ 49752 h 2107175"/>
                <a:gd name="connsiteX31" fmla="*/ 888009 w 2187725"/>
                <a:gd name="connsiteY31" fmla="*/ 240029 h 2107175"/>
                <a:gd name="connsiteX32" fmla="*/ 900487 w 2187725"/>
                <a:gd name="connsiteY32" fmla="*/ 591618 h 2107175"/>
                <a:gd name="connsiteX33" fmla="*/ 847013 w 2187725"/>
                <a:gd name="connsiteY33" fmla="*/ 763626 h 2107175"/>
                <a:gd name="connsiteX34" fmla="*/ 646487 w 2187725"/>
                <a:gd name="connsiteY34" fmla="*/ 769418 h 2107175"/>
                <a:gd name="connsiteX35" fmla="*/ 333220 w 2187725"/>
                <a:gd name="connsiteY35" fmla="*/ 642418 h 2107175"/>
                <a:gd name="connsiteX36" fmla="*/ 166114 w 2187725"/>
                <a:gd name="connsiteY36" fmla="*/ 565327 h 2107175"/>
                <a:gd name="connsiteX37" fmla="*/ 36887 w 2187725"/>
                <a:gd name="connsiteY37" fmla="*/ 701685 h 2107175"/>
                <a:gd name="connsiteX38" fmla="*/ 28420 w 2187725"/>
                <a:gd name="connsiteY38"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18553 w 2187725"/>
                <a:gd name="connsiteY18" fmla="*/ 1268952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874153 w 2187725"/>
                <a:gd name="connsiteY16" fmla="*/ 1785418 h 2107175"/>
                <a:gd name="connsiteX17" fmla="*/ 1611687 w 2187725"/>
                <a:gd name="connsiteY17" fmla="*/ 1489085 h 2107175"/>
                <a:gd name="connsiteX18" fmla="*/ 1522563 w 2187725"/>
                <a:gd name="connsiteY18" fmla="*/ 1232857 h 2107175"/>
                <a:gd name="connsiteX19" fmla="*/ 1870588 w 2187725"/>
                <a:gd name="connsiteY19" fmla="*/ 1078675 h 2107175"/>
                <a:gd name="connsiteX20" fmla="*/ 2163357 w 2187725"/>
                <a:gd name="connsiteY20" fmla="*/ 1019407 h 2107175"/>
                <a:gd name="connsiteX21" fmla="*/ 2155335 w 2187725"/>
                <a:gd name="connsiteY21" fmla="*/ 782341 h 2107175"/>
                <a:gd name="connsiteX22" fmla="*/ 2025662 w 2187725"/>
                <a:gd name="connsiteY22" fmla="*/ 570674 h 2107175"/>
                <a:gd name="connsiteX23" fmla="*/ 1641097 w 2187725"/>
                <a:gd name="connsiteY23" fmla="*/ 743128 h 2107175"/>
                <a:gd name="connsiteX24" fmla="*/ 1364817 w 2187725"/>
                <a:gd name="connsiteY24" fmla="*/ 776994 h 2107175"/>
                <a:gd name="connsiteX25" fmla="*/ 1290845 w 2187725"/>
                <a:gd name="connsiteY25" fmla="*/ 621028 h 2107175"/>
                <a:gd name="connsiteX26" fmla="*/ 1289953 w 2187725"/>
                <a:gd name="connsiteY26" fmla="*/ 363018 h 2107175"/>
                <a:gd name="connsiteX27" fmla="*/ 1332287 w 2187725"/>
                <a:gd name="connsiteY27" fmla="*/ 64012 h 2107175"/>
                <a:gd name="connsiteX28" fmla="*/ 1114827 w 2187725"/>
                <a:gd name="connsiteY28" fmla="*/ 289 h 2107175"/>
                <a:gd name="connsiteX29" fmla="*/ 849687 w 2187725"/>
                <a:gd name="connsiteY29" fmla="*/ 49752 h 2107175"/>
                <a:gd name="connsiteX30" fmla="*/ 888009 w 2187725"/>
                <a:gd name="connsiteY30" fmla="*/ 240029 h 2107175"/>
                <a:gd name="connsiteX31" fmla="*/ 900487 w 2187725"/>
                <a:gd name="connsiteY31" fmla="*/ 591618 h 2107175"/>
                <a:gd name="connsiteX32" fmla="*/ 847013 w 2187725"/>
                <a:gd name="connsiteY32" fmla="*/ 763626 h 2107175"/>
                <a:gd name="connsiteX33" fmla="*/ 646487 w 2187725"/>
                <a:gd name="connsiteY33" fmla="*/ 769418 h 2107175"/>
                <a:gd name="connsiteX34" fmla="*/ 333220 w 2187725"/>
                <a:gd name="connsiteY34" fmla="*/ 642418 h 2107175"/>
                <a:gd name="connsiteX35" fmla="*/ 166114 w 2187725"/>
                <a:gd name="connsiteY35" fmla="*/ 565327 h 2107175"/>
                <a:gd name="connsiteX36" fmla="*/ 36887 w 2187725"/>
                <a:gd name="connsiteY36" fmla="*/ 701685 h 2107175"/>
                <a:gd name="connsiteX37" fmla="*/ 28420 w 2187725"/>
                <a:gd name="connsiteY37"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78552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908020 w 2187725"/>
                <a:gd name="connsiteY15" fmla="*/ 1858500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10087 w 2187725"/>
                <a:gd name="connsiteY13" fmla="*/ 2090218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069820 w 2187725"/>
                <a:gd name="connsiteY10" fmla="*/ 1548352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85153 w 2187725"/>
                <a:gd name="connsiteY9" fmla="*/ 1675352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697287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5"/>
                <a:gd name="connsiteX1" fmla="*/ 477153 w 2187725"/>
                <a:gd name="connsiteY1" fmla="*/ 1116552 h 2107175"/>
                <a:gd name="connsiteX2" fmla="*/ 675452 w 2187725"/>
                <a:gd name="connsiteY2" fmla="*/ 1239542 h 2107175"/>
                <a:gd name="connsiteX3" fmla="*/ 663420 w 2187725"/>
                <a:gd name="connsiteY3" fmla="*/ 1362085 h 2107175"/>
                <a:gd name="connsiteX4" fmla="*/ 451753 w 2187725"/>
                <a:gd name="connsiteY4" fmla="*/ 1649952 h 2107175"/>
                <a:gd name="connsiteX5" fmla="*/ 290887 w 2187725"/>
                <a:gd name="connsiteY5" fmla="*/ 1861618 h 2107175"/>
                <a:gd name="connsiteX6" fmla="*/ 400953 w 2187725"/>
                <a:gd name="connsiteY6" fmla="*/ 2005552 h 2107175"/>
                <a:gd name="connsiteX7" fmla="*/ 646487 w 2187725"/>
                <a:gd name="connsiteY7" fmla="*/ 2107152 h 2107175"/>
                <a:gd name="connsiteX8" fmla="*/ 733382 w 2187725"/>
                <a:gd name="connsiteY8" fmla="*/ 1997085 h 2107175"/>
                <a:gd name="connsiteX9" fmla="*/ 949058 w 2187725"/>
                <a:gd name="connsiteY9" fmla="*/ 1655299 h 2107175"/>
                <a:gd name="connsiteX10" fmla="*/ 1101904 w 2187725"/>
                <a:gd name="connsiteY10" fmla="*/ 1540331 h 2107175"/>
                <a:gd name="connsiteX11" fmla="*/ 1273020 w 2187725"/>
                <a:gd name="connsiteY11" fmla="*/ 1692285 h 2107175"/>
                <a:gd name="connsiteX12" fmla="*/ 1442353 w 2187725"/>
                <a:gd name="connsiteY12" fmla="*/ 1946285 h 2107175"/>
                <a:gd name="connsiteX13" fmla="*/ 1534151 w 2187725"/>
                <a:gd name="connsiteY13" fmla="*/ 2082197 h 2107175"/>
                <a:gd name="connsiteX14" fmla="*/ 1764087 w 2187725"/>
                <a:gd name="connsiteY14" fmla="*/ 2014018 h 2107175"/>
                <a:gd name="connsiteX15" fmla="*/ 1887968 w 2187725"/>
                <a:gd name="connsiteY15" fmla="*/ 1846469 h 2107175"/>
                <a:gd name="connsiteX16" fmla="*/ 1611687 w 2187725"/>
                <a:gd name="connsiteY16" fmla="*/ 1489085 h 2107175"/>
                <a:gd name="connsiteX17" fmla="*/ 1522563 w 2187725"/>
                <a:gd name="connsiteY17" fmla="*/ 1232857 h 2107175"/>
                <a:gd name="connsiteX18" fmla="*/ 1870588 w 2187725"/>
                <a:gd name="connsiteY18" fmla="*/ 1078675 h 2107175"/>
                <a:gd name="connsiteX19" fmla="*/ 2163357 w 2187725"/>
                <a:gd name="connsiteY19" fmla="*/ 1019407 h 2107175"/>
                <a:gd name="connsiteX20" fmla="*/ 2155335 w 2187725"/>
                <a:gd name="connsiteY20" fmla="*/ 782341 h 2107175"/>
                <a:gd name="connsiteX21" fmla="*/ 2025662 w 2187725"/>
                <a:gd name="connsiteY21" fmla="*/ 570674 h 2107175"/>
                <a:gd name="connsiteX22" fmla="*/ 1641097 w 2187725"/>
                <a:gd name="connsiteY22" fmla="*/ 743128 h 2107175"/>
                <a:gd name="connsiteX23" fmla="*/ 1364817 w 2187725"/>
                <a:gd name="connsiteY23" fmla="*/ 776994 h 2107175"/>
                <a:gd name="connsiteX24" fmla="*/ 1290845 w 2187725"/>
                <a:gd name="connsiteY24" fmla="*/ 621028 h 2107175"/>
                <a:gd name="connsiteX25" fmla="*/ 1289953 w 2187725"/>
                <a:gd name="connsiteY25" fmla="*/ 363018 h 2107175"/>
                <a:gd name="connsiteX26" fmla="*/ 1332287 w 2187725"/>
                <a:gd name="connsiteY26" fmla="*/ 64012 h 2107175"/>
                <a:gd name="connsiteX27" fmla="*/ 1114827 w 2187725"/>
                <a:gd name="connsiteY27" fmla="*/ 289 h 2107175"/>
                <a:gd name="connsiteX28" fmla="*/ 849687 w 2187725"/>
                <a:gd name="connsiteY28" fmla="*/ 49752 h 2107175"/>
                <a:gd name="connsiteX29" fmla="*/ 888009 w 2187725"/>
                <a:gd name="connsiteY29" fmla="*/ 240029 h 2107175"/>
                <a:gd name="connsiteX30" fmla="*/ 900487 w 2187725"/>
                <a:gd name="connsiteY30" fmla="*/ 591618 h 2107175"/>
                <a:gd name="connsiteX31" fmla="*/ 847013 w 2187725"/>
                <a:gd name="connsiteY31" fmla="*/ 763626 h 2107175"/>
                <a:gd name="connsiteX32" fmla="*/ 646487 w 2187725"/>
                <a:gd name="connsiteY32" fmla="*/ 769418 h 2107175"/>
                <a:gd name="connsiteX33" fmla="*/ 333220 w 2187725"/>
                <a:gd name="connsiteY33" fmla="*/ 642418 h 2107175"/>
                <a:gd name="connsiteX34" fmla="*/ 166114 w 2187725"/>
                <a:gd name="connsiteY34" fmla="*/ 565327 h 2107175"/>
                <a:gd name="connsiteX35" fmla="*/ 36887 w 2187725"/>
                <a:gd name="connsiteY35" fmla="*/ 701685 h 2107175"/>
                <a:gd name="connsiteX36" fmla="*/ 28420 w 2187725"/>
                <a:gd name="connsiteY36" fmla="*/ 1023418 h 2107175"/>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6"/>
                <a:gd name="connsiteX1" fmla="*/ 477153 w 2187725"/>
                <a:gd name="connsiteY1" fmla="*/ 1116552 h 2107176"/>
                <a:gd name="connsiteX2" fmla="*/ 675452 w 2187725"/>
                <a:gd name="connsiteY2" fmla="*/ 1239542 h 2107176"/>
                <a:gd name="connsiteX3" fmla="*/ 663420 w 2187725"/>
                <a:gd name="connsiteY3" fmla="*/ 1362085 h 2107176"/>
                <a:gd name="connsiteX4" fmla="*/ 451753 w 2187725"/>
                <a:gd name="connsiteY4" fmla="*/ 1649952 h 2107176"/>
                <a:gd name="connsiteX5" fmla="*/ 302918 w 2187725"/>
                <a:gd name="connsiteY5" fmla="*/ 1849587 h 2107176"/>
                <a:gd name="connsiteX6" fmla="*/ 400953 w 2187725"/>
                <a:gd name="connsiteY6" fmla="*/ 2005552 h 2107176"/>
                <a:gd name="connsiteX7" fmla="*/ 646487 w 2187725"/>
                <a:gd name="connsiteY7" fmla="*/ 2107152 h 2107176"/>
                <a:gd name="connsiteX8" fmla="*/ 733382 w 2187725"/>
                <a:gd name="connsiteY8" fmla="*/ 1997085 h 2107176"/>
                <a:gd name="connsiteX9" fmla="*/ 949058 w 2187725"/>
                <a:gd name="connsiteY9" fmla="*/ 1655299 h 2107176"/>
                <a:gd name="connsiteX10" fmla="*/ 1101904 w 2187725"/>
                <a:gd name="connsiteY10" fmla="*/ 1540331 h 2107176"/>
                <a:gd name="connsiteX11" fmla="*/ 1273020 w 2187725"/>
                <a:gd name="connsiteY11" fmla="*/ 1692285 h 2107176"/>
                <a:gd name="connsiteX12" fmla="*/ 1442353 w 2187725"/>
                <a:gd name="connsiteY12" fmla="*/ 1946285 h 2107176"/>
                <a:gd name="connsiteX13" fmla="*/ 1534151 w 2187725"/>
                <a:gd name="connsiteY13" fmla="*/ 2082197 h 2107176"/>
                <a:gd name="connsiteX14" fmla="*/ 1764087 w 2187725"/>
                <a:gd name="connsiteY14" fmla="*/ 2014018 h 2107176"/>
                <a:gd name="connsiteX15" fmla="*/ 1887968 w 2187725"/>
                <a:gd name="connsiteY15" fmla="*/ 1846469 h 2107176"/>
                <a:gd name="connsiteX16" fmla="*/ 1611687 w 2187725"/>
                <a:gd name="connsiteY16" fmla="*/ 1489085 h 2107176"/>
                <a:gd name="connsiteX17" fmla="*/ 1522563 w 2187725"/>
                <a:gd name="connsiteY17" fmla="*/ 1232857 h 2107176"/>
                <a:gd name="connsiteX18" fmla="*/ 1870588 w 2187725"/>
                <a:gd name="connsiteY18" fmla="*/ 1078675 h 2107176"/>
                <a:gd name="connsiteX19" fmla="*/ 2163357 w 2187725"/>
                <a:gd name="connsiteY19" fmla="*/ 1019407 h 2107176"/>
                <a:gd name="connsiteX20" fmla="*/ 2155335 w 2187725"/>
                <a:gd name="connsiteY20" fmla="*/ 782341 h 2107176"/>
                <a:gd name="connsiteX21" fmla="*/ 2025662 w 2187725"/>
                <a:gd name="connsiteY21" fmla="*/ 570674 h 2107176"/>
                <a:gd name="connsiteX22" fmla="*/ 1641097 w 2187725"/>
                <a:gd name="connsiteY22" fmla="*/ 743128 h 2107176"/>
                <a:gd name="connsiteX23" fmla="*/ 1364817 w 2187725"/>
                <a:gd name="connsiteY23" fmla="*/ 776994 h 2107176"/>
                <a:gd name="connsiteX24" fmla="*/ 1290845 w 2187725"/>
                <a:gd name="connsiteY24" fmla="*/ 621028 h 2107176"/>
                <a:gd name="connsiteX25" fmla="*/ 1289953 w 2187725"/>
                <a:gd name="connsiteY25" fmla="*/ 363018 h 2107176"/>
                <a:gd name="connsiteX26" fmla="*/ 1332287 w 2187725"/>
                <a:gd name="connsiteY26" fmla="*/ 64012 h 2107176"/>
                <a:gd name="connsiteX27" fmla="*/ 1114827 w 2187725"/>
                <a:gd name="connsiteY27" fmla="*/ 289 h 2107176"/>
                <a:gd name="connsiteX28" fmla="*/ 849687 w 2187725"/>
                <a:gd name="connsiteY28" fmla="*/ 49752 h 2107176"/>
                <a:gd name="connsiteX29" fmla="*/ 888009 w 2187725"/>
                <a:gd name="connsiteY29" fmla="*/ 240029 h 2107176"/>
                <a:gd name="connsiteX30" fmla="*/ 900487 w 2187725"/>
                <a:gd name="connsiteY30" fmla="*/ 591618 h 2107176"/>
                <a:gd name="connsiteX31" fmla="*/ 847013 w 2187725"/>
                <a:gd name="connsiteY31" fmla="*/ 763626 h 2107176"/>
                <a:gd name="connsiteX32" fmla="*/ 646487 w 2187725"/>
                <a:gd name="connsiteY32" fmla="*/ 769418 h 2107176"/>
                <a:gd name="connsiteX33" fmla="*/ 333220 w 2187725"/>
                <a:gd name="connsiteY33" fmla="*/ 642418 h 2107176"/>
                <a:gd name="connsiteX34" fmla="*/ 166114 w 2187725"/>
                <a:gd name="connsiteY34" fmla="*/ 565327 h 2107176"/>
                <a:gd name="connsiteX35" fmla="*/ 36887 w 2187725"/>
                <a:gd name="connsiteY35" fmla="*/ 701685 h 2107176"/>
                <a:gd name="connsiteX36" fmla="*/ 28420 w 2187725"/>
                <a:gd name="connsiteY36" fmla="*/ 1023418 h 2107176"/>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18 h 2107178"/>
                <a:gd name="connsiteX1" fmla="*/ 477153 w 2187725"/>
                <a:gd name="connsiteY1" fmla="*/ 1116552 h 2107178"/>
                <a:gd name="connsiteX2" fmla="*/ 675452 w 2187725"/>
                <a:gd name="connsiteY2" fmla="*/ 1239542 h 2107178"/>
                <a:gd name="connsiteX3" fmla="*/ 663420 w 2187725"/>
                <a:gd name="connsiteY3" fmla="*/ 1362085 h 2107178"/>
                <a:gd name="connsiteX4" fmla="*/ 451753 w 2187725"/>
                <a:gd name="connsiteY4" fmla="*/ 1649952 h 2107178"/>
                <a:gd name="connsiteX5" fmla="*/ 294897 w 2187725"/>
                <a:gd name="connsiteY5" fmla="*/ 1817503 h 2107178"/>
                <a:gd name="connsiteX6" fmla="*/ 400953 w 2187725"/>
                <a:gd name="connsiteY6" fmla="*/ 2005552 h 2107178"/>
                <a:gd name="connsiteX7" fmla="*/ 646487 w 2187725"/>
                <a:gd name="connsiteY7" fmla="*/ 2107152 h 2107178"/>
                <a:gd name="connsiteX8" fmla="*/ 733382 w 2187725"/>
                <a:gd name="connsiteY8" fmla="*/ 1997085 h 2107178"/>
                <a:gd name="connsiteX9" fmla="*/ 949058 w 2187725"/>
                <a:gd name="connsiteY9" fmla="*/ 1655299 h 2107178"/>
                <a:gd name="connsiteX10" fmla="*/ 1101904 w 2187725"/>
                <a:gd name="connsiteY10" fmla="*/ 1540331 h 2107178"/>
                <a:gd name="connsiteX11" fmla="*/ 1273020 w 2187725"/>
                <a:gd name="connsiteY11" fmla="*/ 1692285 h 2107178"/>
                <a:gd name="connsiteX12" fmla="*/ 1442353 w 2187725"/>
                <a:gd name="connsiteY12" fmla="*/ 1946285 h 2107178"/>
                <a:gd name="connsiteX13" fmla="*/ 1534151 w 2187725"/>
                <a:gd name="connsiteY13" fmla="*/ 2082197 h 2107178"/>
                <a:gd name="connsiteX14" fmla="*/ 1764087 w 2187725"/>
                <a:gd name="connsiteY14" fmla="*/ 2014018 h 2107178"/>
                <a:gd name="connsiteX15" fmla="*/ 1887968 w 2187725"/>
                <a:gd name="connsiteY15" fmla="*/ 1846469 h 2107178"/>
                <a:gd name="connsiteX16" fmla="*/ 1611687 w 2187725"/>
                <a:gd name="connsiteY16" fmla="*/ 1489085 h 2107178"/>
                <a:gd name="connsiteX17" fmla="*/ 1522563 w 2187725"/>
                <a:gd name="connsiteY17" fmla="*/ 1232857 h 2107178"/>
                <a:gd name="connsiteX18" fmla="*/ 1870588 w 2187725"/>
                <a:gd name="connsiteY18" fmla="*/ 1078675 h 2107178"/>
                <a:gd name="connsiteX19" fmla="*/ 2163357 w 2187725"/>
                <a:gd name="connsiteY19" fmla="*/ 1019407 h 2107178"/>
                <a:gd name="connsiteX20" fmla="*/ 2155335 w 2187725"/>
                <a:gd name="connsiteY20" fmla="*/ 782341 h 2107178"/>
                <a:gd name="connsiteX21" fmla="*/ 2025662 w 2187725"/>
                <a:gd name="connsiteY21" fmla="*/ 570674 h 2107178"/>
                <a:gd name="connsiteX22" fmla="*/ 1641097 w 2187725"/>
                <a:gd name="connsiteY22" fmla="*/ 743128 h 2107178"/>
                <a:gd name="connsiteX23" fmla="*/ 1364817 w 2187725"/>
                <a:gd name="connsiteY23" fmla="*/ 776994 h 2107178"/>
                <a:gd name="connsiteX24" fmla="*/ 1290845 w 2187725"/>
                <a:gd name="connsiteY24" fmla="*/ 621028 h 2107178"/>
                <a:gd name="connsiteX25" fmla="*/ 1289953 w 2187725"/>
                <a:gd name="connsiteY25" fmla="*/ 363018 h 2107178"/>
                <a:gd name="connsiteX26" fmla="*/ 1332287 w 2187725"/>
                <a:gd name="connsiteY26" fmla="*/ 64012 h 2107178"/>
                <a:gd name="connsiteX27" fmla="*/ 1114827 w 2187725"/>
                <a:gd name="connsiteY27" fmla="*/ 289 h 2107178"/>
                <a:gd name="connsiteX28" fmla="*/ 849687 w 2187725"/>
                <a:gd name="connsiteY28" fmla="*/ 49752 h 2107178"/>
                <a:gd name="connsiteX29" fmla="*/ 888009 w 2187725"/>
                <a:gd name="connsiteY29" fmla="*/ 240029 h 2107178"/>
                <a:gd name="connsiteX30" fmla="*/ 900487 w 2187725"/>
                <a:gd name="connsiteY30" fmla="*/ 591618 h 2107178"/>
                <a:gd name="connsiteX31" fmla="*/ 847013 w 2187725"/>
                <a:gd name="connsiteY31" fmla="*/ 763626 h 2107178"/>
                <a:gd name="connsiteX32" fmla="*/ 646487 w 2187725"/>
                <a:gd name="connsiteY32" fmla="*/ 769418 h 2107178"/>
                <a:gd name="connsiteX33" fmla="*/ 333220 w 2187725"/>
                <a:gd name="connsiteY33" fmla="*/ 642418 h 2107178"/>
                <a:gd name="connsiteX34" fmla="*/ 166114 w 2187725"/>
                <a:gd name="connsiteY34" fmla="*/ 565327 h 2107178"/>
                <a:gd name="connsiteX35" fmla="*/ 36887 w 2187725"/>
                <a:gd name="connsiteY35" fmla="*/ 701685 h 2107178"/>
                <a:gd name="connsiteX36" fmla="*/ 28420 w 2187725"/>
                <a:gd name="connsiteY36" fmla="*/ 1023418 h 210717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49687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 name="connsiteX0" fmla="*/ 28420 w 2187725"/>
                <a:gd name="connsiteY0" fmla="*/ 1023408 h 2107168"/>
                <a:gd name="connsiteX1" fmla="*/ 477153 w 2187725"/>
                <a:gd name="connsiteY1" fmla="*/ 1116542 h 2107168"/>
                <a:gd name="connsiteX2" fmla="*/ 675452 w 2187725"/>
                <a:gd name="connsiteY2" fmla="*/ 1239532 h 2107168"/>
                <a:gd name="connsiteX3" fmla="*/ 663420 w 2187725"/>
                <a:gd name="connsiteY3" fmla="*/ 1362075 h 2107168"/>
                <a:gd name="connsiteX4" fmla="*/ 451753 w 2187725"/>
                <a:gd name="connsiteY4" fmla="*/ 1649942 h 2107168"/>
                <a:gd name="connsiteX5" fmla="*/ 294897 w 2187725"/>
                <a:gd name="connsiteY5" fmla="*/ 1817493 h 2107168"/>
                <a:gd name="connsiteX6" fmla="*/ 400953 w 2187725"/>
                <a:gd name="connsiteY6" fmla="*/ 2005542 h 2107168"/>
                <a:gd name="connsiteX7" fmla="*/ 646487 w 2187725"/>
                <a:gd name="connsiteY7" fmla="*/ 2107142 h 2107168"/>
                <a:gd name="connsiteX8" fmla="*/ 733382 w 2187725"/>
                <a:gd name="connsiteY8" fmla="*/ 1997075 h 2107168"/>
                <a:gd name="connsiteX9" fmla="*/ 949058 w 2187725"/>
                <a:gd name="connsiteY9" fmla="*/ 1655289 h 2107168"/>
                <a:gd name="connsiteX10" fmla="*/ 1101904 w 2187725"/>
                <a:gd name="connsiteY10" fmla="*/ 1540321 h 2107168"/>
                <a:gd name="connsiteX11" fmla="*/ 1273020 w 2187725"/>
                <a:gd name="connsiteY11" fmla="*/ 1692275 h 2107168"/>
                <a:gd name="connsiteX12" fmla="*/ 1442353 w 2187725"/>
                <a:gd name="connsiteY12" fmla="*/ 1946275 h 2107168"/>
                <a:gd name="connsiteX13" fmla="*/ 1534151 w 2187725"/>
                <a:gd name="connsiteY13" fmla="*/ 2082187 h 2107168"/>
                <a:gd name="connsiteX14" fmla="*/ 1764087 w 2187725"/>
                <a:gd name="connsiteY14" fmla="*/ 2014008 h 2107168"/>
                <a:gd name="connsiteX15" fmla="*/ 1887968 w 2187725"/>
                <a:gd name="connsiteY15" fmla="*/ 1846459 h 2107168"/>
                <a:gd name="connsiteX16" fmla="*/ 1611687 w 2187725"/>
                <a:gd name="connsiteY16" fmla="*/ 1489075 h 2107168"/>
                <a:gd name="connsiteX17" fmla="*/ 1522563 w 2187725"/>
                <a:gd name="connsiteY17" fmla="*/ 1232847 h 2107168"/>
                <a:gd name="connsiteX18" fmla="*/ 1870588 w 2187725"/>
                <a:gd name="connsiteY18" fmla="*/ 1078665 h 2107168"/>
                <a:gd name="connsiteX19" fmla="*/ 2163357 w 2187725"/>
                <a:gd name="connsiteY19" fmla="*/ 1019397 h 2107168"/>
                <a:gd name="connsiteX20" fmla="*/ 2155335 w 2187725"/>
                <a:gd name="connsiteY20" fmla="*/ 782331 h 2107168"/>
                <a:gd name="connsiteX21" fmla="*/ 2025662 w 2187725"/>
                <a:gd name="connsiteY21" fmla="*/ 570664 h 2107168"/>
                <a:gd name="connsiteX22" fmla="*/ 1641097 w 2187725"/>
                <a:gd name="connsiteY22" fmla="*/ 743118 h 2107168"/>
                <a:gd name="connsiteX23" fmla="*/ 1364817 w 2187725"/>
                <a:gd name="connsiteY23" fmla="*/ 776984 h 2107168"/>
                <a:gd name="connsiteX24" fmla="*/ 1290845 w 2187725"/>
                <a:gd name="connsiteY24" fmla="*/ 621018 h 2107168"/>
                <a:gd name="connsiteX25" fmla="*/ 1289953 w 2187725"/>
                <a:gd name="connsiteY25" fmla="*/ 363008 h 2107168"/>
                <a:gd name="connsiteX26" fmla="*/ 1332287 w 2187725"/>
                <a:gd name="connsiteY26" fmla="*/ 64002 h 2107168"/>
                <a:gd name="connsiteX27" fmla="*/ 1114827 w 2187725"/>
                <a:gd name="connsiteY27" fmla="*/ 279 h 2107168"/>
                <a:gd name="connsiteX28" fmla="*/ 861719 w 2187725"/>
                <a:gd name="connsiteY28" fmla="*/ 49742 h 2107168"/>
                <a:gd name="connsiteX29" fmla="*/ 875977 w 2187725"/>
                <a:gd name="connsiteY29" fmla="*/ 236009 h 2107168"/>
                <a:gd name="connsiteX30" fmla="*/ 900487 w 2187725"/>
                <a:gd name="connsiteY30" fmla="*/ 591608 h 2107168"/>
                <a:gd name="connsiteX31" fmla="*/ 847013 w 2187725"/>
                <a:gd name="connsiteY31" fmla="*/ 763616 h 2107168"/>
                <a:gd name="connsiteX32" fmla="*/ 646487 w 2187725"/>
                <a:gd name="connsiteY32" fmla="*/ 769408 h 2107168"/>
                <a:gd name="connsiteX33" fmla="*/ 333220 w 2187725"/>
                <a:gd name="connsiteY33" fmla="*/ 642408 h 2107168"/>
                <a:gd name="connsiteX34" fmla="*/ 166114 w 2187725"/>
                <a:gd name="connsiteY34" fmla="*/ 565317 h 2107168"/>
                <a:gd name="connsiteX35" fmla="*/ 36887 w 2187725"/>
                <a:gd name="connsiteY35" fmla="*/ 701675 h 2107168"/>
                <a:gd name="connsiteX36" fmla="*/ 28420 w 2187725"/>
                <a:gd name="connsiteY36" fmla="*/ 1023408 h 210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7725" h="2107168">
                  <a:moveTo>
                    <a:pt x="28420" y="1023408"/>
                  </a:moveTo>
                  <a:cubicBezTo>
                    <a:pt x="77735" y="1032395"/>
                    <a:pt x="369314" y="1080521"/>
                    <a:pt x="477153" y="1116542"/>
                  </a:cubicBezTo>
                  <a:cubicBezTo>
                    <a:pt x="584992" y="1152563"/>
                    <a:pt x="644408" y="1198610"/>
                    <a:pt x="675452" y="1239532"/>
                  </a:cubicBezTo>
                  <a:cubicBezTo>
                    <a:pt x="706496" y="1280454"/>
                    <a:pt x="700703" y="1293673"/>
                    <a:pt x="663420" y="1362075"/>
                  </a:cubicBezTo>
                  <a:cubicBezTo>
                    <a:pt x="626137" y="1430477"/>
                    <a:pt x="513174" y="1574039"/>
                    <a:pt x="451753" y="1649942"/>
                  </a:cubicBezTo>
                  <a:cubicBezTo>
                    <a:pt x="390332" y="1725845"/>
                    <a:pt x="331438" y="1774268"/>
                    <a:pt x="294897" y="1817493"/>
                  </a:cubicBezTo>
                  <a:cubicBezTo>
                    <a:pt x="258356" y="1860718"/>
                    <a:pt x="342355" y="1957267"/>
                    <a:pt x="400953" y="2005542"/>
                  </a:cubicBezTo>
                  <a:cubicBezTo>
                    <a:pt x="459551" y="2053817"/>
                    <a:pt x="591082" y="2108553"/>
                    <a:pt x="646487" y="2107142"/>
                  </a:cubicBezTo>
                  <a:cubicBezTo>
                    <a:pt x="701892" y="2105731"/>
                    <a:pt x="682954" y="2072384"/>
                    <a:pt x="733382" y="1997075"/>
                  </a:cubicBezTo>
                  <a:cubicBezTo>
                    <a:pt x="783810" y="1921766"/>
                    <a:pt x="887638" y="1731415"/>
                    <a:pt x="949058" y="1655289"/>
                  </a:cubicBezTo>
                  <a:cubicBezTo>
                    <a:pt x="1010478" y="1579163"/>
                    <a:pt x="1047910" y="1534157"/>
                    <a:pt x="1101904" y="1540321"/>
                  </a:cubicBezTo>
                  <a:cubicBezTo>
                    <a:pt x="1155898" y="1546485"/>
                    <a:pt x="1216279" y="1624616"/>
                    <a:pt x="1273020" y="1692275"/>
                  </a:cubicBezTo>
                  <a:cubicBezTo>
                    <a:pt x="1329761" y="1759934"/>
                    <a:pt x="1398831" y="1881290"/>
                    <a:pt x="1442353" y="1946275"/>
                  </a:cubicBezTo>
                  <a:cubicBezTo>
                    <a:pt x="1485875" y="2011260"/>
                    <a:pt x="1500581" y="2050845"/>
                    <a:pt x="1534151" y="2082187"/>
                  </a:cubicBezTo>
                  <a:cubicBezTo>
                    <a:pt x="1567721" y="2113529"/>
                    <a:pt x="1705118" y="2053296"/>
                    <a:pt x="1764087" y="2014008"/>
                  </a:cubicBezTo>
                  <a:cubicBezTo>
                    <a:pt x="1823056" y="1974720"/>
                    <a:pt x="1917379" y="1873790"/>
                    <a:pt x="1887968" y="1846459"/>
                  </a:cubicBezTo>
                  <a:cubicBezTo>
                    <a:pt x="1858557" y="1819128"/>
                    <a:pt x="1672588" y="1591344"/>
                    <a:pt x="1611687" y="1489075"/>
                  </a:cubicBezTo>
                  <a:cubicBezTo>
                    <a:pt x="1550786" y="1386806"/>
                    <a:pt x="1479413" y="1301249"/>
                    <a:pt x="1522563" y="1232847"/>
                  </a:cubicBezTo>
                  <a:cubicBezTo>
                    <a:pt x="1565713" y="1164445"/>
                    <a:pt x="1763789" y="1114240"/>
                    <a:pt x="1870588" y="1078665"/>
                  </a:cubicBezTo>
                  <a:cubicBezTo>
                    <a:pt x="1977387" y="1043090"/>
                    <a:pt x="2115898" y="1024671"/>
                    <a:pt x="2163357" y="1019397"/>
                  </a:cubicBezTo>
                  <a:cubicBezTo>
                    <a:pt x="2210816" y="1014123"/>
                    <a:pt x="2178284" y="857120"/>
                    <a:pt x="2155335" y="782331"/>
                  </a:cubicBezTo>
                  <a:cubicBezTo>
                    <a:pt x="2132386" y="707542"/>
                    <a:pt x="2083295" y="553136"/>
                    <a:pt x="2025662" y="570664"/>
                  </a:cubicBezTo>
                  <a:cubicBezTo>
                    <a:pt x="1968029" y="588192"/>
                    <a:pt x="1751238" y="708731"/>
                    <a:pt x="1641097" y="743118"/>
                  </a:cubicBezTo>
                  <a:cubicBezTo>
                    <a:pt x="1530956" y="777505"/>
                    <a:pt x="1423192" y="797334"/>
                    <a:pt x="1364817" y="776984"/>
                  </a:cubicBezTo>
                  <a:cubicBezTo>
                    <a:pt x="1306442" y="756634"/>
                    <a:pt x="1303322" y="690014"/>
                    <a:pt x="1290845" y="621018"/>
                  </a:cubicBezTo>
                  <a:cubicBezTo>
                    <a:pt x="1278368" y="552022"/>
                    <a:pt x="1283046" y="455844"/>
                    <a:pt x="1289953" y="363008"/>
                  </a:cubicBezTo>
                  <a:cubicBezTo>
                    <a:pt x="1296860" y="270172"/>
                    <a:pt x="1361475" y="124457"/>
                    <a:pt x="1332287" y="64002"/>
                  </a:cubicBezTo>
                  <a:cubicBezTo>
                    <a:pt x="1303099" y="3547"/>
                    <a:pt x="1193255" y="2656"/>
                    <a:pt x="1114827" y="279"/>
                  </a:cubicBezTo>
                  <a:cubicBezTo>
                    <a:pt x="1036399" y="-2098"/>
                    <a:pt x="901527" y="10454"/>
                    <a:pt x="861719" y="49742"/>
                  </a:cubicBezTo>
                  <a:cubicBezTo>
                    <a:pt x="821911" y="89030"/>
                    <a:pt x="869516" y="145698"/>
                    <a:pt x="875977" y="236009"/>
                  </a:cubicBezTo>
                  <a:cubicBezTo>
                    <a:pt x="882438" y="326320"/>
                    <a:pt x="905314" y="503674"/>
                    <a:pt x="900487" y="591608"/>
                  </a:cubicBezTo>
                  <a:cubicBezTo>
                    <a:pt x="895660" y="679543"/>
                    <a:pt x="889346" y="733983"/>
                    <a:pt x="847013" y="763616"/>
                  </a:cubicBezTo>
                  <a:cubicBezTo>
                    <a:pt x="804680" y="793249"/>
                    <a:pt x="732119" y="789609"/>
                    <a:pt x="646487" y="769408"/>
                  </a:cubicBezTo>
                  <a:cubicBezTo>
                    <a:pt x="560855" y="749207"/>
                    <a:pt x="413282" y="676423"/>
                    <a:pt x="333220" y="642408"/>
                  </a:cubicBezTo>
                  <a:cubicBezTo>
                    <a:pt x="253158" y="608393"/>
                    <a:pt x="203472" y="583512"/>
                    <a:pt x="166114" y="565317"/>
                  </a:cubicBezTo>
                  <a:cubicBezTo>
                    <a:pt x="136777" y="539100"/>
                    <a:pt x="71867" y="645378"/>
                    <a:pt x="36887" y="701675"/>
                  </a:cubicBezTo>
                  <a:cubicBezTo>
                    <a:pt x="1907" y="757972"/>
                    <a:pt x="-20895" y="1014421"/>
                    <a:pt x="28420" y="102340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22" name="Oval 321"/>
            <p:cNvSpPr/>
            <p:nvPr/>
          </p:nvSpPr>
          <p:spPr bwMode="auto">
            <a:xfrm>
              <a:off x="3530728"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23" name="Oval 322"/>
            <p:cNvSpPr/>
            <p:nvPr/>
          </p:nvSpPr>
          <p:spPr bwMode="auto">
            <a:xfrm>
              <a:off x="3681596"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24" name="Oval 323"/>
            <p:cNvSpPr/>
            <p:nvPr/>
          </p:nvSpPr>
          <p:spPr bwMode="auto">
            <a:xfrm>
              <a:off x="3496037" y="330734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25" name="Oval 324"/>
            <p:cNvSpPr/>
            <p:nvPr/>
          </p:nvSpPr>
          <p:spPr bwMode="auto">
            <a:xfrm>
              <a:off x="3647501" y="3418320"/>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26" name="Oval 325"/>
            <p:cNvSpPr/>
            <p:nvPr/>
          </p:nvSpPr>
          <p:spPr bwMode="auto">
            <a:xfrm>
              <a:off x="3589748" y="3240503"/>
              <a:ext cx="53835" cy="53835"/>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27" name="Freeform: Shape 326"/>
            <p:cNvSpPr/>
            <p:nvPr/>
          </p:nvSpPr>
          <p:spPr bwMode="auto">
            <a:xfrm>
              <a:off x="3283042" y="3012020"/>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28" name="Freeform: Shape 327"/>
            <p:cNvSpPr/>
            <p:nvPr/>
          </p:nvSpPr>
          <p:spPr bwMode="auto">
            <a:xfrm rot="4374466">
              <a:off x="3612735" y="2996944"/>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29" name="Freeform: Shape 328"/>
            <p:cNvSpPr/>
            <p:nvPr/>
          </p:nvSpPr>
          <p:spPr bwMode="auto">
            <a:xfrm rot="17319209">
              <a:off x="3197607" y="333295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30" name="Freeform: Shape 329"/>
            <p:cNvSpPr/>
            <p:nvPr/>
          </p:nvSpPr>
          <p:spPr bwMode="auto">
            <a:xfrm rot="8698688">
              <a:off x="3731331" y="3303658"/>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31" name="Freeform: Shape 330"/>
            <p:cNvSpPr/>
            <p:nvPr/>
          </p:nvSpPr>
          <p:spPr bwMode="auto">
            <a:xfrm rot="12956291">
              <a:off x="3474837" y="3510743"/>
              <a:ext cx="309951" cy="268346"/>
            </a:xfrm>
            <a:custGeom>
              <a:avLst/>
              <a:gdLst>
                <a:gd name="connsiteX0" fmla="*/ 0 w 918411"/>
                <a:gd name="connsiteY0" fmla="*/ 649705 h 813257"/>
                <a:gd name="connsiteX1" fmla="*/ 421106 w 918411"/>
                <a:gd name="connsiteY1" fmla="*/ 774031 h 813257"/>
                <a:gd name="connsiteX2" fmla="*/ 745958 w 918411"/>
                <a:gd name="connsiteY2" fmla="*/ 794084 h 813257"/>
                <a:gd name="connsiteX3" fmla="*/ 886327 w 918411"/>
                <a:gd name="connsiteY3" fmla="*/ 517358 h 813257"/>
                <a:gd name="connsiteX4" fmla="*/ 918411 w 918411"/>
                <a:gd name="connsiteY4" fmla="*/ 0 h 813257"/>
                <a:gd name="connsiteX0" fmla="*/ 0 w 918411"/>
                <a:gd name="connsiteY0" fmla="*/ 649705 h 793412"/>
                <a:gd name="connsiteX1" fmla="*/ 421106 w 918411"/>
                <a:gd name="connsiteY1" fmla="*/ 774031 h 793412"/>
                <a:gd name="connsiteX2" fmla="*/ 794084 w 918411"/>
                <a:gd name="connsiteY2" fmla="*/ 766011 h 793412"/>
                <a:gd name="connsiteX3" fmla="*/ 886327 w 918411"/>
                <a:gd name="connsiteY3" fmla="*/ 517358 h 793412"/>
                <a:gd name="connsiteX4" fmla="*/ 918411 w 918411"/>
                <a:gd name="connsiteY4" fmla="*/ 0 h 793412"/>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9966"/>
                <a:gd name="connsiteX1" fmla="*/ 421106 w 918411"/>
                <a:gd name="connsiteY1" fmla="*/ 774031 h 799966"/>
                <a:gd name="connsiteX2" fmla="*/ 794084 w 918411"/>
                <a:gd name="connsiteY2" fmla="*/ 766011 h 799966"/>
                <a:gd name="connsiteX3" fmla="*/ 886327 w 918411"/>
                <a:gd name="connsiteY3" fmla="*/ 517358 h 799966"/>
                <a:gd name="connsiteX4" fmla="*/ 918411 w 918411"/>
                <a:gd name="connsiteY4" fmla="*/ 0 h 799966"/>
                <a:gd name="connsiteX0" fmla="*/ 0 w 918411"/>
                <a:gd name="connsiteY0" fmla="*/ 649705 h 790370"/>
                <a:gd name="connsiteX1" fmla="*/ 421106 w 918411"/>
                <a:gd name="connsiteY1" fmla="*/ 774031 h 790370"/>
                <a:gd name="connsiteX2" fmla="*/ 810126 w 918411"/>
                <a:gd name="connsiteY2" fmla="*/ 749969 h 790370"/>
                <a:gd name="connsiteX3" fmla="*/ 886327 w 918411"/>
                <a:gd name="connsiteY3" fmla="*/ 517358 h 790370"/>
                <a:gd name="connsiteX4" fmla="*/ 918411 w 918411"/>
                <a:gd name="connsiteY4" fmla="*/ 0 h 790370"/>
                <a:gd name="connsiteX0" fmla="*/ 0 w 918411"/>
                <a:gd name="connsiteY0" fmla="*/ 649705 h 794874"/>
                <a:gd name="connsiteX1" fmla="*/ 421106 w 918411"/>
                <a:gd name="connsiteY1" fmla="*/ 774031 h 794874"/>
                <a:gd name="connsiteX2" fmla="*/ 810126 w 918411"/>
                <a:gd name="connsiteY2" fmla="*/ 749969 h 794874"/>
                <a:gd name="connsiteX3" fmla="*/ 886327 w 918411"/>
                <a:gd name="connsiteY3" fmla="*/ 517358 h 794874"/>
                <a:gd name="connsiteX4" fmla="*/ 918411 w 918411"/>
                <a:gd name="connsiteY4" fmla="*/ 0 h 794874"/>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87819"/>
                <a:gd name="connsiteX1" fmla="*/ 421106 w 918411"/>
                <a:gd name="connsiteY1" fmla="*/ 774031 h 787819"/>
                <a:gd name="connsiteX2" fmla="*/ 810126 w 918411"/>
                <a:gd name="connsiteY2" fmla="*/ 749969 h 787819"/>
                <a:gd name="connsiteX3" fmla="*/ 890338 w 918411"/>
                <a:gd name="connsiteY3" fmla="*/ 465221 h 787819"/>
                <a:gd name="connsiteX4" fmla="*/ 918411 w 918411"/>
                <a:gd name="connsiteY4" fmla="*/ 0 h 787819"/>
                <a:gd name="connsiteX0" fmla="*/ 0 w 918411"/>
                <a:gd name="connsiteY0" fmla="*/ 649705 h 793590"/>
                <a:gd name="connsiteX1" fmla="*/ 421106 w 918411"/>
                <a:gd name="connsiteY1" fmla="*/ 774031 h 793590"/>
                <a:gd name="connsiteX2" fmla="*/ 810126 w 918411"/>
                <a:gd name="connsiteY2" fmla="*/ 749969 h 793590"/>
                <a:gd name="connsiteX3" fmla="*/ 890338 w 918411"/>
                <a:gd name="connsiteY3" fmla="*/ 465221 h 793590"/>
                <a:gd name="connsiteX4" fmla="*/ 918411 w 918411"/>
                <a:gd name="connsiteY4" fmla="*/ 0 h 793590"/>
                <a:gd name="connsiteX0" fmla="*/ 0 w 918411"/>
                <a:gd name="connsiteY0" fmla="*/ 649705 h 795133"/>
                <a:gd name="connsiteX1" fmla="*/ 421106 w 918411"/>
                <a:gd name="connsiteY1" fmla="*/ 774031 h 795133"/>
                <a:gd name="connsiteX2" fmla="*/ 810126 w 918411"/>
                <a:gd name="connsiteY2" fmla="*/ 749969 h 795133"/>
                <a:gd name="connsiteX3" fmla="*/ 890338 w 918411"/>
                <a:gd name="connsiteY3" fmla="*/ 465221 h 795133"/>
                <a:gd name="connsiteX4" fmla="*/ 918411 w 918411"/>
                <a:gd name="connsiteY4" fmla="*/ 0 h 795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1" h="795133">
                  <a:moveTo>
                    <a:pt x="0" y="649705"/>
                  </a:moveTo>
                  <a:cubicBezTo>
                    <a:pt x="148390" y="699836"/>
                    <a:pt x="286085" y="757320"/>
                    <a:pt x="421106" y="774031"/>
                  </a:cubicBezTo>
                  <a:cubicBezTo>
                    <a:pt x="556127" y="790742"/>
                    <a:pt x="751974" y="821489"/>
                    <a:pt x="810126" y="749969"/>
                  </a:cubicBezTo>
                  <a:cubicBezTo>
                    <a:pt x="868278" y="678449"/>
                    <a:pt x="876300" y="590216"/>
                    <a:pt x="890338" y="465221"/>
                  </a:cubicBezTo>
                  <a:cubicBezTo>
                    <a:pt x="904376" y="340226"/>
                    <a:pt x="916740" y="192505"/>
                    <a:pt x="91841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nvGrpSpPr>
            <p:cNvPr id="332" name="Group 331"/>
            <p:cNvGrpSpPr/>
            <p:nvPr/>
          </p:nvGrpSpPr>
          <p:grpSpPr>
            <a:xfrm>
              <a:off x="3253265" y="3164176"/>
              <a:ext cx="119666" cy="202459"/>
              <a:chOff x="15588916" y="7188536"/>
              <a:chExt cx="354582" cy="599905"/>
            </a:xfrm>
          </p:grpSpPr>
          <p:sp>
            <p:nvSpPr>
              <p:cNvPr id="389" name="Freeform: Shape 388"/>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90" name="Freeform: Shape 389"/>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grpSp>
          <p:nvGrpSpPr>
            <p:cNvPr id="333" name="Group 332"/>
            <p:cNvGrpSpPr/>
            <p:nvPr/>
          </p:nvGrpSpPr>
          <p:grpSpPr>
            <a:xfrm rot="4323909">
              <a:off x="3555082" y="2944917"/>
              <a:ext cx="119666" cy="202459"/>
              <a:chOff x="15588916" y="7188536"/>
              <a:chExt cx="354582" cy="599905"/>
            </a:xfrm>
          </p:grpSpPr>
          <p:sp>
            <p:nvSpPr>
              <p:cNvPr id="387" name="Freeform: Shape 386"/>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88" name="Freeform: Shape 387"/>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grpSp>
          <p:nvGrpSpPr>
            <p:cNvPr id="334" name="Group 333"/>
            <p:cNvGrpSpPr/>
            <p:nvPr/>
          </p:nvGrpSpPr>
          <p:grpSpPr>
            <a:xfrm rot="8686591" flipH="1">
              <a:off x="3364946" y="3521466"/>
              <a:ext cx="127761" cy="198470"/>
              <a:chOff x="15588916" y="7188536"/>
              <a:chExt cx="354582" cy="599905"/>
            </a:xfrm>
          </p:grpSpPr>
          <p:sp>
            <p:nvSpPr>
              <p:cNvPr id="385" name="Freeform: Shape 384"/>
              <p:cNvSpPr/>
              <p:nvPr/>
            </p:nvSpPr>
            <p:spPr bwMode="auto">
              <a:xfrm>
                <a:off x="15588916" y="7692188"/>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86" name="Freeform: Shape 385"/>
              <p:cNvSpPr/>
              <p:nvPr/>
            </p:nvSpPr>
            <p:spPr bwMode="auto">
              <a:xfrm rot="1930769" flipV="1">
                <a:off x="15759014" y="7188536"/>
                <a:ext cx="184484" cy="96253"/>
              </a:xfrm>
              <a:custGeom>
                <a:avLst/>
                <a:gdLst>
                  <a:gd name="connsiteX0" fmla="*/ 0 w 184484"/>
                  <a:gd name="connsiteY0" fmla="*/ 0 h 96253"/>
                  <a:gd name="connsiteX1" fmla="*/ 108284 w 184484"/>
                  <a:gd name="connsiteY1" fmla="*/ 44116 h 96253"/>
                  <a:gd name="connsiteX2" fmla="*/ 184484 w 184484"/>
                  <a:gd name="connsiteY2" fmla="*/ 96253 h 96253"/>
                </a:gdLst>
                <a:ahLst/>
                <a:cxnLst>
                  <a:cxn ang="0">
                    <a:pos x="connsiteX0" y="connsiteY0"/>
                  </a:cxn>
                  <a:cxn ang="0">
                    <a:pos x="connsiteX1" y="connsiteY1"/>
                  </a:cxn>
                  <a:cxn ang="0">
                    <a:pos x="connsiteX2" y="connsiteY2"/>
                  </a:cxn>
                </a:cxnLst>
                <a:rect l="l" t="t" r="r" b="b"/>
                <a:pathLst>
                  <a:path w="184484" h="96253">
                    <a:moveTo>
                      <a:pt x="0" y="0"/>
                    </a:moveTo>
                    <a:cubicBezTo>
                      <a:pt x="38768" y="14037"/>
                      <a:pt x="77537" y="28074"/>
                      <a:pt x="108284" y="44116"/>
                    </a:cubicBezTo>
                    <a:cubicBezTo>
                      <a:pt x="139031" y="60158"/>
                      <a:pt x="161757" y="78205"/>
                      <a:pt x="184484" y="96253"/>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sp>
          <p:nvSpPr>
            <p:cNvPr id="335" name="Freeform: Shape 334"/>
            <p:cNvSpPr/>
            <p:nvPr/>
          </p:nvSpPr>
          <p:spPr bwMode="auto">
            <a:xfrm rot="4398861" flipV="1">
              <a:off x="3704115" y="3647622"/>
              <a:ext cx="56576" cy="41687"/>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36" name="Freeform: Shape 335"/>
            <p:cNvSpPr/>
            <p:nvPr/>
          </p:nvSpPr>
          <p:spPr bwMode="auto">
            <a:xfrm rot="17414756" flipV="1">
              <a:off x="3835288" y="3540962"/>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37" name="Oval 336"/>
            <p:cNvSpPr/>
            <p:nvPr/>
          </p:nvSpPr>
          <p:spPr bwMode="auto">
            <a:xfrm>
              <a:off x="3575516" y="3323557"/>
              <a:ext cx="79608" cy="79608"/>
            </a:xfrm>
            <a:prstGeom prst="ellipse">
              <a:avLst/>
            </a:pr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38" name="Freeform: Shape 337"/>
            <p:cNvSpPr/>
            <p:nvPr/>
          </p:nvSpPr>
          <p:spPr bwMode="auto">
            <a:xfrm rot="12965245" flipV="1">
              <a:off x="3860287" y="315098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39" name="Freeform: Shape 338"/>
            <p:cNvSpPr/>
            <p:nvPr/>
          </p:nvSpPr>
          <p:spPr bwMode="auto">
            <a:xfrm rot="6683114">
              <a:off x="3910027" y="3321254"/>
              <a:ext cx="68457" cy="55486"/>
            </a:xfrm>
            <a:custGeom>
              <a:avLst/>
              <a:gdLst>
                <a:gd name="connsiteX0" fmla="*/ 0 w 152400"/>
                <a:gd name="connsiteY0" fmla="*/ 0 h 112294"/>
                <a:gd name="connsiteX1" fmla="*/ 64169 w 152400"/>
                <a:gd name="connsiteY1" fmla="*/ 56147 h 112294"/>
                <a:gd name="connsiteX2" fmla="*/ 152400 w 152400"/>
                <a:gd name="connsiteY2" fmla="*/ 112294 h 112294"/>
              </a:gdLst>
              <a:ahLst/>
              <a:cxnLst>
                <a:cxn ang="0">
                  <a:pos x="connsiteX0" y="connsiteY0"/>
                </a:cxn>
                <a:cxn ang="0">
                  <a:pos x="connsiteX1" y="connsiteY1"/>
                </a:cxn>
                <a:cxn ang="0">
                  <a:pos x="connsiteX2" y="connsiteY2"/>
                </a:cxn>
              </a:cxnLst>
              <a:rect l="l" t="t" r="r" b="b"/>
              <a:pathLst>
                <a:path w="152400" h="112294">
                  <a:moveTo>
                    <a:pt x="0" y="0"/>
                  </a:moveTo>
                  <a:cubicBezTo>
                    <a:pt x="19384" y="18715"/>
                    <a:pt x="38769" y="37431"/>
                    <a:pt x="64169" y="56147"/>
                  </a:cubicBezTo>
                  <a:cubicBezTo>
                    <a:pt x="89569" y="74863"/>
                    <a:pt x="120984" y="93578"/>
                    <a:pt x="152400" y="11229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40" name="Freeform: Shape 339"/>
            <p:cNvSpPr/>
            <p:nvPr/>
          </p:nvSpPr>
          <p:spPr bwMode="auto">
            <a:xfrm>
              <a:off x="2570591" y="2702513"/>
              <a:ext cx="1713649" cy="812098"/>
            </a:xfrm>
            <a:custGeom>
              <a:avLst/>
              <a:gdLst>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3513 h 2407591"/>
                <a:gd name="connsiteX1" fmla="*/ 505691 w 5056909"/>
                <a:gd name="connsiteY1" fmla="*/ 2407368 h 2407591"/>
                <a:gd name="connsiteX2" fmla="*/ 900545 w 5056909"/>
                <a:gd name="connsiteY2" fmla="*/ 2400440 h 2407591"/>
                <a:gd name="connsiteX3" fmla="*/ 1004454 w 5056909"/>
                <a:gd name="connsiteY3" fmla="*/ 2379659 h 2407591"/>
                <a:gd name="connsiteX4" fmla="*/ 1080654 w 5056909"/>
                <a:gd name="connsiteY4" fmla="*/ 2241113 h 2407591"/>
                <a:gd name="connsiteX5" fmla="*/ 1108363 w 5056909"/>
                <a:gd name="connsiteY5" fmla="*/ 1714640 h 2407591"/>
                <a:gd name="connsiteX6" fmla="*/ 1233054 w 5056909"/>
                <a:gd name="connsiteY6" fmla="*/ 1222804 h 2407591"/>
                <a:gd name="connsiteX7" fmla="*/ 1530927 w 5056909"/>
                <a:gd name="connsiteY7" fmla="*/ 703259 h 2407591"/>
                <a:gd name="connsiteX8" fmla="*/ 2085109 w 5056909"/>
                <a:gd name="connsiteY8" fmla="*/ 246059 h 2407591"/>
                <a:gd name="connsiteX9" fmla="*/ 2611582 w 5056909"/>
                <a:gd name="connsiteY9" fmla="*/ 45168 h 2407591"/>
                <a:gd name="connsiteX10" fmla="*/ 3221182 w 5056909"/>
                <a:gd name="connsiteY10" fmla="*/ 3604 h 2407591"/>
                <a:gd name="connsiteX11" fmla="*/ 3810000 w 5056909"/>
                <a:gd name="connsiteY11" fmla="*/ 107513 h 2407591"/>
                <a:gd name="connsiteX12" fmla="*/ 4260273 w 5056909"/>
                <a:gd name="connsiteY12" fmla="*/ 343040 h 2407591"/>
                <a:gd name="connsiteX13" fmla="*/ 4696691 w 5056909"/>
                <a:gd name="connsiteY13" fmla="*/ 765604 h 2407591"/>
                <a:gd name="connsiteX14" fmla="*/ 4904509 w 5056909"/>
                <a:gd name="connsiteY14" fmla="*/ 1105040 h 2407591"/>
                <a:gd name="connsiteX15" fmla="*/ 5015345 w 5056909"/>
                <a:gd name="connsiteY15" fmla="*/ 1389059 h 2407591"/>
                <a:gd name="connsiteX16" fmla="*/ 5056909 w 5056909"/>
                <a:gd name="connsiteY16" fmla="*/ 1555313 h 2407591"/>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4464 h 2408542"/>
                <a:gd name="connsiteX1" fmla="*/ 505691 w 5056909"/>
                <a:gd name="connsiteY1" fmla="*/ 2408319 h 2408542"/>
                <a:gd name="connsiteX2" fmla="*/ 900545 w 5056909"/>
                <a:gd name="connsiteY2" fmla="*/ 2401391 h 2408542"/>
                <a:gd name="connsiteX3" fmla="*/ 1004454 w 5056909"/>
                <a:gd name="connsiteY3" fmla="*/ 2380610 h 2408542"/>
                <a:gd name="connsiteX4" fmla="*/ 1080654 w 5056909"/>
                <a:gd name="connsiteY4" fmla="*/ 2242064 h 2408542"/>
                <a:gd name="connsiteX5" fmla="*/ 1108363 w 5056909"/>
                <a:gd name="connsiteY5" fmla="*/ 1715591 h 2408542"/>
                <a:gd name="connsiteX6" fmla="*/ 1233054 w 5056909"/>
                <a:gd name="connsiteY6" fmla="*/ 1223755 h 2408542"/>
                <a:gd name="connsiteX7" fmla="*/ 1530927 w 5056909"/>
                <a:gd name="connsiteY7" fmla="*/ 704210 h 2408542"/>
                <a:gd name="connsiteX8" fmla="*/ 2085109 w 5056909"/>
                <a:gd name="connsiteY8" fmla="*/ 247010 h 2408542"/>
                <a:gd name="connsiteX9" fmla="*/ 2611582 w 5056909"/>
                <a:gd name="connsiteY9" fmla="*/ 46119 h 2408542"/>
                <a:gd name="connsiteX10" fmla="*/ 3221182 w 5056909"/>
                <a:gd name="connsiteY10" fmla="*/ 4555 h 2408542"/>
                <a:gd name="connsiteX11" fmla="*/ 3816927 w 5056909"/>
                <a:gd name="connsiteY11" fmla="*/ 122318 h 2408542"/>
                <a:gd name="connsiteX12" fmla="*/ 4260273 w 5056909"/>
                <a:gd name="connsiteY12" fmla="*/ 343991 h 2408542"/>
                <a:gd name="connsiteX13" fmla="*/ 4696691 w 5056909"/>
                <a:gd name="connsiteY13" fmla="*/ 766555 h 2408542"/>
                <a:gd name="connsiteX14" fmla="*/ 4904509 w 5056909"/>
                <a:gd name="connsiteY14" fmla="*/ 1105991 h 2408542"/>
                <a:gd name="connsiteX15" fmla="*/ 5015345 w 5056909"/>
                <a:gd name="connsiteY15" fmla="*/ 1390010 h 2408542"/>
                <a:gd name="connsiteX16" fmla="*/ 5056909 w 5056909"/>
                <a:gd name="connsiteY16" fmla="*/ 1556264 h 2408542"/>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56909"/>
                <a:gd name="connsiteY0" fmla="*/ 2392240 h 2406318"/>
                <a:gd name="connsiteX1" fmla="*/ 505691 w 5056909"/>
                <a:gd name="connsiteY1" fmla="*/ 2406095 h 2406318"/>
                <a:gd name="connsiteX2" fmla="*/ 900545 w 5056909"/>
                <a:gd name="connsiteY2" fmla="*/ 2399167 h 2406318"/>
                <a:gd name="connsiteX3" fmla="*/ 1004454 w 5056909"/>
                <a:gd name="connsiteY3" fmla="*/ 2378386 h 2406318"/>
                <a:gd name="connsiteX4" fmla="*/ 1080654 w 5056909"/>
                <a:gd name="connsiteY4" fmla="*/ 2239840 h 2406318"/>
                <a:gd name="connsiteX5" fmla="*/ 1108363 w 5056909"/>
                <a:gd name="connsiteY5" fmla="*/ 1713367 h 2406318"/>
                <a:gd name="connsiteX6" fmla="*/ 1233054 w 5056909"/>
                <a:gd name="connsiteY6" fmla="*/ 1221531 h 2406318"/>
                <a:gd name="connsiteX7" fmla="*/ 1530927 w 5056909"/>
                <a:gd name="connsiteY7" fmla="*/ 701986 h 2406318"/>
                <a:gd name="connsiteX8" fmla="*/ 2085109 w 5056909"/>
                <a:gd name="connsiteY8" fmla="*/ 244786 h 2406318"/>
                <a:gd name="connsiteX9" fmla="*/ 2625436 w 5056909"/>
                <a:gd name="connsiteY9" fmla="*/ 57750 h 2406318"/>
                <a:gd name="connsiteX10" fmla="*/ 3221182 w 5056909"/>
                <a:gd name="connsiteY10" fmla="*/ 2331 h 2406318"/>
                <a:gd name="connsiteX11" fmla="*/ 3816927 w 5056909"/>
                <a:gd name="connsiteY11" fmla="*/ 120094 h 2406318"/>
                <a:gd name="connsiteX12" fmla="*/ 4260273 w 5056909"/>
                <a:gd name="connsiteY12" fmla="*/ 341767 h 2406318"/>
                <a:gd name="connsiteX13" fmla="*/ 4696691 w 5056909"/>
                <a:gd name="connsiteY13" fmla="*/ 764331 h 2406318"/>
                <a:gd name="connsiteX14" fmla="*/ 4904509 w 5056909"/>
                <a:gd name="connsiteY14" fmla="*/ 1103767 h 2406318"/>
                <a:gd name="connsiteX15" fmla="*/ 5015345 w 5056909"/>
                <a:gd name="connsiteY15" fmla="*/ 1387786 h 2406318"/>
                <a:gd name="connsiteX16" fmla="*/ 5056909 w 5056909"/>
                <a:gd name="connsiteY16" fmla="*/ 1554040 h 2406318"/>
                <a:gd name="connsiteX0" fmla="*/ 0 w 5077691"/>
                <a:gd name="connsiteY0" fmla="*/ 2392240 h 2406318"/>
                <a:gd name="connsiteX1" fmla="*/ 526473 w 5077691"/>
                <a:gd name="connsiteY1" fmla="*/ 2406095 h 2406318"/>
                <a:gd name="connsiteX2" fmla="*/ 921327 w 5077691"/>
                <a:gd name="connsiteY2" fmla="*/ 2399167 h 2406318"/>
                <a:gd name="connsiteX3" fmla="*/ 1025236 w 5077691"/>
                <a:gd name="connsiteY3" fmla="*/ 2378386 h 2406318"/>
                <a:gd name="connsiteX4" fmla="*/ 1101436 w 5077691"/>
                <a:gd name="connsiteY4" fmla="*/ 2239840 h 2406318"/>
                <a:gd name="connsiteX5" fmla="*/ 1129145 w 5077691"/>
                <a:gd name="connsiteY5" fmla="*/ 1713367 h 2406318"/>
                <a:gd name="connsiteX6" fmla="*/ 1253836 w 5077691"/>
                <a:gd name="connsiteY6" fmla="*/ 1221531 h 2406318"/>
                <a:gd name="connsiteX7" fmla="*/ 1551709 w 5077691"/>
                <a:gd name="connsiteY7" fmla="*/ 701986 h 2406318"/>
                <a:gd name="connsiteX8" fmla="*/ 2105891 w 5077691"/>
                <a:gd name="connsiteY8" fmla="*/ 244786 h 2406318"/>
                <a:gd name="connsiteX9" fmla="*/ 2646218 w 5077691"/>
                <a:gd name="connsiteY9" fmla="*/ 57750 h 2406318"/>
                <a:gd name="connsiteX10" fmla="*/ 3241964 w 5077691"/>
                <a:gd name="connsiteY10" fmla="*/ 2331 h 2406318"/>
                <a:gd name="connsiteX11" fmla="*/ 3837709 w 5077691"/>
                <a:gd name="connsiteY11" fmla="*/ 120094 h 2406318"/>
                <a:gd name="connsiteX12" fmla="*/ 4281055 w 5077691"/>
                <a:gd name="connsiteY12" fmla="*/ 341767 h 2406318"/>
                <a:gd name="connsiteX13" fmla="*/ 4717473 w 5077691"/>
                <a:gd name="connsiteY13" fmla="*/ 764331 h 2406318"/>
                <a:gd name="connsiteX14" fmla="*/ 4925291 w 5077691"/>
                <a:gd name="connsiteY14" fmla="*/ 1103767 h 2406318"/>
                <a:gd name="connsiteX15" fmla="*/ 5036127 w 5077691"/>
                <a:gd name="connsiteY15" fmla="*/ 1387786 h 2406318"/>
                <a:gd name="connsiteX16" fmla="*/ 5077691 w 5077691"/>
                <a:gd name="connsiteY16" fmla="*/ 1554040 h 240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77691" h="2406318">
                  <a:moveTo>
                    <a:pt x="0" y="2392240"/>
                  </a:moveTo>
                  <a:lnTo>
                    <a:pt x="526473" y="2406095"/>
                  </a:lnTo>
                  <a:cubicBezTo>
                    <a:pt x="680027" y="2407249"/>
                    <a:pt x="838200" y="2403785"/>
                    <a:pt x="921327" y="2399167"/>
                  </a:cubicBezTo>
                  <a:cubicBezTo>
                    <a:pt x="1004454" y="2394549"/>
                    <a:pt x="995218" y="2404940"/>
                    <a:pt x="1025236" y="2378386"/>
                  </a:cubicBezTo>
                  <a:cubicBezTo>
                    <a:pt x="1055254" y="2351832"/>
                    <a:pt x="1104900" y="2364532"/>
                    <a:pt x="1101436" y="2239840"/>
                  </a:cubicBezTo>
                  <a:cubicBezTo>
                    <a:pt x="1097972" y="2115148"/>
                    <a:pt x="1103745" y="1883085"/>
                    <a:pt x="1129145" y="1713367"/>
                  </a:cubicBezTo>
                  <a:cubicBezTo>
                    <a:pt x="1154545" y="1543649"/>
                    <a:pt x="1183409" y="1390094"/>
                    <a:pt x="1253836" y="1221531"/>
                  </a:cubicBezTo>
                  <a:cubicBezTo>
                    <a:pt x="1324263" y="1052968"/>
                    <a:pt x="1409700" y="864777"/>
                    <a:pt x="1551709" y="701986"/>
                  </a:cubicBezTo>
                  <a:cubicBezTo>
                    <a:pt x="1693718" y="539195"/>
                    <a:pt x="1923473" y="352159"/>
                    <a:pt x="2105891" y="244786"/>
                  </a:cubicBezTo>
                  <a:cubicBezTo>
                    <a:pt x="2288309" y="137413"/>
                    <a:pt x="2456873" y="98159"/>
                    <a:pt x="2646218" y="57750"/>
                  </a:cubicBezTo>
                  <a:cubicBezTo>
                    <a:pt x="2835564" y="17341"/>
                    <a:pt x="3043382" y="-8060"/>
                    <a:pt x="3241964" y="2331"/>
                  </a:cubicBezTo>
                  <a:cubicBezTo>
                    <a:pt x="3440546" y="12722"/>
                    <a:pt x="3664527" y="63521"/>
                    <a:pt x="3837709" y="120094"/>
                  </a:cubicBezTo>
                  <a:cubicBezTo>
                    <a:pt x="4010891" y="176667"/>
                    <a:pt x="4120574" y="241321"/>
                    <a:pt x="4281055" y="341767"/>
                  </a:cubicBezTo>
                  <a:cubicBezTo>
                    <a:pt x="4441536" y="442213"/>
                    <a:pt x="4610100" y="637331"/>
                    <a:pt x="4717473" y="764331"/>
                  </a:cubicBezTo>
                  <a:cubicBezTo>
                    <a:pt x="4824846" y="891331"/>
                    <a:pt x="4872182" y="999858"/>
                    <a:pt x="4925291" y="1103767"/>
                  </a:cubicBezTo>
                  <a:cubicBezTo>
                    <a:pt x="4978400" y="1207676"/>
                    <a:pt x="5010727" y="1312741"/>
                    <a:pt x="5036127" y="1387786"/>
                  </a:cubicBezTo>
                  <a:cubicBezTo>
                    <a:pt x="5061527" y="1462831"/>
                    <a:pt x="5069609" y="1508435"/>
                    <a:pt x="5077691" y="155404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41" name="Freeform: Shape 340"/>
            <p:cNvSpPr/>
            <p:nvPr/>
          </p:nvSpPr>
          <p:spPr bwMode="auto">
            <a:xfrm>
              <a:off x="2699161" y="3234492"/>
              <a:ext cx="121941" cy="163758"/>
            </a:xfrm>
            <a:custGeom>
              <a:avLst/>
              <a:gdLst>
                <a:gd name="connsiteX0" fmla="*/ 104438 w 376383"/>
                <a:gd name="connsiteY0" fmla="*/ 7725 h 508285"/>
                <a:gd name="connsiteX1" fmla="*/ 528 w 376383"/>
                <a:gd name="connsiteY1" fmla="*/ 194762 h 508285"/>
                <a:gd name="connsiteX2" fmla="*/ 69801 w 376383"/>
                <a:gd name="connsiteY2" fmla="*/ 388725 h 508285"/>
                <a:gd name="connsiteX3" fmla="*/ 194492 w 376383"/>
                <a:gd name="connsiteY3" fmla="*/ 485707 h 508285"/>
                <a:gd name="connsiteX4" fmla="*/ 291474 w 376383"/>
                <a:gd name="connsiteY4" fmla="*/ 499562 h 508285"/>
                <a:gd name="connsiteX5" fmla="*/ 374601 w 376383"/>
                <a:gd name="connsiteY5" fmla="*/ 374871 h 508285"/>
                <a:gd name="connsiteX6" fmla="*/ 339965 w 376383"/>
                <a:gd name="connsiteY6" fmla="*/ 173980 h 508285"/>
                <a:gd name="connsiteX7" fmla="*/ 242983 w 376383"/>
                <a:gd name="connsiteY7" fmla="*/ 49289 h 508285"/>
                <a:gd name="connsiteX8" fmla="*/ 104438 w 376383"/>
                <a:gd name="connsiteY8" fmla="*/ 7725 h 508285"/>
                <a:gd name="connsiteX0" fmla="*/ 97336 w 376209"/>
                <a:gd name="connsiteY0" fmla="*/ 10808 h 490586"/>
                <a:gd name="connsiteX1" fmla="*/ 354 w 376209"/>
                <a:gd name="connsiteY1" fmla="*/ 177063 h 490586"/>
                <a:gd name="connsiteX2" fmla="*/ 69627 w 376209"/>
                <a:gd name="connsiteY2" fmla="*/ 371026 h 490586"/>
                <a:gd name="connsiteX3" fmla="*/ 194318 w 376209"/>
                <a:gd name="connsiteY3" fmla="*/ 468008 h 490586"/>
                <a:gd name="connsiteX4" fmla="*/ 291300 w 376209"/>
                <a:gd name="connsiteY4" fmla="*/ 481863 h 490586"/>
                <a:gd name="connsiteX5" fmla="*/ 374427 w 376209"/>
                <a:gd name="connsiteY5" fmla="*/ 357172 h 490586"/>
                <a:gd name="connsiteX6" fmla="*/ 339791 w 376209"/>
                <a:gd name="connsiteY6" fmla="*/ 156281 h 490586"/>
                <a:gd name="connsiteX7" fmla="*/ 242809 w 376209"/>
                <a:gd name="connsiteY7" fmla="*/ 31590 h 490586"/>
                <a:gd name="connsiteX8" fmla="*/ 97336 w 376209"/>
                <a:gd name="connsiteY8" fmla="*/ 10808 h 490586"/>
                <a:gd name="connsiteX0" fmla="*/ 83600 w 362473"/>
                <a:gd name="connsiteY0" fmla="*/ 10808 h 490586"/>
                <a:gd name="connsiteX1" fmla="*/ 473 w 362473"/>
                <a:gd name="connsiteY1" fmla="*/ 177063 h 490586"/>
                <a:gd name="connsiteX2" fmla="*/ 55891 w 362473"/>
                <a:gd name="connsiteY2" fmla="*/ 371026 h 490586"/>
                <a:gd name="connsiteX3" fmla="*/ 180582 w 362473"/>
                <a:gd name="connsiteY3" fmla="*/ 468008 h 490586"/>
                <a:gd name="connsiteX4" fmla="*/ 277564 w 362473"/>
                <a:gd name="connsiteY4" fmla="*/ 481863 h 490586"/>
                <a:gd name="connsiteX5" fmla="*/ 360691 w 362473"/>
                <a:gd name="connsiteY5" fmla="*/ 357172 h 490586"/>
                <a:gd name="connsiteX6" fmla="*/ 326055 w 362473"/>
                <a:gd name="connsiteY6" fmla="*/ 156281 h 490586"/>
                <a:gd name="connsiteX7" fmla="*/ 229073 w 362473"/>
                <a:gd name="connsiteY7" fmla="*/ 31590 h 490586"/>
                <a:gd name="connsiteX8" fmla="*/ 83600 w 362473"/>
                <a:gd name="connsiteY8" fmla="*/ 10808 h 490586"/>
                <a:gd name="connsiteX0" fmla="*/ 83600 w 361759"/>
                <a:gd name="connsiteY0" fmla="*/ 10808 h 490586"/>
                <a:gd name="connsiteX1" fmla="*/ 473 w 361759"/>
                <a:gd name="connsiteY1" fmla="*/ 177063 h 490586"/>
                <a:gd name="connsiteX2" fmla="*/ 55891 w 361759"/>
                <a:gd name="connsiteY2" fmla="*/ 371026 h 490586"/>
                <a:gd name="connsiteX3" fmla="*/ 180582 w 361759"/>
                <a:gd name="connsiteY3" fmla="*/ 468008 h 490586"/>
                <a:gd name="connsiteX4" fmla="*/ 291418 w 361759"/>
                <a:gd name="connsiteY4" fmla="*/ 481863 h 490586"/>
                <a:gd name="connsiteX5" fmla="*/ 360691 w 361759"/>
                <a:gd name="connsiteY5" fmla="*/ 357172 h 490586"/>
                <a:gd name="connsiteX6" fmla="*/ 326055 w 361759"/>
                <a:gd name="connsiteY6" fmla="*/ 156281 h 490586"/>
                <a:gd name="connsiteX7" fmla="*/ 229073 w 361759"/>
                <a:gd name="connsiteY7" fmla="*/ 31590 h 490586"/>
                <a:gd name="connsiteX8" fmla="*/ 83600 w 361759"/>
                <a:gd name="connsiteY8" fmla="*/ 10808 h 490586"/>
                <a:gd name="connsiteX0" fmla="*/ 85293 w 363452"/>
                <a:gd name="connsiteY0" fmla="*/ 10808 h 490586"/>
                <a:gd name="connsiteX1" fmla="*/ 2166 w 363452"/>
                <a:gd name="connsiteY1" fmla="*/ 177063 h 490586"/>
                <a:gd name="connsiteX2" fmla="*/ 57584 w 363452"/>
                <a:gd name="connsiteY2" fmla="*/ 371026 h 490586"/>
                <a:gd name="connsiteX3" fmla="*/ 182275 w 363452"/>
                <a:gd name="connsiteY3" fmla="*/ 468008 h 490586"/>
                <a:gd name="connsiteX4" fmla="*/ 293111 w 363452"/>
                <a:gd name="connsiteY4" fmla="*/ 481863 h 490586"/>
                <a:gd name="connsiteX5" fmla="*/ 362384 w 363452"/>
                <a:gd name="connsiteY5" fmla="*/ 357172 h 490586"/>
                <a:gd name="connsiteX6" fmla="*/ 327748 w 363452"/>
                <a:gd name="connsiteY6" fmla="*/ 156281 h 490586"/>
                <a:gd name="connsiteX7" fmla="*/ 230766 w 363452"/>
                <a:gd name="connsiteY7" fmla="*/ 31590 h 490586"/>
                <a:gd name="connsiteX8" fmla="*/ 85293 w 363452"/>
                <a:gd name="connsiteY8" fmla="*/ 10808 h 490586"/>
                <a:gd name="connsiteX0" fmla="*/ 62382 w 361323"/>
                <a:gd name="connsiteY0" fmla="*/ 12378 h 485229"/>
                <a:gd name="connsiteX1" fmla="*/ 37 w 361323"/>
                <a:gd name="connsiteY1" fmla="*/ 171706 h 485229"/>
                <a:gd name="connsiteX2" fmla="*/ 55455 w 361323"/>
                <a:gd name="connsiteY2" fmla="*/ 365669 h 485229"/>
                <a:gd name="connsiteX3" fmla="*/ 180146 w 361323"/>
                <a:gd name="connsiteY3" fmla="*/ 462651 h 485229"/>
                <a:gd name="connsiteX4" fmla="*/ 290982 w 361323"/>
                <a:gd name="connsiteY4" fmla="*/ 476506 h 485229"/>
                <a:gd name="connsiteX5" fmla="*/ 360255 w 361323"/>
                <a:gd name="connsiteY5" fmla="*/ 351815 h 485229"/>
                <a:gd name="connsiteX6" fmla="*/ 325619 w 361323"/>
                <a:gd name="connsiteY6" fmla="*/ 150924 h 485229"/>
                <a:gd name="connsiteX7" fmla="*/ 228637 w 361323"/>
                <a:gd name="connsiteY7" fmla="*/ 26233 h 485229"/>
                <a:gd name="connsiteX8" fmla="*/ 62382 w 361323"/>
                <a:gd name="connsiteY8" fmla="*/ 12378 h 48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3" h="485229">
                  <a:moveTo>
                    <a:pt x="62382" y="12378"/>
                  </a:moveTo>
                  <a:cubicBezTo>
                    <a:pt x="24282" y="36623"/>
                    <a:pt x="1191" y="112824"/>
                    <a:pt x="37" y="171706"/>
                  </a:cubicBezTo>
                  <a:cubicBezTo>
                    <a:pt x="-1117" y="230588"/>
                    <a:pt x="25437" y="317178"/>
                    <a:pt x="55455" y="365669"/>
                  </a:cubicBezTo>
                  <a:cubicBezTo>
                    <a:pt x="85473" y="414160"/>
                    <a:pt x="140892" y="444178"/>
                    <a:pt x="180146" y="462651"/>
                  </a:cubicBezTo>
                  <a:cubicBezTo>
                    <a:pt x="219401" y="481124"/>
                    <a:pt x="260964" y="494979"/>
                    <a:pt x="290982" y="476506"/>
                  </a:cubicBezTo>
                  <a:cubicBezTo>
                    <a:pt x="321000" y="458033"/>
                    <a:pt x="354482" y="406079"/>
                    <a:pt x="360255" y="351815"/>
                  </a:cubicBezTo>
                  <a:cubicBezTo>
                    <a:pt x="366028" y="297551"/>
                    <a:pt x="347555" y="205188"/>
                    <a:pt x="325619" y="150924"/>
                  </a:cubicBezTo>
                  <a:cubicBezTo>
                    <a:pt x="303683" y="96660"/>
                    <a:pt x="272510" y="49324"/>
                    <a:pt x="228637" y="26233"/>
                  </a:cubicBezTo>
                  <a:cubicBezTo>
                    <a:pt x="184764" y="3142"/>
                    <a:pt x="100482" y="-11867"/>
                    <a:pt x="62382" y="12378"/>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42" name="Freeform: Shape 341"/>
            <p:cNvSpPr/>
            <p:nvPr/>
          </p:nvSpPr>
          <p:spPr bwMode="auto">
            <a:xfrm>
              <a:off x="2746898" y="3252696"/>
              <a:ext cx="59817" cy="128846"/>
            </a:xfrm>
            <a:custGeom>
              <a:avLst/>
              <a:gdLst>
                <a:gd name="connsiteX0" fmla="*/ 79417 w 155617"/>
                <a:gd name="connsiteY0" fmla="*/ 0 h 381782"/>
                <a:gd name="connsiteX1" fmla="*/ 10144 w 155617"/>
                <a:gd name="connsiteY1" fmla="*/ 90055 h 381782"/>
                <a:gd name="connsiteX2" fmla="*/ 3217 w 155617"/>
                <a:gd name="connsiteY2" fmla="*/ 207818 h 381782"/>
                <a:gd name="connsiteX3" fmla="*/ 37853 w 155617"/>
                <a:gd name="connsiteY3" fmla="*/ 346364 h 381782"/>
                <a:gd name="connsiteX4" fmla="*/ 100199 w 155617"/>
                <a:gd name="connsiteY4" fmla="*/ 381000 h 381782"/>
                <a:gd name="connsiteX5" fmla="*/ 155617 w 155617"/>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61059"/>
                <a:gd name="connsiteY0" fmla="*/ 0 h 381782"/>
                <a:gd name="connsiteX1" fmla="*/ 15586 w 161059"/>
                <a:gd name="connsiteY1" fmla="*/ 90055 h 381782"/>
                <a:gd name="connsiteX2" fmla="*/ 1731 w 161059"/>
                <a:gd name="connsiteY2" fmla="*/ 200891 h 381782"/>
                <a:gd name="connsiteX3" fmla="*/ 43295 w 161059"/>
                <a:gd name="connsiteY3" fmla="*/ 346364 h 381782"/>
                <a:gd name="connsiteX4" fmla="*/ 105641 w 161059"/>
                <a:gd name="connsiteY4" fmla="*/ 381000 h 381782"/>
                <a:gd name="connsiteX5" fmla="*/ 161059 w 161059"/>
                <a:gd name="connsiteY5" fmla="*/ 367146 h 381782"/>
                <a:gd name="connsiteX0" fmla="*/ 84859 w 174913"/>
                <a:gd name="connsiteY0" fmla="*/ 0 h 381782"/>
                <a:gd name="connsiteX1" fmla="*/ 15586 w 174913"/>
                <a:gd name="connsiteY1" fmla="*/ 90055 h 381782"/>
                <a:gd name="connsiteX2" fmla="*/ 1731 w 174913"/>
                <a:gd name="connsiteY2" fmla="*/ 200891 h 381782"/>
                <a:gd name="connsiteX3" fmla="*/ 43295 w 174913"/>
                <a:gd name="connsiteY3" fmla="*/ 346364 h 381782"/>
                <a:gd name="connsiteX4" fmla="*/ 105641 w 174913"/>
                <a:gd name="connsiteY4" fmla="*/ 381000 h 381782"/>
                <a:gd name="connsiteX5" fmla="*/ 174913 w 174913"/>
                <a:gd name="connsiteY5" fmla="*/ 367146 h 381782"/>
                <a:gd name="connsiteX0" fmla="*/ 87188 w 177242"/>
                <a:gd name="connsiteY0" fmla="*/ 0 h 381782"/>
                <a:gd name="connsiteX1" fmla="*/ 10987 w 177242"/>
                <a:gd name="connsiteY1" fmla="*/ 90055 h 381782"/>
                <a:gd name="connsiteX2" fmla="*/ 4060 w 177242"/>
                <a:gd name="connsiteY2" fmla="*/ 200891 h 381782"/>
                <a:gd name="connsiteX3" fmla="*/ 45624 w 177242"/>
                <a:gd name="connsiteY3" fmla="*/ 346364 h 381782"/>
                <a:gd name="connsiteX4" fmla="*/ 107970 w 177242"/>
                <a:gd name="connsiteY4" fmla="*/ 381000 h 381782"/>
                <a:gd name="connsiteX5" fmla="*/ 177242 w 177242"/>
                <a:gd name="connsiteY5" fmla="*/ 367146 h 3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242" h="381782">
                  <a:moveTo>
                    <a:pt x="87188" y="0"/>
                  </a:moveTo>
                  <a:cubicBezTo>
                    <a:pt x="58901" y="27709"/>
                    <a:pt x="24842" y="56573"/>
                    <a:pt x="10987" y="90055"/>
                  </a:cubicBezTo>
                  <a:cubicBezTo>
                    <a:pt x="-2868" y="123537"/>
                    <a:pt x="-1713" y="158173"/>
                    <a:pt x="4060" y="200891"/>
                  </a:cubicBezTo>
                  <a:cubicBezTo>
                    <a:pt x="9833" y="243609"/>
                    <a:pt x="28306" y="316346"/>
                    <a:pt x="45624" y="346364"/>
                  </a:cubicBezTo>
                  <a:cubicBezTo>
                    <a:pt x="62942" y="376382"/>
                    <a:pt x="86034" y="377536"/>
                    <a:pt x="107970" y="381000"/>
                  </a:cubicBezTo>
                  <a:cubicBezTo>
                    <a:pt x="129906" y="384464"/>
                    <a:pt x="159346" y="375805"/>
                    <a:pt x="177242" y="367146"/>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43" name="Freeform: Shape 342"/>
            <p:cNvSpPr/>
            <p:nvPr/>
          </p:nvSpPr>
          <p:spPr bwMode="auto">
            <a:xfrm>
              <a:off x="4340667" y="2560687"/>
              <a:ext cx="190414" cy="46378"/>
            </a:xfrm>
            <a:custGeom>
              <a:avLst/>
              <a:gdLst>
                <a:gd name="connsiteX0" fmla="*/ 144530 w 564212"/>
                <a:gd name="connsiteY0" fmla="*/ 117774 h 137423"/>
                <a:gd name="connsiteX1" fmla="*/ 428548 w 564212"/>
                <a:gd name="connsiteY1" fmla="*/ 131629 h 137423"/>
                <a:gd name="connsiteX2" fmla="*/ 553239 w 564212"/>
                <a:gd name="connsiteY2" fmla="*/ 20792 h 137423"/>
                <a:gd name="connsiteX3" fmla="*/ 511676 w 564212"/>
                <a:gd name="connsiteY3" fmla="*/ 10 h 137423"/>
                <a:gd name="connsiteX4" fmla="*/ 144530 w 564212"/>
                <a:gd name="connsiteY4" fmla="*/ 20792 h 137423"/>
                <a:gd name="connsiteX5" fmla="*/ 26767 w 564212"/>
                <a:gd name="connsiteY5" fmla="*/ 34647 h 137423"/>
                <a:gd name="connsiteX6" fmla="*/ 5985 w 564212"/>
                <a:gd name="connsiteY6" fmla="*/ 83138 h 137423"/>
                <a:gd name="connsiteX7" fmla="*/ 144530 w 564212"/>
                <a:gd name="connsiteY7" fmla="*/ 117774 h 137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4212" h="137423">
                  <a:moveTo>
                    <a:pt x="144530" y="117774"/>
                  </a:moveTo>
                  <a:cubicBezTo>
                    <a:pt x="214957" y="125856"/>
                    <a:pt x="360430" y="147793"/>
                    <a:pt x="428548" y="131629"/>
                  </a:cubicBezTo>
                  <a:cubicBezTo>
                    <a:pt x="496666" y="115465"/>
                    <a:pt x="539384" y="42728"/>
                    <a:pt x="553239" y="20792"/>
                  </a:cubicBezTo>
                  <a:cubicBezTo>
                    <a:pt x="567094" y="-1144"/>
                    <a:pt x="579794" y="10"/>
                    <a:pt x="511676" y="10"/>
                  </a:cubicBezTo>
                  <a:cubicBezTo>
                    <a:pt x="443558" y="10"/>
                    <a:pt x="225348" y="15019"/>
                    <a:pt x="144530" y="20792"/>
                  </a:cubicBezTo>
                  <a:cubicBezTo>
                    <a:pt x="63712" y="26565"/>
                    <a:pt x="49858" y="24256"/>
                    <a:pt x="26767" y="34647"/>
                  </a:cubicBezTo>
                  <a:cubicBezTo>
                    <a:pt x="3676" y="45038"/>
                    <a:pt x="-7869" y="69284"/>
                    <a:pt x="5985" y="83138"/>
                  </a:cubicBezTo>
                  <a:cubicBezTo>
                    <a:pt x="19839" y="96992"/>
                    <a:pt x="74103" y="109692"/>
                    <a:pt x="144530" y="11777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44" name="Freeform: Shape 343"/>
            <p:cNvSpPr/>
            <p:nvPr/>
          </p:nvSpPr>
          <p:spPr bwMode="auto">
            <a:xfrm>
              <a:off x="2610335" y="2331581"/>
              <a:ext cx="1804826" cy="353016"/>
            </a:xfrm>
            <a:custGeom>
              <a:avLst/>
              <a:gdLst>
                <a:gd name="connsiteX0" fmla="*/ 0 w 5320146"/>
                <a:gd name="connsiteY0" fmla="*/ 1046018 h 1046018"/>
                <a:gd name="connsiteX1" fmla="*/ 581891 w 5320146"/>
                <a:gd name="connsiteY1" fmla="*/ 762000 h 1046018"/>
                <a:gd name="connsiteX2" fmla="*/ 1371600 w 5320146"/>
                <a:gd name="connsiteY2" fmla="*/ 540327 h 1046018"/>
                <a:gd name="connsiteX3" fmla="*/ 2528455 w 5320146"/>
                <a:gd name="connsiteY3" fmla="*/ 325582 h 1046018"/>
                <a:gd name="connsiteX4" fmla="*/ 3913909 w 5320146"/>
                <a:gd name="connsiteY4" fmla="*/ 138545 h 1046018"/>
                <a:gd name="connsiteX5" fmla="*/ 4814455 w 5320146"/>
                <a:gd name="connsiteY5" fmla="*/ 34636 h 1046018"/>
                <a:gd name="connsiteX6" fmla="*/ 5320146 w 5320146"/>
                <a:gd name="connsiteY6" fmla="*/ 0 h 1046018"/>
                <a:gd name="connsiteX0" fmla="*/ 0 w 5347855"/>
                <a:gd name="connsiteY0" fmla="*/ 1046018 h 1046018"/>
                <a:gd name="connsiteX1" fmla="*/ 581891 w 5347855"/>
                <a:gd name="connsiteY1" fmla="*/ 762000 h 1046018"/>
                <a:gd name="connsiteX2" fmla="*/ 1371600 w 5347855"/>
                <a:gd name="connsiteY2" fmla="*/ 540327 h 1046018"/>
                <a:gd name="connsiteX3" fmla="*/ 2528455 w 5347855"/>
                <a:gd name="connsiteY3" fmla="*/ 325582 h 1046018"/>
                <a:gd name="connsiteX4" fmla="*/ 3913909 w 5347855"/>
                <a:gd name="connsiteY4" fmla="*/ 138545 h 1046018"/>
                <a:gd name="connsiteX5" fmla="*/ 4814455 w 5347855"/>
                <a:gd name="connsiteY5" fmla="*/ 34636 h 1046018"/>
                <a:gd name="connsiteX6" fmla="*/ 5347855 w 5347855"/>
                <a:gd name="connsiteY6" fmla="*/ 0 h 10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7855" h="1046018">
                  <a:moveTo>
                    <a:pt x="0" y="1046018"/>
                  </a:moveTo>
                  <a:cubicBezTo>
                    <a:pt x="176645" y="946150"/>
                    <a:pt x="353291" y="846282"/>
                    <a:pt x="581891" y="762000"/>
                  </a:cubicBezTo>
                  <a:cubicBezTo>
                    <a:pt x="810491" y="677718"/>
                    <a:pt x="1047173" y="613063"/>
                    <a:pt x="1371600" y="540327"/>
                  </a:cubicBezTo>
                  <a:cubicBezTo>
                    <a:pt x="1696027" y="467591"/>
                    <a:pt x="2104737" y="392546"/>
                    <a:pt x="2528455" y="325582"/>
                  </a:cubicBezTo>
                  <a:cubicBezTo>
                    <a:pt x="2952173" y="258618"/>
                    <a:pt x="3532909" y="187036"/>
                    <a:pt x="3913909" y="138545"/>
                  </a:cubicBezTo>
                  <a:cubicBezTo>
                    <a:pt x="4294909" y="90054"/>
                    <a:pt x="4575464" y="57727"/>
                    <a:pt x="4814455" y="34636"/>
                  </a:cubicBezTo>
                  <a:cubicBezTo>
                    <a:pt x="5053446" y="11545"/>
                    <a:pt x="5212196" y="5772"/>
                    <a:pt x="5347855"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45" name="Freeform: Shape 344"/>
            <p:cNvSpPr/>
            <p:nvPr/>
          </p:nvSpPr>
          <p:spPr bwMode="auto">
            <a:xfrm>
              <a:off x="2900229" y="2357297"/>
              <a:ext cx="1713649" cy="292232"/>
            </a:xfrm>
            <a:custGeom>
              <a:avLst/>
              <a:gdLst>
                <a:gd name="connsiteX0" fmla="*/ 5077691 w 5077691"/>
                <a:gd name="connsiteY0" fmla="*/ 0 h 865909"/>
                <a:gd name="connsiteX1" fmla="*/ 4918364 w 5077691"/>
                <a:gd name="connsiteY1" fmla="*/ 103909 h 865909"/>
                <a:gd name="connsiteX2" fmla="*/ 4475019 w 5077691"/>
                <a:gd name="connsiteY2" fmla="*/ 228600 h 865909"/>
                <a:gd name="connsiteX3" fmla="*/ 3851564 w 5077691"/>
                <a:gd name="connsiteY3" fmla="*/ 297872 h 865909"/>
                <a:gd name="connsiteX4" fmla="*/ 2930237 w 5077691"/>
                <a:gd name="connsiteY4" fmla="*/ 381000 h 865909"/>
                <a:gd name="connsiteX5" fmla="*/ 1953491 w 5077691"/>
                <a:gd name="connsiteY5" fmla="*/ 477982 h 865909"/>
                <a:gd name="connsiteX6" fmla="*/ 1094510 w 5077691"/>
                <a:gd name="connsiteY6" fmla="*/ 609600 h 865909"/>
                <a:gd name="connsiteX7" fmla="*/ 526473 w 5077691"/>
                <a:gd name="connsiteY7" fmla="*/ 699654 h 865909"/>
                <a:gd name="connsiteX8" fmla="*/ 96982 w 5077691"/>
                <a:gd name="connsiteY8" fmla="*/ 831272 h 865909"/>
                <a:gd name="connsiteX9" fmla="*/ 0 w 5077691"/>
                <a:gd name="connsiteY9" fmla="*/ 865909 h 8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7691" h="865909">
                  <a:moveTo>
                    <a:pt x="5077691" y="0"/>
                  </a:moveTo>
                  <a:cubicBezTo>
                    <a:pt x="5048250" y="32904"/>
                    <a:pt x="5018809" y="65809"/>
                    <a:pt x="4918364" y="103909"/>
                  </a:cubicBezTo>
                  <a:cubicBezTo>
                    <a:pt x="4817919" y="142009"/>
                    <a:pt x="4652819" y="196273"/>
                    <a:pt x="4475019" y="228600"/>
                  </a:cubicBezTo>
                  <a:cubicBezTo>
                    <a:pt x="4297219" y="260927"/>
                    <a:pt x="3851564" y="297872"/>
                    <a:pt x="3851564" y="297872"/>
                  </a:cubicBezTo>
                  <a:lnTo>
                    <a:pt x="2930237" y="381000"/>
                  </a:lnTo>
                  <a:cubicBezTo>
                    <a:pt x="2613892" y="411018"/>
                    <a:pt x="2259445" y="439882"/>
                    <a:pt x="1953491" y="477982"/>
                  </a:cubicBezTo>
                  <a:cubicBezTo>
                    <a:pt x="1647537" y="516082"/>
                    <a:pt x="1094510" y="609600"/>
                    <a:pt x="1094510" y="609600"/>
                  </a:cubicBezTo>
                  <a:cubicBezTo>
                    <a:pt x="856674" y="646545"/>
                    <a:pt x="692728" y="662709"/>
                    <a:pt x="526473" y="699654"/>
                  </a:cubicBezTo>
                  <a:cubicBezTo>
                    <a:pt x="360218" y="736599"/>
                    <a:pt x="184727" y="803563"/>
                    <a:pt x="96982" y="831272"/>
                  </a:cubicBezTo>
                  <a:cubicBezTo>
                    <a:pt x="9236" y="858981"/>
                    <a:pt x="4618" y="862445"/>
                    <a:pt x="0" y="86590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46" name="Freeform: Shape 345"/>
            <p:cNvSpPr/>
            <p:nvPr/>
          </p:nvSpPr>
          <p:spPr bwMode="auto">
            <a:xfrm>
              <a:off x="2914256" y="2485880"/>
              <a:ext cx="1713649" cy="161312"/>
            </a:xfrm>
            <a:custGeom>
              <a:avLst/>
              <a:gdLst>
                <a:gd name="connsiteX0" fmla="*/ 0 w 5077691"/>
                <a:gd name="connsiteY0" fmla="*/ 477982 h 477982"/>
                <a:gd name="connsiteX1" fmla="*/ 727364 w 5077691"/>
                <a:gd name="connsiteY1" fmla="*/ 339436 h 477982"/>
                <a:gd name="connsiteX2" fmla="*/ 1711036 w 5077691"/>
                <a:gd name="connsiteY2" fmla="*/ 214745 h 477982"/>
                <a:gd name="connsiteX3" fmla="*/ 2902527 w 5077691"/>
                <a:gd name="connsiteY3" fmla="*/ 117763 h 477982"/>
                <a:gd name="connsiteX4" fmla="*/ 4135582 w 5077691"/>
                <a:gd name="connsiteY4" fmla="*/ 34636 h 477982"/>
                <a:gd name="connsiteX5" fmla="*/ 4807527 w 5077691"/>
                <a:gd name="connsiteY5" fmla="*/ 13854 h 477982"/>
                <a:gd name="connsiteX6" fmla="*/ 5077691 w 5077691"/>
                <a:gd name="connsiteY6" fmla="*/ 0 h 47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7691" h="477982">
                  <a:moveTo>
                    <a:pt x="0" y="477982"/>
                  </a:moveTo>
                  <a:cubicBezTo>
                    <a:pt x="221095" y="430645"/>
                    <a:pt x="442191" y="383309"/>
                    <a:pt x="727364" y="339436"/>
                  </a:cubicBezTo>
                  <a:cubicBezTo>
                    <a:pt x="1012537" y="295563"/>
                    <a:pt x="1348509" y="251690"/>
                    <a:pt x="1711036" y="214745"/>
                  </a:cubicBezTo>
                  <a:cubicBezTo>
                    <a:pt x="2073563" y="177800"/>
                    <a:pt x="2902527" y="117763"/>
                    <a:pt x="2902527" y="117763"/>
                  </a:cubicBezTo>
                  <a:lnTo>
                    <a:pt x="4135582" y="34636"/>
                  </a:lnTo>
                  <a:cubicBezTo>
                    <a:pt x="4453082" y="17318"/>
                    <a:pt x="4650509" y="19627"/>
                    <a:pt x="4807527" y="13854"/>
                  </a:cubicBezTo>
                  <a:cubicBezTo>
                    <a:pt x="4964545" y="8081"/>
                    <a:pt x="5021118" y="4040"/>
                    <a:pt x="507769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47" name="Freeform: Shape 346"/>
            <p:cNvSpPr/>
            <p:nvPr/>
          </p:nvSpPr>
          <p:spPr bwMode="auto">
            <a:xfrm>
              <a:off x="2599280" y="2647492"/>
              <a:ext cx="745142" cy="300813"/>
            </a:xfrm>
            <a:custGeom>
              <a:avLst/>
              <a:gdLst>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32951 w 2219642"/>
                <a:gd name="connsiteY15" fmla="*/ 518656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6546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1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23896 w 2219642"/>
                <a:gd name="connsiteY16" fmla="*/ 276202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37750 w 2219642"/>
                <a:gd name="connsiteY16" fmla="*/ 262347 h 891334"/>
                <a:gd name="connsiteX0" fmla="*/ 2219642 w 2219642"/>
                <a:gd name="connsiteY0" fmla="*/ 553292 h 891334"/>
                <a:gd name="connsiteX1" fmla="*/ 1866351 w 2219642"/>
                <a:gd name="connsiteY1" fmla="*/ 338547 h 891334"/>
                <a:gd name="connsiteX2" fmla="*/ 1284460 w 2219642"/>
                <a:gd name="connsiteY2" fmla="*/ 109947 h 891334"/>
                <a:gd name="connsiteX3" fmla="*/ 931170 w 2219642"/>
                <a:gd name="connsiteY3" fmla="*/ 6038 h 891334"/>
                <a:gd name="connsiteX4" fmla="*/ 584806 w 2219642"/>
                <a:gd name="connsiteY4" fmla="*/ 19892 h 891334"/>
                <a:gd name="connsiteX5" fmla="*/ 300788 w 2219642"/>
                <a:gd name="connsiteY5" fmla="*/ 82238 h 891334"/>
                <a:gd name="connsiteX6" fmla="*/ 92970 w 2219642"/>
                <a:gd name="connsiteY6" fmla="*/ 206929 h 891334"/>
                <a:gd name="connsiteX7" fmla="*/ 37551 w 2219642"/>
                <a:gd name="connsiteY7" fmla="*/ 435529 h 891334"/>
                <a:gd name="connsiteX8" fmla="*/ 9842 w 2219642"/>
                <a:gd name="connsiteY8" fmla="*/ 719547 h 891334"/>
                <a:gd name="connsiteX9" fmla="*/ 9842 w 2219642"/>
                <a:gd name="connsiteY9" fmla="*/ 768038 h 891334"/>
                <a:gd name="connsiteX10" fmla="*/ 127606 w 2219642"/>
                <a:gd name="connsiteY10" fmla="*/ 802674 h 891334"/>
                <a:gd name="connsiteX11" fmla="*/ 273079 w 2219642"/>
                <a:gd name="connsiteY11" fmla="*/ 809601 h 891334"/>
                <a:gd name="connsiteX12" fmla="*/ 363133 w 2219642"/>
                <a:gd name="connsiteY12" fmla="*/ 871947 h 891334"/>
                <a:gd name="connsiteX13" fmla="*/ 467042 w 2219642"/>
                <a:gd name="connsiteY13" fmla="*/ 885801 h 891334"/>
                <a:gd name="connsiteX14" fmla="*/ 827260 w 2219642"/>
                <a:gd name="connsiteY14" fmla="*/ 788820 h 891334"/>
                <a:gd name="connsiteX15" fmla="*/ 1319096 w 2219642"/>
                <a:gd name="connsiteY15" fmla="*/ 511729 h 891334"/>
                <a:gd name="connsiteX16" fmla="*/ 1651605 w 2219642"/>
                <a:gd name="connsiteY16" fmla="*/ 269274 h 891334"/>
                <a:gd name="connsiteX0" fmla="*/ 2214013 w 2214013"/>
                <a:gd name="connsiteY0" fmla="*/ 553292 h 891334"/>
                <a:gd name="connsiteX1" fmla="*/ 1860722 w 2214013"/>
                <a:gd name="connsiteY1" fmla="*/ 338547 h 891334"/>
                <a:gd name="connsiteX2" fmla="*/ 1278831 w 2214013"/>
                <a:gd name="connsiteY2" fmla="*/ 109947 h 891334"/>
                <a:gd name="connsiteX3" fmla="*/ 925541 w 2214013"/>
                <a:gd name="connsiteY3" fmla="*/ 6038 h 891334"/>
                <a:gd name="connsiteX4" fmla="*/ 579177 w 2214013"/>
                <a:gd name="connsiteY4" fmla="*/ 19892 h 891334"/>
                <a:gd name="connsiteX5" fmla="*/ 295159 w 2214013"/>
                <a:gd name="connsiteY5" fmla="*/ 82238 h 891334"/>
                <a:gd name="connsiteX6" fmla="*/ 87341 w 2214013"/>
                <a:gd name="connsiteY6" fmla="*/ 206929 h 891334"/>
                <a:gd name="connsiteX7" fmla="*/ 31922 w 2214013"/>
                <a:gd name="connsiteY7" fmla="*/ 435529 h 891334"/>
                <a:gd name="connsiteX8" fmla="*/ 4213 w 2214013"/>
                <a:gd name="connsiteY8" fmla="*/ 719547 h 891334"/>
                <a:gd name="connsiteX9" fmla="*/ 121977 w 2214013"/>
                <a:gd name="connsiteY9" fmla="*/ 802674 h 891334"/>
                <a:gd name="connsiteX10" fmla="*/ 267450 w 2214013"/>
                <a:gd name="connsiteY10" fmla="*/ 809601 h 891334"/>
                <a:gd name="connsiteX11" fmla="*/ 357504 w 2214013"/>
                <a:gd name="connsiteY11" fmla="*/ 871947 h 891334"/>
                <a:gd name="connsiteX12" fmla="*/ 461413 w 2214013"/>
                <a:gd name="connsiteY12" fmla="*/ 885801 h 891334"/>
                <a:gd name="connsiteX13" fmla="*/ 821631 w 2214013"/>
                <a:gd name="connsiteY13" fmla="*/ 788820 h 891334"/>
                <a:gd name="connsiteX14" fmla="*/ 1313467 w 2214013"/>
                <a:gd name="connsiteY14" fmla="*/ 511729 h 891334"/>
                <a:gd name="connsiteX15" fmla="*/ 1645976 w 2214013"/>
                <a:gd name="connsiteY15" fmla="*/ 269274 h 891334"/>
                <a:gd name="connsiteX0" fmla="*/ 2214123 w 2214123"/>
                <a:gd name="connsiteY0" fmla="*/ 553292 h 891334"/>
                <a:gd name="connsiteX1" fmla="*/ 1860832 w 2214123"/>
                <a:gd name="connsiteY1" fmla="*/ 338547 h 891334"/>
                <a:gd name="connsiteX2" fmla="*/ 1278941 w 2214123"/>
                <a:gd name="connsiteY2" fmla="*/ 109947 h 891334"/>
                <a:gd name="connsiteX3" fmla="*/ 925651 w 2214123"/>
                <a:gd name="connsiteY3" fmla="*/ 6038 h 891334"/>
                <a:gd name="connsiteX4" fmla="*/ 579287 w 2214123"/>
                <a:gd name="connsiteY4" fmla="*/ 19892 h 891334"/>
                <a:gd name="connsiteX5" fmla="*/ 295269 w 2214123"/>
                <a:gd name="connsiteY5" fmla="*/ 82238 h 891334"/>
                <a:gd name="connsiteX6" fmla="*/ 94378 w 2214123"/>
                <a:gd name="connsiteY6" fmla="*/ 206929 h 891334"/>
                <a:gd name="connsiteX7" fmla="*/ 32032 w 2214123"/>
                <a:gd name="connsiteY7" fmla="*/ 435529 h 891334"/>
                <a:gd name="connsiteX8" fmla="*/ 4323 w 2214123"/>
                <a:gd name="connsiteY8" fmla="*/ 719547 h 891334"/>
                <a:gd name="connsiteX9" fmla="*/ 122087 w 2214123"/>
                <a:gd name="connsiteY9" fmla="*/ 802674 h 891334"/>
                <a:gd name="connsiteX10" fmla="*/ 267560 w 2214123"/>
                <a:gd name="connsiteY10" fmla="*/ 809601 h 891334"/>
                <a:gd name="connsiteX11" fmla="*/ 357614 w 2214123"/>
                <a:gd name="connsiteY11" fmla="*/ 871947 h 891334"/>
                <a:gd name="connsiteX12" fmla="*/ 461523 w 2214123"/>
                <a:gd name="connsiteY12" fmla="*/ 885801 h 891334"/>
                <a:gd name="connsiteX13" fmla="*/ 821741 w 2214123"/>
                <a:gd name="connsiteY13" fmla="*/ 788820 h 891334"/>
                <a:gd name="connsiteX14" fmla="*/ 1313577 w 2214123"/>
                <a:gd name="connsiteY14" fmla="*/ 511729 h 891334"/>
                <a:gd name="connsiteX15" fmla="*/ 1646086 w 2214123"/>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 name="connsiteX0" fmla="*/ 2207919 w 2207919"/>
                <a:gd name="connsiteY0" fmla="*/ 553292 h 891334"/>
                <a:gd name="connsiteX1" fmla="*/ 1854628 w 2207919"/>
                <a:gd name="connsiteY1" fmla="*/ 338547 h 891334"/>
                <a:gd name="connsiteX2" fmla="*/ 1272737 w 2207919"/>
                <a:gd name="connsiteY2" fmla="*/ 109947 h 891334"/>
                <a:gd name="connsiteX3" fmla="*/ 919447 w 2207919"/>
                <a:gd name="connsiteY3" fmla="*/ 6038 h 891334"/>
                <a:gd name="connsiteX4" fmla="*/ 573083 w 2207919"/>
                <a:gd name="connsiteY4" fmla="*/ 19892 h 891334"/>
                <a:gd name="connsiteX5" fmla="*/ 289065 w 2207919"/>
                <a:gd name="connsiteY5" fmla="*/ 82238 h 891334"/>
                <a:gd name="connsiteX6" fmla="*/ 88174 w 2207919"/>
                <a:gd name="connsiteY6" fmla="*/ 206929 h 891334"/>
                <a:gd name="connsiteX7" fmla="*/ 25828 w 2207919"/>
                <a:gd name="connsiteY7" fmla="*/ 435529 h 891334"/>
                <a:gd name="connsiteX8" fmla="*/ 5046 w 2207919"/>
                <a:gd name="connsiteY8" fmla="*/ 754183 h 891334"/>
                <a:gd name="connsiteX9" fmla="*/ 115883 w 2207919"/>
                <a:gd name="connsiteY9" fmla="*/ 802674 h 891334"/>
                <a:gd name="connsiteX10" fmla="*/ 261356 w 2207919"/>
                <a:gd name="connsiteY10" fmla="*/ 809601 h 891334"/>
                <a:gd name="connsiteX11" fmla="*/ 351410 w 2207919"/>
                <a:gd name="connsiteY11" fmla="*/ 871947 h 891334"/>
                <a:gd name="connsiteX12" fmla="*/ 455319 w 2207919"/>
                <a:gd name="connsiteY12" fmla="*/ 885801 h 891334"/>
                <a:gd name="connsiteX13" fmla="*/ 815537 w 2207919"/>
                <a:gd name="connsiteY13" fmla="*/ 788820 h 891334"/>
                <a:gd name="connsiteX14" fmla="*/ 1307373 w 2207919"/>
                <a:gd name="connsiteY14" fmla="*/ 511729 h 891334"/>
                <a:gd name="connsiteX15" fmla="*/ 1639882 w 2207919"/>
                <a:gd name="connsiteY15" fmla="*/ 269274 h 89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07919" h="891334">
                  <a:moveTo>
                    <a:pt x="2207919" y="553292"/>
                  </a:moveTo>
                  <a:cubicBezTo>
                    <a:pt x="2109205" y="482865"/>
                    <a:pt x="2017419" y="398584"/>
                    <a:pt x="1854628" y="338547"/>
                  </a:cubicBezTo>
                  <a:cubicBezTo>
                    <a:pt x="1691837" y="278510"/>
                    <a:pt x="1428600" y="165365"/>
                    <a:pt x="1272737" y="109947"/>
                  </a:cubicBezTo>
                  <a:cubicBezTo>
                    <a:pt x="1116874" y="54529"/>
                    <a:pt x="1036056" y="21047"/>
                    <a:pt x="919447" y="6038"/>
                  </a:cubicBezTo>
                  <a:cubicBezTo>
                    <a:pt x="802838" y="-8971"/>
                    <a:pt x="678147" y="7192"/>
                    <a:pt x="573083" y="19892"/>
                  </a:cubicBezTo>
                  <a:cubicBezTo>
                    <a:pt x="468019" y="32592"/>
                    <a:pt x="369883" y="51065"/>
                    <a:pt x="289065" y="82238"/>
                  </a:cubicBezTo>
                  <a:cubicBezTo>
                    <a:pt x="208247" y="113411"/>
                    <a:pt x="132047" y="148047"/>
                    <a:pt x="88174" y="206929"/>
                  </a:cubicBezTo>
                  <a:cubicBezTo>
                    <a:pt x="44301" y="265811"/>
                    <a:pt x="39683" y="344320"/>
                    <a:pt x="25828" y="435529"/>
                  </a:cubicBezTo>
                  <a:cubicBezTo>
                    <a:pt x="11973" y="526738"/>
                    <a:pt x="-9963" y="692992"/>
                    <a:pt x="5046" y="754183"/>
                  </a:cubicBezTo>
                  <a:cubicBezTo>
                    <a:pt x="20055" y="815374"/>
                    <a:pt x="73165" y="793438"/>
                    <a:pt x="115883" y="802674"/>
                  </a:cubicBezTo>
                  <a:cubicBezTo>
                    <a:pt x="158601" y="811910"/>
                    <a:pt x="222102" y="798056"/>
                    <a:pt x="261356" y="809601"/>
                  </a:cubicBezTo>
                  <a:cubicBezTo>
                    <a:pt x="300610" y="821146"/>
                    <a:pt x="319083" y="859247"/>
                    <a:pt x="351410" y="871947"/>
                  </a:cubicBezTo>
                  <a:cubicBezTo>
                    <a:pt x="383737" y="884647"/>
                    <a:pt x="377965" y="899655"/>
                    <a:pt x="455319" y="885801"/>
                  </a:cubicBezTo>
                  <a:cubicBezTo>
                    <a:pt x="532673" y="871947"/>
                    <a:pt x="673528" y="851165"/>
                    <a:pt x="815537" y="788820"/>
                  </a:cubicBezTo>
                  <a:cubicBezTo>
                    <a:pt x="957546" y="726475"/>
                    <a:pt x="1169982" y="598320"/>
                    <a:pt x="1307373" y="511729"/>
                  </a:cubicBezTo>
                  <a:cubicBezTo>
                    <a:pt x="1444764" y="425138"/>
                    <a:pt x="1543477" y="353555"/>
                    <a:pt x="1639882" y="26927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48" name="Freeform: Shape 347"/>
            <p:cNvSpPr/>
            <p:nvPr/>
          </p:nvSpPr>
          <p:spPr bwMode="auto">
            <a:xfrm>
              <a:off x="2467395" y="3055147"/>
              <a:ext cx="462537" cy="85624"/>
            </a:xfrm>
            <a:custGeom>
              <a:avLst/>
              <a:gdLst>
                <a:gd name="connsiteX0" fmla="*/ 432524 w 1358737"/>
                <a:gd name="connsiteY0" fmla="*/ 255575 h 269762"/>
                <a:gd name="connsiteX1" fmla="*/ 1007488 w 1358737"/>
                <a:gd name="connsiteY1" fmla="*/ 262502 h 269762"/>
                <a:gd name="connsiteX2" fmla="*/ 1222234 w 1358737"/>
                <a:gd name="connsiteY2" fmla="*/ 214011 h 269762"/>
                <a:gd name="connsiteX3" fmla="*/ 1353852 w 1358737"/>
                <a:gd name="connsiteY3" fmla="*/ 54684 h 269762"/>
                <a:gd name="connsiteX4" fmla="*/ 1236088 w 1358737"/>
                <a:gd name="connsiteY4" fmla="*/ 33902 h 269762"/>
                <a:gd name="connsiteX5" fmla="*/ 425597 w 1358737"/>
                <a:gd name="connsiteY5" fmla="*/ 20047 h 269762"/>
                <a:gd name="connsiteX6" fmla="*/ 120797 w 1358737"/>
                <a:gd name="connsiteY6" fmla="*/ 6193 h 269762"/>
                <a:gd name="connsiteX7" fmla="*/ 23815 w 1358737"/>
                <a:gd name="connsiteY7" fmla="*/ 6193 h 269762"/>
                <a:gd name="connsiteX8" fmla="*/ 3034 w 1358737"/>
                <a:gd name="connsiteY8" fmla="*/ 82393 h 269762"/>
                <a:gd name="connsiteX9" fmla="*/ 3034 w 1358737"/>
                <a:gd name="connsiteY9" fmla="*/ 227865 h 269762"/>
                <a:gd name="connsiteX10" fmla="*/ 23815 w 1358737"/>
                <a:gd name="connsiteY10" fmla="*/ 262502 h 269762"/>
                <a:gd name="connsiteX11" fmla="*/ 238561 w 1358737"/>
                <a:gd name="connsiteY11" fmla="*/ 269429 h 269762"/>
                <a:gd name="connsiteX12" fmla="*/ 550288 w 1358737"/>
                <a:gd name="connsiteY12" fmla="*/ 269429 h 269762"/>
                <a:gd name="connsiteX13" fmla="*/ 432524 w 1358737"/>
                <a:gd name="connsiteY13" fmla="*/ 255575 h 269762"/>
                <a:gd name="connsiteX0" fmla="*/ 550288 w 1358737"/>
                <a:gd name="connsiteY0" fmla="*/ 269429 h 270294"/>
                <a:gd name="connsiteX1" fmla="*/ 1007488 w 1358737"/>
                <a:gd name="connsiteY1" fmla="*/ 262502 h 270294"/>
                <a:gd name="connsiteX2" fmla="*/ 1222234 w 1358737"/>
                <a:gd name="connsiteY2" fmla="*/ 214011 h 270294"/>
                <a:gd name="connsiteX3" fmla="*/ 1353852 w 1358737"/>
                <a:gd name="connsiteY3" fmla="*/ 54684 h 270294"/>
                <a:gd name="connsiteX4" fmla="*/ 1236088 w 1358737"/>
                <a:gd name="connsiteY4" fmla="*/ 33902 h 270294"/>
                <a:gd name="connsiteX5" fmla="*/ 425597 w 1358737"/>
                <a:gd name="connsiteY5" fmla="*/ 20047 h 270294"/>
                <a:gd name="connsiteX6" fmla="*/ 120797 w 1358737"/>
                <a:gd name="connsiteY6" fmla="*/ 6193 h 270294"/>
                <a:gd name="connsiteX7" fmla="*/ 23815 w 1358737"/>
                <a:gd name="connsiteY7" fmla="*/ 6193 h 270294"/>
                <a:gd name="connsiteX8" fmla="*/ 3034 w 1358737"/>
                <a:gd name="connsiteY8" fmla="*/ 82393 h 270294"/>
                <a:gd name="connsiteX9" fmla="*/ 3034 w 1358737"/>
                <a:gd name="connsiteY9" fmla="*/ 227865 h 270294"/>
                <a:gd name="connsiteX10" fmla="*/ 23815 w 1358737"/>
                <a:gd name="connsiteY10" fmla="*/ 262502 h 270294"/>
                <a:gd name="connsiteX11" fmla="*/ 238561 w 1358737"/>
                <a:gd name="connsiteY11" fmla="*/ 269429 h 270294"/>
                <a:gd name="connsiteX12" fmla="*/ 550288 w 1358737"/>
                <a:gd name="connsiteY12" fmla="*/ 269429 h 270294"/>
                <a:gd name="connsiteX0" fmla="*/ 550288 w 1358737"/>
                <a:gd name="connsiteY0" fmla="*/ 266015 h 266880"/>
                <a:gd name="connsiteX1" fmla="*/ 1007488 w 1358737"/>
                <a:gd name="connsiteY1" fmla="*/ 259088 h 266880"/>
                <a:gd name="connsiteX2" fmla="*/ 1222234 w 1358737"/>
                <a:gd name="connsiteY2" fmla="*/ 210597 h 266880"/>
                <a:gd name="connsiteX3" fmla="*/ 1353852 w 1358737"/>
                <a:gd name="connsiteY3" fmla="*/ 51270 h 266880"/>
                <a:gd name="connsiteX4" fmla="*/ 1236088 w 1358737"/>
                <a:gd name="connsiteY4" fmla="*/ 30488 h 266880"/>
                <a:gd name="connsiteX5" fmla="*/ 425597 w 1358737"/>
                <a:gd name="connsiteY5" fmla="*/ 16633 h 266880"/>
                <a:gd name="connsiteX6" fmla="*/ 134651 w 1358737"/>
                <a:gd name="connsiteY6" fmla="*/ 16634 h 266880"/>
                <a:gd name="connsiteX7" fmla="*/ 23815 w 1358737"/>
                <a:gd name="connsiteY7" fmla="*/ 2779 h 266880"/>
                <a:gd name="connsiteX8" fmla="*/ 3034 w 1358737"/>
                <a:gd name="connsiteY8" fmla="*/ 78979 h 266880"/>
                <a:gd name="connsiteX9" fmla="*/ 3034 w 1358737"/>
                <a:gd name="connsiteY9" fmla="*/ 224451 h 266880"/>
                <a:gd name="connsiteX10" fmla="*/ 23815 w 1358737"/>
                <a:gd name="connsiteY10" fmla="*/ 259088 h 266880"/>
                <a:gd name="connsiteX11" fmla="*/ 238561 w 1358737"/>
                <a:gd name="connsiteY11" fmla="*/ 266015 h 266880"/>
                <a:gd name="connsiteX12" fmla="*/ 550288 w 1358737"/>
                <a:gd name="connsiteY12" fmla="*/ 266015 h 266880"/>
                <a:gd name="connsiteX0" fmla="*/ 563217 w 1371666"/>
                <a:gd name="connsiteY0" fmla="*/ 266229 h 267094"/>
                <a:gd name="connsiteX1" fmla="*/ 1020417 w 1371666"/>
                <a:gd name="connsiteY1" fmla="*/ 259302 h 267094"/>
                <a:gd name="connsiteX2" fmla="*/ 1235163 w 1371666"/>
                <a:gd name="connsiteY2" fmla="*/ 210811 h 267094"/>
                <a:gd name="connsiteX3" fmla="*/ 1366781 w 1371666"/>
                <a:gd name="connsiteY3" fmla="*/ 51484 h 267094"/>
                <a:gd name="connsiteX4" fmla="*/ 1249017 w 1371666"/>
                <a:gd name="connsiteY4" fmla="*/ 30702 h 267094"/>
                <a:gd name="connsiteX5" fmla="*/ 438526 w 1371666"/>
                <a:gd name="connsiteY5" fmla="*/ 16847 h 267094"/>
                <a:gd name="connsiteX6" fmla="*/ 36744 w 1371666"/>
                <a:gd name="connsiteY6" fmla="*/ 2993 h 267094"/>
                <a:gd name="connsiteX7" fmla="*/ 15963 w 1371666"/>
                <a:gd name="connsiteY7" fmla="*/ 79193 h 267094"/>
                <a:gd name="connsiteX8" fmla="*/ 15963 w 1371666"/>
                <a:gd name="connsiteY8" fmla="*/ 224665 h 267094"/>
                <a:gd name="connsiteX9" fmla="*/ 36744 w 1371666"/>
                <a:gd name="connsiteY9" fmla="*/ 259302 h 267094"/>
                <a:gd name="connsiteX10" fmla="*/ 251490 w 1371666"/>
                <a:gd name="connsiteY10" fmla="*/ 266229 h 267094"/>
                <a:gd name="connsiteX11" fmla="*/ 563217 w 1371666"/>
                <a:gd name="connsiteY11" fmla="*/ 266229 h 267094"/>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50289 w 1358738"/>
                <a:gd name="connsiteY0" fmla="*/ 277960 h 278825"/>
                <a:gd name="connsiteX1" fmla="*/ 1007489 w 1358738"/>
                <a:gd name="connsiteY1" fmla="*/ 271033 h 278825"/>
                <a:gd name="connsiteX2" fmla="*/ 1222235 w 1358738"/>
                <a:gd name="connsiteY2" fmla="*/ 222542 h 278825"/>
                <a:gd name="connsiteX3" fmla="*/ 1353853 w 1358738"/>
                <a:gd name="connsiteY3" fmla="*/ 63215 h 278825"/>
                <a:gd name="connsiteX4" fmla="*/ 1236089 w 1358738"/>
                <a:gd name="connsiteY4" fmla="*/ 42433 h 278825"/>
                <a:gd name="connsiteX5" fmla="*/ 425598 w 1358738"/>
                <a:gd name="connsiteY5" fmla="*/ 28578 h 278825"/>
                <a:gd name="connsiteX6" fmla="*/ 23816 w 1358738"/>
                <a:gd name="connsiteY6" fmla="*/ 14724 h 278825"/>
                <a:gd name="connsiteX7" fmla="*/ 3035 w 1358738"/>
                <a:gd name="connsiteY7" fmla="*/ 90924 h 278825"/>
                <a:gd name="connsiteX8" fmla="*/ 3035 w 1358738"/>
                <a:gd name="connsiteY8" fmla="*/ 236396 h 278825"/>
                <a:gd name="connsiteX9" fmla="*/ 23816 w 1358738"/>
                <a:gd name="connsiteY9" fmla="*/ 271033 h 278825"/>
                <a:gd name="connsiteX10" fmla="*/ 238562 w 1358738"/>
                <a:gd name="connsiteY10" fmla="*/ 277960 h 278825"/>
                <a:gd name="connsiteX11" fmla="*/ 550289 w 1358738"/>
                <a:gd name="connsiteY11" fmla="*/ 277960 h 278825"/>
                <a:gd name="connsiteX0" fmla="*/ 579338 w 1387787"/>
                <a:gd name="connsiteY0" fmla="*/ 251602 h 252467"/>
                <a:gd name="connsiteX1" fmla="*/ 1036538 w 1387787"/>
                <a:gd name="connsiteY1" fmla="*/ 244675 h 252467"/>
                <a:gd name="connsiteX2" fmla="*/ 1251284 w 1387787"/>
                <a:gd name="connsiteY2" fmla="*/ 196184 h 252467"/>
                <a:gd name="connsiteX3" fmla="*/ 1382902 w 1387787"/>
                <a:gd name="connsiteY3" fmla="*/ 36857 h 252467"/>
                <a:gd name="connsiteX4" fmla="*/ 1265138 w 1387787"/>
                <a:gd name="connsiteY4" fmla="*/ 16075 h 252467"/>
                <a:gd name="connsiteX5" fmla="*/ 454647 w 1387787"/>
                <a:gd name="connsiteY5" fmla="*/ 2220 h 252467"/>
                <a:gd name="connsiteX6" fmla="*/ 32084 w 1387787"/>
                <a:gd name="connsiteY6" fmla="*/ 64566 h 252467"/>
                <a:gd name="connsiteX7" fmla="*/ 32084 w 1387787"/>
                <a:gd name="connsiteY7" fmla="*/ 210038 h 252467"/>
                <a:gd name="connsiteX8" fmla="*/ 52865 w 1387787"/>
                <a:gd name="connsiteY8" fmla="*/ 244675 h 252467"/>
                <a:gd name="connsiteX9" fmla="*/ 267611 w 1387787"/>
                <a:gd name="connsiteY9" fmla="*/ 251602 h 252467"/>
                <a:gd name="connsiteX10" fmla="*/ 579338 w 1387787"/>
                <a:gd name="connsiteY10" fmla="*/ 251602 h 252467"/>
                <a:gd name="connsiteX0" fmla="*/ 569062 w 1377511"/>
                <a:gd name="connsiteY0" fmla="*/ 265301 h 266166"/>
                <a:gd name="connsiteX1" fmla="*/ 1026262 w 1377511"/>
                <a:gd name="connsiteY1" fmla="*/ 258374 h 266166"/>
                <a:gd name="connsiteX2" fmla="*/ 1241008 w 1377511"/>
                <a:gd name="connsiteY2" fmla="*/ 209883 h 266166"/>
                <a:gd name="connsiteX3" fmla="*/ 1372626 w 1377511"/>
                <a:gd name="connsiteY3" fmla="*/ 50556 h 266166"/>
                <a:gd name="connsiteX4" fmla="*/ 1254862 w 1377511"/>
                <a:gd name="connsiteY4" fmla="*/ 29774 h 266166"/>
                <a:gd name="connsiteX5" fmla="*/ 444371 w 1377511"/>
                <a:gd name="connsiteY5" fmla="*/ 15919 h 266166"/>
                <a:gd name="connsiteX6" fmla="*/ 35662 w 1377511"/>
                <a:gd name="connsiteY6" fmla="*/ 15919 h 266166"/>
                <a:gd name="connsiteX7" fmla="*/ 21808 w 1377511"/>
                <a:gd name="connsiteY7" fmla="*/ 223737 h 266166"/>
                <a:gd name="connsiteX8" fmla="*/ 42589 w 1377511"/>
                <a:gd name="connsiteY8" fmla="*/ 258374 h 266166"/>
                <a:gd name="connsiteX9" fmla="*/ 257335 w 1377511"/>
                <a:gd name="connsiteY9" fmla="*/ 265301 h 266166"/>
                <a:gd name="connsiteX10" fmla="*/ 569062 w 1377511"/>
                <a:gd name="connsiteY10" fmla="*/ 265301 h 266166"/>
                <a:gd name="connsiteX0" fmla="*/ 551155 w 1359604"/>
                <a:gd name="connsiteY0" fmla="*/ 262227 h 263092"/>
                <a:gd name="connsiteX1" fmla="*/ 1008355 w 1359604"/>
                <a:gd name="connsiteY1" fmla="*/ 255300 h 263092"/>
                <a:gd name="connsiteX2" fmla="*/ 1223101 w 1359604"/>
                <a:gd name="connsiteY2" fmla="*/ 206809 h 263092"/>
                <a:gd name="connsiteX3" fmla="*/ 1354719 w 1359604"/>
                <a:gd name="connsiteY3" fmla="*/ 47482 h 263092"/>
                <a:gd name="connsiteX4" fmla="*/ 1236955 w 1359604"/>
                <a:gd name="connsiteY4" fmla="*/ 26700 h 263092"/>
                <a:gd name="connsiteX5" fmla="*/ 426464 w 1359604"/>
                <a:gd name="connsiteY5" fmla="*/ 12845 h 263092"/>
                <a:gd name="connsiteX6" fmla="*/ 17755 w 1359604"/>
                <a:gd name="connsiteY6" fmla="*/ 12845 h 263092"/>
                <a:gd name="connsiteX7" fmla="*/ 3901 w 1359604"/>
                <a:gd name="connsiteY7" fmla="*/ 220663 h 263092"/>
                <a:gd name="connsiteX8" fmla="*/ 24682 w 1359604"/>
                <a:gd name="connsiteY8" fmla="*/ 255300 h 263092"/>
                <a:gd name="connsiteX9" fmla="*/ 239428 w 1359604"/>
                <a:gd name="connsiteY9" fmla="*/ 262227 h 263092"/>
                <a:gd name="connsiteX10" fmla="*/ 551155 w 1359604"/>
                <a:gd name="connsiteY10" fmla="*/ 262227 h 263092"/>
                <a:gd name="connsiteX0" fmla="*/ 551155 w 1359604"/>
                <a:gd name="connsiteY0" fmla="*/ 252846 h 253711"/>
                <a:gd name="connsiteX1" fmla="*/ 1008355 w 1359604"/>
                <a:gd name="connsiteY1" fmla="*/ 245919 h 253711"/>
                <a:gd name="connsiteX2" fmla="*/ 1223101 w 1359604"/>
                <a:gd name="connsiteY2" fmla="*/ 197428 h 253711"/>
                <a:gd name="connsiteX3" fmla="*/ 1354719 w 1359604"/>
                <a:gd name="connsiteY3" fmla="*/ 38101 h 253711"/>
                <a:gd name="connsiteX4" fmla="*/ 1236955 w 1359604"/>
                <a:gd name="connsiteY4" fmla="*/ 17319 h 253711"/>
                <a:gd name="connsiteX5" fmla="*/ 426464 w 1359604"/>
                <a:gd name="connsiteY5" fmla="*/ 3464 h 253711"/>
                <a:gd name="connsiteX6" fmla="*/ 17755 w 1359604"/>
                <a:gd name="connsiteY6" fmla="*/ 17318 h 253711"/>
                <a:gd name="connsiteX7" fmla="*/ 3901 w 1359604"/>
                <a:gd name="connsiteY7" fmla="*/ 211282 h 253711"/>
                <a:gd name="connsiteX8" fmla="*/ 24682 w 1359604"/>
                <a:gd name="connsiteY8" fmla="*/ 245919 h 253711"/>
                <a:gd name="connsiteX9" fmla="*/ 239428 w 1359604"/>
                <a:gd name="connsiteY9" fmla="*/ 252846 h 253711"/>
                <a:gd name="connsiteX10" fmla="*/ 551155 w 1359604"/>
                <a:gd name="connsiteY10" fmla="*/ 252846 h 253711"/>
                <a:gd name="connsiteX0" fmla="*/ 562087 w 1370536"/>
                <a:gd name="connsiteY0" fmla="*/ 252846 h 253711"/>
                <a:gd name="connsiteX1" fmla="*/ 1019287 w 1370536"/>
                <a:gd name="connsiteY1" fmla="*/ 245919 h 253711"/>
                <a:gd name="connsiteX2" fmla="*/ 1234033 w 1370536"/>
                <a:gd name="connsiteY2" fmla="*/ 197428 h 253711"/>
                <a:gd name="connsiteX3" fmla="*/ 1365651 w 1370536"/>
                <a:gd name="connsiteY3" fmla="*/ 38101 h 253711"/>
                <a:gd name="connsiteX4" fmla="*/ 1247887 w 1370536"/>
                <a:gd name="connsiteY4" fmla="*/ 17319 h 253711"/>
                <a:gd name="connsiteX5" fmla="*/ 437396 w 1370536"/>
                <a:gd name="connsiteY5" fmla="*/ 3464 h 253711"/>
                <a:gd name="connsiteX6" fmla="*/ 28687 w 1370536"/>
                <a:gd name="connsiteY6" fmla="*/ 17318 h 253711"/>
                <a:gd name="connsiteX7" fmla="*/ 14833 w 1370536"/>
                <a:gd name="connsiteY7" fmla="*/ 211282 h 253711"/>
                <a:gd name="connsiteX8" fmla="*/ 250360 w 1370536"/>
                <a:gd name="connsiteY8" fmla="*/ 252846 h 253711"/>
                <a:gd name="connsiteX9" fmla="*/ 562087 w 1370536"/>
                <a:gd name="connsiteY9" fmla="*/ 252846 h 25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0536" h="253711">
                  <a:moveTo>
                    <a:pt x="562087" y="252846"/>
                  </a:moveTo>
                  <a:lnTo>
                    <a:pt x="1019287" y="245919"/>
                  </a:lnTo>
                  <a:cubicBezTo>
                    <a:pt x="1131278" y="236683"/>
                    <a:pt x="1176306" y="232064"/>
                    <a:pt x="1234033" y="197428"/>
                  </a:cubicBezTo>
                  <a:cubicBezTo>
                    <a:pt x="1291760" y="162792"/>
                    <a:pt x="1363342" y="68119"/>
                    <a:pt x="1365651" y="38101"/>
                  </a:cubicBezTo>
                  <a:cubicBezTo>
                    <a:pt x="1367960" y="8083"/>
                    <a:pt x="1402596" y="23092"/>
                    <a:pt x="1247887" y="17319"/>
                  </a:cubicBezTo>
                  <a:cubicBezTo>
                    <a:pt x="1093178" y="11546"/>
                    <a:pt x="640596" y="3464"/>
                    <a:pt x="437396" y="3464"/>
                  </a:cubicBezTo>
                  <a:cubicBezTo>
                    <a:pt x="234196" y="3464"/>
                    <a:pt x="36768" y="-10391"/>
                    <a:pt x="28687" y="17318"/>
                  </a:cubicBezTo>
                  <a:cubicBezTo>
                    <a:pt x="20606" y="45027"/>
                    <a:pt x="-22113" y="172027"/>
                    <a:pt x="14833" y="211282"/>
                  </a:cubicBezTo>
                  <a:cubicBezTo>
                    <a:pt x="51779" y="250537"/>
                    <a:pt x="159151" y="245919"/>
                    <a:pt x="250360" y="252846"/>
                  </a:cubicBezTo>
                  <a:cubicBezTo>
                    <a:pt x="338105" y="254000"/>
                    <a:pt x="433933" y="254000"/>
                    <a:pt x="562087" y="252846"/>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49" name="Freeform: Shape 348"/>
            <p:cNvSpPr/>
            <p:nvPr/>
          </p:nvSpPr>
          <p:spPr bwMode="auto">
            <a:xfrm>
              <a:off x="2484091" y="3233973"/>
              <a:ext cx="140448" cy="203413"/>
            </a:xfrm>
            <a:custGeom>
              <a:avLst/>
              <a:gdLst>
                <a:gd name="connsiteX0" fmla="*/ 180109 w 423088"/>
                <a:gd name="connsiteY0" fmla="*/ 595745 h 595745"/>
                <a:gd name="connsiteX1" fmla="*/ 381000 w 423088"/>
                <a:gd name="connsiteY1" fmla="*/ 533400 h 595745"/>
                <a:gd name="connsiteX2" fmla="*/ 422563 w 423088"/>
                <a:gd name="connsiteY2" fmla="*/ 311727 h 595745"/>
                <a:gd name="connsiteX3" fmla="*/ 394854 w 423088"/>
                <a:gd name="connsiteY3" fmla="*/ 110836 h 595745"/>
                <a:gd name="connsiteX4" fmla="*/ 270163 w 423088"/>
                <a:gd name="connsiteY4" fmla="*/ 27709 h 595745"/>
                <a:gd name="connsiteX5" fmla="*/ 96981 w 423088"/>
                <a:gd name="connsiteY5" fmla="*/ 6927 h 595745"/>
                <a:gd name="connsiteX6" fmla="*/ 0 w 423088"/>
                <a:gd name="connsiteY6" fmla="*/ 0 h 595745"/>
                <a:gd name="connsiteX0" fmla="*/ 173182 w 416161"/>
                <a:gd name="connsiteY0" fmla="*/ 588878 h 588878"/>
                <a:gd name="connsiteX1" fmla="*/ 374073 w 416161"/>
                <a:gd name="connsiteY1" fmla="*/ 526533 h 588878"/>
                <a:gd name="connsiteX2" fmla="*/ 415636 w 416161"/>
                <a:gd name="connsiteY2" fmla="*/ 304860 h 588878"/>
                <a:gd name="connsiteX3" fmla="*/ 387927 w 416161"/>
                <a:gd name="connsiteY3" fmla="*/ 103969 h 588878"/>
                <a:gd name="connsiteX4" fmla="*/ 263236 w 416161"/>
                <a:gd name="connsiteY4" fmla="*/ 20842 h 588878"/>
                <a:gd name="connsiteX5" fmla="*/ 90054 w 416161"/>
                <a:gd name="connsiteY5" fmla="*/ 60 h 588878"/>
                <a:gd name="connsiteX6" fmla="*/ 0 w 416161"/>
                <a:gd name="connsiteY6" fmla="*/ 13915 h 588878"/>
                <a:gd name="connsiteX0" fmla="*/ 173182 w 416161"/>
                <a:gd name="connsiteY0" fmla="*/ 602732 h 602732"/>
                <a:gd name="connsiteX1" fmla="*/ 374073 w 416161"/>
                <a:gd name="connsiteY1" fmla="*/ 526533 h 602732"/>
                <a:gd name="connsiteX2" fmla="*/ 415636 w 416161"/>
                <a:gd name="connsiteY2" fmla="*/ 304860 h 602732"/>
                <a:gd name="connsiteX3" fmla="*/ 387927 w 416161"/>
                <a:gd name="connsiteY3" fmla="*/ 103969 h 602732"/>
                <a:gd name="connsiteX4" fmla="*/ 263236 w 416161"/>
                <a:gd name="connsiteY4" fmla="*/ 20842 h 602732"/>
                <a:gd name="connsiteX5" fmla="*/ 90054 w 416161"/>
                <a:gd name="connsiteY5" fmla="*/ 60 h 602732"/>
                <a:gd name="connsiteX6" fmla="*/ 0 w 416161"/>
                <a:gd name="connsiteY6" fmla="*/ 13915 h 60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161" h="602732">
                  <a:moveTo>
                    <a:pt x="173182" y="602732"/>
                  </a:moveTo>
                  <a:cubicBezTo>
                    <a:pt x="253423" y="595227"/>
                    <a:pt x="333664" y="576178"/>
                    <a:pt x="374073" y="526533"/>
                  </a:cubicBezTo>
                  <a:cubicBezTo>
                    <a:pt x="414482" y="476888"/>
                    <a:pt x="413327" y="375287"/>
                    <a:pt x="415636" y="304860"/>
                  </a:cubicBezTo>
                  <a:cubicBezTo>
                    <a:pt x="417945" y="234433"/>
                    <a:pt x="413327" y="151305"/>
                    <a:pt x="387927" y="103969"/>
                  </a:cubicBezTo>
                  <a:cubicBezTo>
                    <a:pt x="362527" y="56633"/>
                    <a:pt x="312881" y="38160"/>
                    <a:pt x="263236" y="20842"/>
                  </a:cubicBezTo>
                  <a:cubicBezTo>
                    <a:pt x="213591" y="3524"/>
                    <a:pt x="133927" y="1214"/>
                    <a:pt x="90054" y="60"/>
                  </a:cubicBezTo>
                  <a:cubicBezTo>
                    <a:pt x="46181" y="-1094"/>
                    <a:pt x="25977" y="15069"/>
                    <a:pt x="0" y="13915"/>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50" name="Freeform: Shape 349"/>
            <p:cNvSpPr/>
            <p:nvPr/>
          </p:nvSpPr>
          <p:spPr bwMode="auto">
            <a:xfrm>
              <a:off x="2612673" y="3414008"/>
              <a:ext cx="395098" cy="16365"/>
            </a:xfrm>
            <a:custGeom>
              <a:avLst/>
              <a:gdLst>
                <a:gd name="connsiteX0" fmla="*/ 0 w 1170709"/>
                <a:gd name="connsiteY0" fmla="*/ 0 h 48491"/>
                <a:gd name="connsiteX1" fmla="*/ 124691 w 1170709"/>
                <a:gd name="connsiteY1" fmla="*/ 34636 h 48491"/>
                <a:gd name="connsiteX2" fmla="*/ 720436 w 1170709"/>
                <a:gd name="connsiteY2" fmla="*/ 48491 h 48491"/>
                <a:gd name="connsiteX3" fmla="*/ 1170709 w 1170709"/>
                <a:gd name="connsiteY3" fmla="*/ 41564 h 48491"/>
              </a:gdLst>
              <a:ahLst/>
              <a:cxnLst>
                <a:cxn ang="0">
                  <a:pos x="connsiteX0" y="connsiteY0"/>
                </a:cxn>
                <a:cxn ang="0">
                  <a:pos x="connsiteX1" y="connsiteY1"/>
                </a:cxn>
                <a:cxn ang="0">
                  <a:pos x="connsiteX2" y="connsiteY2"/>
                </a:cxn>
                <a:cxn ang="0">
                  <a:pos x="connsiteX3" y="connsiteY3"/>
                </a:cxn>
              </a:cxnLst>
              <a:rect l="l" t="t" r="r" b="b"/>
              <a:pathLst>
                <a:path w="1170709" h="48491">
                  <a:moveTo>
                    <a:pt x="0" y="0"/>
                  </a:moveTo>
                  <a:cubicBezTo>
                    <a:pt x="2309" y="13277"/>
                    <a:pt x="4618" y="26554"/>
                    <a:pt x="124691" y="34636"/>
                  </a:cubicBezTo>
                  <a:cubicBezTo>
                    <a:pt x="244764" y="42718"/>
                    <a:pt x="720436" y="48491"/>
                    <a:pt x="720436" y="48491"/>
                  </a:cubicBezTo>
                  <a:lnTo>
                    <a:pt x="1170709" y="41564"/>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51" name="Freeform: Shape 350"/>
            <p:cNvSpPr/>
            <p:nvPr/>
          </p:nvSpPr>
          <p:spPr bwMode="auto">
            <a:xfrm>
              <a:off x="2839444" y="2682193"/>
              <a:ext cx="175396" cy="214346"/>
            </a:xfrm>
            <a:custGeom>
              <a:avLst/>
              <a:gdLst>
                <a:gd name="connsiteX0" fmla="*/ 0 w 575417"/>
                <a:gd name="connsiteY0" fmla="*/ 590177 h 642563"/>
                <a:gd name="connsiteX1" fmla="*/ 76200 w 575417"/>
                <a:gd name="connsiteY1" fmla="*/ 638667 h 642563"/>
                <a:gd name="connsiteX2" fmla="*/ 214746 w 575417"/>
                <a:gd name="connsiteY2" fmla="*/ 631740 h 642563"/>
                <a:gd name="connsiteX3" fmla="*/ 387928 w 575417"/>
                <a:gd name="connsiteY3" fmla="*/ 569395 h 642563"/>
                <a:gd name="connsiteX4" fmla="*/ 540328 w 575417"/>
                <a:gd name="connsiteY4" fmla="*/ 403140 h 642563"/>
                <a:gd name="connsiteX5" fmla="*/ 574964 w 575417"/>
                <a:gd name="connsiteY5" fmla="*/ 202249 h 642563"/>
                <a:gd name="connsiteX6" fmla="*/ 526473 w 575417"/>
                <a:gd name="connsiteY6" fmla="*/ 42922 h 642563"/>
                <a:gd name="connsiteX7" fmla="*/ 367146 w 575417"/>
                <a:gd name="connsiteY7" fmla="*/ 8286 h 642563"/>
                <a:gd name="connsiteX8" fmla="*/ 242455 w 575417"/>
                <a:gd name="connsiteY8" fmla="*/ 1358 h 642563"/>
                <a:gd name="connsiteX9" fmla="*/ 152400 w 575417"/>
                <a:gd name="connsiteY9" fmla="*/ 29067 h 642563"/>
                <a:gd name="connsiteX0" fmla="*/ 0 w 595904"/>
                <a:gd name="connsiteY0" fmla="*/ 590177 h 642563"/>
                <a:gd name="connsiteX1" fmla="*/ 76200 w 595904"/>
                <a:gd name="connsiteY1" fmla="*/ 638667 h 642563"/>
                <a:gd name="connsiteX2" fmla="*/ 214746 w 595904"/>
                <a:gd name="connsiteY2" fmla="*/ 631740 h 642563"/>
                <a:gd name="connsiteX3" fmla="*/ 387928 w 595904"/>
                <a:gd name="connsiteY3" fmla="*/ 569395 h 642563"/>
                <a:gd name="connsiteX4" fmla="*/ 540328 w 595904"/>
                <a:gd name="connsiteY4" fmla="*/ 403140 h 642563"/>
                <a:gd name="connsiteX5" fmla="*/ 595746 w 595904"/>
                <a:gd name="connsiteY5" fmla="*/ 202249 h 642563"/>
                <a:gd name="connsiteX6" fmla="*/ 526473 w 595904"/>
                <a:gd name="connsiteY6" fmla="*/ 42922 h 642563"/>
                <a:gd name="connsiteX7" fmla="*/ 367146 w 595904"/>
                <a:gd name="connsiteY7" fmla="*/ 8286 h 642563"/>
                <a:gd name="connsiteX8" fmla="*/ 242455 w 595904"/>
                <a:gd name="connsiteY8" fmla="*/ 1358 h 642563"/>
                <a:gd name="connsiteX9" fmla="*/ 152400 w 595904"/>
                <a:gd name="connsiteY9" fmla="*/ 29067 h 642563"/>
                <a:gd name="connsiteX0" fmla="*/ 0 w 595912"/>
                <a:gd name="connsiteY0" fmla="*/ 590177 h 643217"/>
                <a:gd name="connsiteX1" fmla="*/ 76200 w 595912"/>
                <a:gd name="connsiteY1" fmla="*/ 638667 h 643217"/>
                <a:gd name="connsiteX2" fmla="*/ 214746 w 595912"/>
                <a:gd name="connsiteY2" fmla="*/ 631740 h 643217"/>
                <a:gd name="connsiteX3" fmla="*/ 381001 w 595912"/>
                <a:gd name="connsiteY3" fmla="*/ 555541 h 643217"/>
                <a:gd name="connsiteX4" fmla="*/ 540328 w 595912"/>
                <a:gd name="connsiteY4" fmla="*/ 403140 h 643217"/>
                <a:gd name="connsiteX5" fmla="*/ 595746 w 595912"/>
                <a:gd name="connsiteY5" fmla="*/ 202249 h 643217"/>
                <a:gd name="connsiteX6" fmla="*/ 526473 w 595912"/>
                <a:gd name="connsiteY6" fmla="*/ 42922 h 643217"/>
                <a:gd name="connsiteX7" fmla="*/ 367146 w 595912"/>
                <a:gd name="connsiteY7" fmla="*/ 8286 h 643217"/>
                <a:gd name="connsiteX8" fmla="*/ 242455 w 595912"/>
                <a:gd name="connsiteY8" fmla="*/ 1358 h 643217"/>
                <a:gd name="connsiteX9" fmla="*/ 152400 w 595912"/>
                <a:gd name="connsiteY9" fmla="*/ 29067 h 643217"/>
                <a:gd name="connsiteX0" fmla="*/ 0 w 595912"/>
                <a:gd name="connsiteY0" fmla="*/ 582088 h 635128"/>
                <a:gd name="connsiteX1" fmla="*/ 76200 w 595912"/>
                <a:gd name="connsiteY1" fmla="*/ 630578 h 635128"/>
                <a:gd name="connsiteX2" fmla="*/ 214746 w 595912"/>
                <a:gd name="connsiteY2" fmla="*/ 623651 h 635128"/>
                <a:gd name="connsiteX3" fmla="*/ 381001 w 595912"/>
                <a:gd name="connsiteY3" fmla="*/ 547452 h 635128"/>
                <a:gd name="connsiteX4" fmla="*/ 540328 w 595912"/>
                <a:gd name="connsiteY4" fmla="*/ 395051 h 635128"/>
                <a:gd name="connsiteX5" fmla="*/ 595746 w 595912"/>
                <a:gd name="connsiteY5" fmla="*/ 194160 h 635128"/>
                <a:gd name="connsiteX6" fmla="*/ 526473 w 595912"/>
                <a:gd name="connsiteY6" fmla="*/ 34833 h 635128"/>
                <a:gd name="connsiteX7" fmla="*/ 367146 w 595912"/>
                <a:gd name="connsiteY7" fmla="*/ 197 h 635128"/>
                <a:gd name="connsiteX8" fmla="*/ 152400 w 595912"/>
                <a:gd name="connsiteY8" fmla="*/ 20978 h 635128"/>
                <a:gd name="connsiteX0" fmla="*/ 2 w 519714"/>
                <a:gd name="connsiteY0" fmla="*/ 630578 h 635128"/>
                <a:gd name="connsiteX1" fmla="*/ 138548 w 519714"/>
                <a:gd name="connsiteY1" fmla="*/ 623651 h 635128"/>
                <a:gd name="connsiteX2" fmla="*/ 304803 w 519714"/>
                <a:gd name="connsiteY2" fmla="*/ 547452 h 635128"/>
                <a:gd name="connsiteX3" fmla="*/ 464130 w 519714"/>
                <a:gd name="connsiteY3" fmla="*/ 395051 h 635128"/>
                <a:gd name="connsiteX4" fmla="*/ 519548 w 519714"/>
                <a:gd name="connsiteY4" fmla="*/ 194160 h 635128"/>
                <a:gd name="connsiteX5" fmla="*/ 450275 w 519714"/>
                <a:gd name="connsiteY5" fmla="*/ 34833 h 635128"/>
                <a:gd name="connsiteX6" fmla="*/ 290948 w 519714"/>
                <a:gd name="connsiteY6" fmla="*/ 197 h 635128"/>
                <a:gd name="connsiteX7" fmla="*/ 76202 w 519714"/>
                <a:gd name="connsiteY7" fmla="*/ 20978 h 635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714" h="635128">
                  <a:moveTo>
                    <a:pt x="2" y="630578"/>
                  </a:moveTo>
                  <a:cubicBezTo>
                    <a:pt x="35793" y="637505"/>
                    <a:pt x="87748" y="637505"/>
                    <a:pt x="138548" y="623651"/>
                  </a:cubicBezTo>
                  <a:cubicBezTo>
                    <a:pt x="189348" y="609797"/>
                    <a:pt x="250539" y="585552"/>
                    <a:pt x="304803" y="547452"/>
                  </a:cubicBezTo>
                  <a:cubicBezTo>
                    <a:pt x="359067" y="509352"/>
                    <a:pt x="428339" y="453933"/>
                    <a:pt x="464130" y="395051"/>
                  </a:cubicBezTo>
                  <a:cubicBezTo>
                    <a:pt x="499921" y="336169"/>
                    <a:pt x="521857" y="254196"/>
                    <a:pt x="519548" y="194160"/>
                  </a:cubicBezTo>
                  <a:cubicBezTo>
                    <a:pt x="517239" y="134124"/>
                    <a:pt x="488375" y="67160"/>
                    <a:pt x="450275" y="34833"/>
                  </a:cubicBezTo>
                  <a:cubicBezTo>
                    <a:pt x="412175" y="2506"/>
                    <a:pt x="353293" y="2506"/>
                    <a:pt x="290948" y="197"/>
                  </a:cubicBezTo>
                  <a:cubicBezTo>
                    <a:pt x="228603" y="-2112"/>
                    <a:pt x="120941" y="16649"/>
                    <a:pt x="76202" y="2097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52" name="Freeform: Shape 351"/>
            <p:cNvSpPr/>
            <p:nvPr/>
          </p:nvSpPr>
          <p:spPr bwMode="auto">
            <a:xfrm>
              <a:off x="2622973" y="2674633"/>
              <a:ext cx="249201" cy="250776"/>
            </a:xfrm>
            <a:custGeom>
              <a:avLst/>
              <a:gdLst>
                <a:gd name="connsiteX0" fmla="*/ 186170 w 727232"/>
                <a:gd name="connsiteY0" fmla="*/ 638603 h 742549"/>
                <a:gd name="connsiteX1" fmla="*/ 303934 w 727232"/>
                <a:gd name="connsiteY1" fmla="*/ 700948 h 742549"/>
                <a:gd name="connsiteX2" fmla="*/ 373206 w 727232"/>
                <a:gd name="connsiteY2" fmla="*/ 742512 h 742549"/>
                <a:gd name="connsiteX3" fmla="*/ 518679 w 727232"/>
                <a:gd name="connsiteY3" fmla="*/ 694021 h 742549"/>
                <a:gd name="connsiteX4" fmla="*/ 622588 w 727232"/>
                <a:gd name="connsiteY4" fmla="*/ 410003 h 742549"/>
                <a:gd name="connsiteX5" fmla="*/ 726497 w 727232"/>
                <a:gd name="connsiteY5" fmla="*/ 105203 h 742549"/>
                <a:gd name="connsiteX6" fmla="*/ 650297 w 727232"/>
                <a:gd name="connsiteY6" fmla="*/ 1294 h 742549"/>
                <a:gd name="connsiteX7" fmla="*/ 338570 w 727232"/>
                <a:gd name="connsiteY7" fmla="*/ 49785 h 742549"/>
                <a:gd name="connsiteX8" fmla="*/ 165388 w 727232"/>
                <a:gd name="connsiteY8" fmla="*/ 91348 h 742549"/>
                <a:gd name="connsiteX9" fmla="*/ 54552 w 727232"/>
                <a:gd name="connsiteY9" fmla="*/ 250676 h 742549"/>
                <a:gd name="connsiteX10" fmla="*/ 6061 w 727232"/>
                <a:gd name="connsiteY10" fmla="*/ 534694 h 742549"/>
                <a:gd name="connsiteX11" fmla="*/ 6061 w 727232"/>
                <a:gd name="connsiteY11" fmla="*/ 645530 h 742549"/>
                <a:gd name="connsiteX12" fmla="*/ 54552 w 727232"/>
                <a:gd name="connsiteY12" fmla="*/ 666312 h 742549"/>
                <a:gd name="connsiteX13" fmla="*/ 186170 w 727232"/>
                <a:gd name="connsiteY13" fmla="*/ 638603 h 742549"/>
                <a:gd name="connsiteX0" fmla="*/ 186170 w 726497"/>
                <a:gd name="connsiteY0" fmla="*/ 638603 h 742549"/>
                <a:gd name="connsiteX1" fmla="*/ 303934 w 726497"/>
                <a:gd name="connsiteY1" fmla="*/ 700948 h 742549"/>
                <a:gd name="connsiteX2" fmla="*/ 373206 w 726497"/>
                <a:gd name="connsiteY2" fmla="*/ 742512 h 742549"/>
                <a:gd name="connsiteX3" fmla="*/ 518679 w 726497"/>
                <a:gd name="connsiteY3" fmla="*/ 694021 h 742549"/>
                <a:gd name="connsiteX4" fmla="*/ 650297 w 726497"/>
                <a:gd name="connsiteY4" fmla="*/ 410003 h 742549"/>
                <a:gd name="connsiteX5" fmla="*/ 726497 w 726497"/>
                <a:gd name="connsiteY5" fmla="*/ 105203 h 742549"/>
                <a:gd name="connsiteX6" fmla="*/ 650297 w 726497"/>
                <a:gd name="connsiteY6" fmla="*/ 1294 h 742549"/>
                <a:gd name="connsiteX7" fmla="*/ 338570 w 726497"/>
                <a:gd name="connsiteY7" fmla="*/ 49785 h 742549"/>
                <a:gd name="connsiteX8" fmla="*/ 165388 w 726497"/>
                <a:gd name="connsiteY8" fmla="*/ 91348 h 742549"/>
                <a:gd name="connsiteX9" fmla="*/ 54552 w 726497"/>
                <a:gd name="connsiteY9" fmla="*/ 250676 h 742549"/>
                <a:gd name="connsiteX10" fmla="*/ 6061 w 726497"/>
                <a:gd name="connsiteY10" fmla="*/ 534694 h 742549"/>
                <a:gd name="connsiteX11" fmla="*/ 6061 w 726497"/>
                <a:gd name="connsiteY11" fmla="*/ 645530 h 742549"/>
                <a:gd name="connsiteX12" fmla="*/ 54552 w 726497"/>
                <a:gd name="connsiteY12" fmla="*/ 666312 h 742549"/>
                <a:gd name="connsiteX13" fmla="*/ 186170 w 726497"/>
                <a:gd name="connsiteY13" fmla="*/ 638603 h 742549"/>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86170 w 726497"/>
                <a:gd name="connsiteY0" fmla="*/ 639124 h 743070"/>
                <a:gd name="connsiteX1" fmla="*/ 303934 w 726497"/>
                <a:gd name="connsiteY1" fmla="*/ 701469 h 743070"/>
                <a:gd name="connsiteX2" fmla="*/ 373206 w 726497"/>
                <a:gd name="connsiteY2" fmla="*/ 743033 h 743070"/>
                <a:gd name="connsiteX3" fmla="*/ 518679 w 726497"/>
                <a:gd name="connsiteY3" fmla="*/ 694542 h 743070"/>
                <a:gd name="connsiteX4" fmla="*/ 650297 w 726497"/>
                <a:gd name="connsiteY4" fmla="*/ 410524 h 743070"/>
                <a:gd name="connsiteX5" fmla="*/ 726497 w 726497"/>
                <a:gd name="connsiteY5" fmla="*/ 105724 h 743070"/>
                <a:gd name="connsiteX6" fmla="*/ 650297 w 726497"/>
                <a:gd name="connsiteY6" fmla="*/ 1815 h 743070"/>
                <a:gd name="connsiteX7" fmla="*/ 338570 w 726497"/>
                <a:gd name="connsiteY7" fmla="*/ 43379 h 743070"/>
                <a:gd name="connsiteX8" fmla="*/ 165388 w 726497"/>
                <a:gd name="connsiteY8" fmla="*/ 91869 h 743070"/>
                <a:gd name="connsiteX9" fmla="*/ 54552 w 726497"/>
                <a:gd name="connsiteY9" fmla="*/ 251197 h 743070"/>
                <a:gd name="connsiteX10" fmla="*/ 6061 w 726497"/>
                <a:gd name="connsiteY10" fmla="*/ 535215 h 743070"/>
                <a:gd name="connsiteX11" fmla="*/ 6061 w 726497"/>
                <a:gd name="connsiteY11" fmla="*/ 646051 h 743070"/>
                <a:gd name="connsiteX12" fmla="*/ 54552 w 726497"/>
                <a:gd name="connsiteY12" fmla="*/ 666833 h 743070"/>
                <a:gd name="connsiteX13" fmla="*/ 186170 w 726497"/>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64791 w 736736"/>
                <a:gd name="connsiteY12" fmla="*/ 666833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92500 w 736736"/>
                <a:gd name="connsiteY12" fmla="*/ 659906 h 743070"/>
                <a:gd name="connsiteX13" fmla="*/ 196409 w 736736"/>
                <a:gd name="connsiteY13" fmla="*/ 639124 h 743070"/>
                <a:gd name="connsiteX0" fmla="*/ 196409 w 736736"/>
                <a:gd name="connsiteY0" fmla="*/ 639124 h 743070"/>
                <a:gd name="connsiteX1" fmla="*/ 314173 w 736736"/>
                <a:gd name="connsiteY1" fmla="*/ 701469 h 743070"/>
                <a:gd name="connsiteX2" fmla="*/ 383445 w 736736"/>
                <a:gd name="connsiteY2" fmla="*/ 743033 h 743070"/>
                <a:gd name="connsiteX3" fmla="*/ 528918 w 736736"/>
                <a:gd name="connsiteY3" fmla="*/ 694542 h 743070"/>
                <a:gd name="connsiteX4" fmla="*/ 660536 w 736736"/>
                <a:gd name="connsiteY4" fmla="*/ 410524 h 743070"/>
                <a:gd name="connsiteX5" fmla="*/ 736736 w 736736"/>
                <a:gd name="connsiteY5" fmla="*/ 105724 h 743070"/>
                <a:gd name="connsiteX6" fmla="*/ 660536 w 736736"/>
                <a:gd name="connsiteY6" fmla="*/ 1815 h 743070"/>
                <a:gd name="connsiteX7" fmla="*/ 348809 w 736736"/>
                <a:gd name="connsiteY7" fmla="*/ 43379 h 743070"/>
                <a:gd name="connsiteX8" fmla="*/ 175627 w 736736"/>
                <a:gd name="connsiteY8" fmla="*/ 91869 h 743070"/>
                <a:gd name="connsiteX9" fmla="*/ 64791 w 736736"/>
                <a:gd name="connsiteY9" fmla="*/ 251197 h 743070"/>
                <a:gd name="connsiteX10" fmla="*/ 2446 w 736736"/>
                <a:gd name="connsiteY10" fmla="*/ 514433 h 743070"/>
                <a:gd name="connsiteX11" fmla="*/ 16300 w 736736"/>
                <a:gd name="connsiteY11" fmla="*/ 646051 h 743070"/>
                <a:gd name="connsiteX12" fmla="*/ 196409 w 736736"/>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 name="connsiteX0" fmla="*/ 198078 w 738405"/>
                <a:gd name="connsiteY0" fmla="*/ 639124 h 743070"/>
                <a:gd name="connsiteX1" fmla="*/ 315842 w 738405"/>
                <a:gd name="connsiteY1" fmla="*/ 701469 h 743070"/>
                <a:gd name="connsiteX2" fmla="*/ 385114 w 738405"/>
                <a:gd name="connsiteY2" fmla="*/ 743033 h 743070"/>
                <a:gd name="connsiteX3" fmla="*/ 530587 w 738405"/>
                <a:gd name="connsiteY3" fmla="*/ 694542 h 743070"/>
                <a:gd name="connsiteX4" fmla="*/ 662205 w 738405"/>
                <a:gd name="connsiteY4" fmla="*/ 410524 h 743070"/>
                <a:gd name="connsiteX5" fmla="*/ 738405 w 738405"/>
                <a:gd name="connsiteY5" fmla="*/ 105724 h 743070"/>
                <a:gd name="connsiteX6" fmla="*/ 662205 w 738405"/>
                <a:gd name="connsiteY6" fmla="*/ 1815 h 743070"/>
                <a:gd name="connsiteX7" fmla="*/ 350478 w 738405"/>
                <a:gd name="connsiteY7" fmla="*/ 43379 h 743070"/>
                <a:gd name="connsiteX8" fmla="*/ 177296 w 738405"/>
                <a:gd name="connsiteY8" fmla="*/ 91869 h 743070"/>
                <a:gd name="connsiteX9" fmla="*/ 66460 w 738405"/>
                <a:gd name="connsiteY9" fmla="*/ 251197 h 743070"/>
                <a:gd name="connsiteX10" fmla="*/ 4115 w 738405"/>
                <a:gd name="connsiteY10" fmla="*/ 514433 h 743070"/>
                <a:gd name="connsiteX11" fmla="*/ 11041 w 738405"/>
                <a:gd name="connsiteY11" fmla="*/ 639123 h 743070"/>
                <a:gd name="connsiteX12" fmla="*/ 198078 w 738405"/>
                <a:gd name="connsiteY12" fmla="*/ 639124 h 74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405" h="743070">
                  <a:moveTo>
                    <a:pt x="198078" y="639124"/>
                  </a:moveTo>
                  <a:cubicBezTo>
                    <a:pt x="248878" y="649515"/>
                    <a:pt x="284669" y="684151"/>
                    <a:pt x="315842" y="701469"/>
                  </a:cubicBezTo>
                  <a:cubicBezTo>
                    <a:pt x="347015" y="718787"/>
                    <a:pt x="349323" y="744187"/>
                    <a:pt x="385114" y="743033"/>
                  </a:cubicBezTo>
                  <a:cubicBezTo>
                    <a:pt x="420905" y="741879"/>
                    <a:pt x="484405" y="749960"/>
                    <a:pt x="530587" y="694542"/>
                  </a:cubicBezTo>
                  <a:cubicBezTo>
                    <a:pt x="576769" y="639124"/>
                    <a:pt x="627569" y="508660"/>
                    <a:pt x="662205" y="410524"/>
                  </a:cubicBezTo>
                  <a:cubicBezTo>
                    <a:pt x="696841" y="312388"/>
                    <a:pt x="738405" y="173842"/>
                    <a:pt x="738405" y="105724"/>
                  </a:cubicBezTo>
                  <a:cubicBezTo>
                    <a:pt x="738405" y="37606"/>
                    <a:pt x="726860" y="12206"/>
                    <a:pt x="662205" y="1815"/>
                  </a:cubicBezTo>
                  <a:cubicBezTo>
                    <a:pt x="597550" y="-8576"/>
                    <a:pt x="431296" y="28370"/>
                    <a:pt x="350478" y="43379"/>
                  </a:cubicBezTo>
                  <a:cubicBezTo>
                    <a:pt x="269660" y="58388"/>
                    <a:pt x="224632" y="57233"/>
                    <a:pt x="177296" y="91869"/>
                  </a:cubicBezTo>
                  <a:cubicBezTo>
                    <a:pt x="129960" y="126505"/>
                    <a:pt x="95323" y="180770"/>
                    <a:pt x="66460" y="251197"/>
                  </a:cubicBezTo>
                  <a:cubicBezTo>
                    <a:pt x="37597" y="321624"/>
                    <a:pt x="13352" y="449779"/>
                    <a:pt x="4115" y="514433"/>
                  </a:cubicBezTo>
                  <a:cubicBezTo>
                    <a:pt x="-5122" y="579087"/>
                    <a:pt x="2959" y="617187"/>
                    <a:pt x="11041" y="639123"/>
                  </a:cubicBezTo>
                  <a:cubicBezTo>
                    <a:pt x="43368" y="659905"/>
                    <a:pt x="147278" y="628733"/>
                    <a:pt x="198078" y="639124"/>
                  </a:cubicBezTo>
                  <a:close/>
                </a:path>
              </a:pathLst>
            </a:custGeom>
            <a:noFill/>
            <a:ln w="9525" cap="rnd"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algn="ctr" defTabSz="524516" fontAlgn="base">
                <a:lnSpc>
                  <a:spcPct val="90000"/>
                </a:lnSpc>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353" name="Freeform: Shape 352"/>
            <p:cNvSpPr/>
            <p:nvPr/>
          </p:nvSpPr>
          <p:spPr bwMode="auto">
            <a:xfrm>
              <a:off x="2689151" y="2705638"/>
              <a:ext cx="183024" cy="194042"/>
            </a:xfrm>
            <a:custGeom>
              <a:avLst/>
              <a:gdLst>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34637 h 574964"/>
                <a:gd name="connsiteX6" fmla="*/ 542316 w 542316"/>
                <a:gd name="connsiteY6" fmla="*/ 0 h 574964"/>
                <a:gd name="connsiteX0" fmla="*/ 279080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 name="connsiteX0" fmla="*/ 292935 w 542316"/>
                <a:gd name="connsiteY0" fmla="*/ 574964 h 574964"/>
                <a:gd name="connsiteX1" fmla="*/ 71262 w 542316"/>
                <a:gd name="connsiteY1" fmla="*/ 540328 h 574964"/>
                <a:gd name="connsiteX2" fmla="*/ 1989 w 542316"/>
                <a:gd name="connsiteY2" fmla="*/ 554182 h 574964"/>
                <a:gd name="connsiteX3" fmla="*/ 22771 w 542316"/>
                <a:gd name="connsiteY3" fmla="*/ 284019 h 574964"/>
                <a:gd name="connsiteX4" fmla="*/ 64334 w 542316"/>
                <a:gd name="connsiteY4" fmla="*/ 96982 h 574964"/>
                <a:gd name="connsiteX5" fmla="*/ 313716 w 542316"/>
                <a:gd name="connsiteY5" fmla="*/ 20783 h 574964"/>
                <a:gd name="connsiteX6" fmla="*/ 542316 w 542316"/>
                <a:gd name="connsiteY6" fmla="*/ 0 h 57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316" h="574964">
                  <a:moveTo>
                    <a:pt x="292935" y="574964"/>
                  </a:moveTo>
                  <a:cubicBezTo>
                    <a:pt x="212117" y="559378"/>
                    <a:pt x="119753" y="543792"/>
                    <a:pt x="71262" y="540328"/>
                  </a:cubicBezTo>
                  <a:cubicBezTo>
                    <a:pt x="22771" y="536864"/>
                    <a:pt x="10071" y="596900"/>
                    <a:pt x="1989" y="554182"/>
                  </a:cubicBezTo>
                  <a:cubicBezTo>
                    <a:pt x="-6093" y="511464"/>
                    <a:pt x="12380" y="360219"/>
                    <a:pt x="22771" y="284019"/>
                  </a:cubicBezTo>
                  <a:cubicBezTo>
                    <a:pt x="33162" y="207819"/>
                    <a:pt x="15843" y="140854"/>
                    <a:pt x="64334" y="96982"/>
                  </a:cubicBezTo>
                  <a:cubicBezTo>
                    <a:pt x="112825" y="53110"/>
                    <a:pt x="234052" y="36947"/>
                    <a:pt x="313716" y="20783"/>
                  </a:cubicBezTo>
                  <a:cubicBezTo>
                    <a:pt x="393380" y="4619"/>
                    <a:pt x="467848" y="9236"/>
                    <a:pt x="542316"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54" name="Freeform: Shape 353"/>
            <p:cNvSpPr/>
            <p:nvPr/>
          </p:nvSpPr>
          <p:spPr bwMode="auto">
            <a:xfrm>
              <a:off x="2418630" y="3023586"/>
              <a:ext cx="579789" cy="18703"/>
            </a:xfrm>
            <a:custGeom>
              <a:avLst/>
              <a:gdLst>
                <a:gd name="connsiteX0" fmla="*/ 0 w 1717964"/>
                <a:gd name="connsiteY0" fmla="*/ 0 h 55419"/>
                <a:gd name="connsiteX1" fmla="*/ 1717964 w 1717964"/>
                <a:gd name="connsiteY1" fmla="*/ 55419 h 55419"/>
              </a:gdLst>
              <a:ahLst/>
              <a:cxnLst>
                <a:cxn ang="0">
                  <a:pos x="connsiteX0" y="connsiteY0"/>
                </a:cxn>
                <a:cxn ang="0">
                  <a:pos x="connsiteX1" y="connsiteY1"/>
                </a:cxn>
              </a:cxnLst>
              <a:rect l="l" t="t" r="r" b="b"/>
              <a:pathLst>
                <a:path w="1717964" h="55419">
                  <a:moveTo>
                    <a:pt x="0" y="0"/>
                  </a:moveTo>
                  <a:lnTo>
                    <a:pt x="1717964" y="55419"/>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55" name="Freeform: Shape 354"/>
            <p:cNvSpPr/>
            <p:nvPr/>
          </p:nvSpPr>
          <p:spPr bwMode="auto">
            <a:xfrm>
              <a:off x="2486428" y="2668232"/>
              <a:ext cx="96525" cy="294591"/>
            </a:xfrm>
            <a:custGeom>
              <a:avLst/>
              <a:gdLst>
                <a:gd name="connsiteX0" fmla="*/ 0 w 286013"/>
                <a:gd name="connsiteY0" fmla="*/ 755073 h 872900"/>
                <a:gd name="connsiteX1" fmla="*/ 131618 w 286013"/>
                <a:gd name="connsiteY1" fmla="*/ 872836 h 872900"/>
                <a:gd name="connsiteX2" fmla="*/ 235527 w 286013"/>
                <a:gd name="connsiteY2" fmla="*/ 741218 h 872900"/>
                <a:gd name="connsiteX3" fmla="*/ 270164 w 286013"/>
                <a:gd name="connsiteY3" fmla="*/ 277091 h 872900"/>
                <a:gd name="connsiteX4" fmla="*/ 284018 w 286013"/>
                <a:gd name="connsiteY4" fmla="*/ 117764 h 872900"/>
                <a:gd name="connsiteX5" fmla="*/ 228600 w 286013"/>
                <a:gd name="connsiteY5" fmla="*/ 41564 h 872900"/>
                <a:gd name="connsiteX6" fmla="*/ 166255 w 286013"/>
                <a:gd name="connsiteY6" fmla="*/ 0 h 87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013" h="872900">
                  <a:moveTo>
                    <a:pt x="0" y="755073"/>
                  </a:moveTo>
                  <a:cubicBezTo>
                    <a:pt x="46181" y="815109"/>
                    <a:pt x="92363" y="875145"/>
                    <a:pt x="131618" y="872836"/>
                  </a:cubicBezTo>
                  <a:cubicBezTo>
                    <a:pt x="170873" y="870527"/>
                    <a:pt x="212436" y="840509"/>
                    <a:pt x="235527" y="741218"/>
                  </a:cubicBezTo>
                  <a:cubicBezTo>
                    <a:pt x="258618" y="641927"/>
                    <a:pt x="262082" y="381000"/>
                    <a:pt x="270164" y="277091"/>
                  </a:cubicBezTo>
                  <a:cubicBezTo>
                    <a:pt x="278246" y="173182"/>
                    <a:pt x="290945" y="157018"/>
                    <a:pt x="284018" y="117764"/>
                  </a:cubicBezTo>
                  <a:cubicBezTo>
                    <a:pt x="277091" y="78510"/>
                    <a:pt x="248227" y="61191"/>
                    <a:pt x="228600" y="41564"/>
                  </a:cubicBezTo>
                  <a:cubicBezTo>
                    <a:pt x="208973" y="21937"/>
                    <a:pt x="187614" y="10968"/>
                    <a:pt x="166255" y="0"/>
                  </a:cubicBezTo>
                </a:path>
              </a:pathLst>
            </a:custGeom>
            <a:noFill/>
            <a:ln w="19050"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56" name="Freeform: Shape 355"/>
            <p:cNvSpPr/>
            <p:nvPr/>
          </p:nvSpPr>
          <p:spPr bwMode="auto">
            <a:xfrm>
              <a:off x="2542537" y="3241007"/>
              <a:ext cx="39743" cy="184690"/>
            </a:xfrm>
            <a:custGeom>
              <a:avLst/>
              <a:gdLst>
                <a:gd name="connsiteX0" fmla="*/ 0 w 117763"/>
                <a:gd name="connsiteY0" fmla="*/ 0 h 547254"/>
                <a:gd name="connsiteX1" fmla="*/ 117763 w 117763"/>
                <a:gd name="connsiteY1" fmla="*/ 547254 h 547254"/>
              </a:gdLst>
              <a:ahLst/>
              <a:cxnLst>
                <a:cxn ang="0">
                  <a:pos x="connsiteX0" y="connsiteY0"/>
                </a:cxn>
                <a:cxn ang="0">
                  <a:pos x="connsiteX1" y="connsiteY1"/>
                </a:cxn>
              </a:cxnLst>
              <a:rect l="l" t="t" r="r" b="b"/>
              <a:pathLst>
                <a:path w="117763" h="547254">
                  <a:moveTo>
                    <a:pt x="0" y="0"/>
                  </a:moveTo>
                  <a:lnTo>
                    <a:pt x="117763" y="547254"/>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57" name="Freeform: Shape 356"/>
            <p:cNvSpPr/>
            <p:nvPr/>
          </p:nvSpPr>
          <p:spPr bwMode="auto">
            <a:xfrm>
              <a:off x="4412823" y="2324567"/>
              <a:ext cx="944494" cy="34502"/>
            </a:xfrm>
            <a:custGeom>
              <a:avLst/>
              <a:gdLst>
                <a:gd name="connsiteX0" fmla="*/ 0 w 2798618"/>
                <a:gd name="connsiteY0" fmla="*/ 0 h 102233"/>
                <a:gd name="connsiteX1" fmla="*/ 491836 w 2798618"/>
                <a:gd name="connsiteY1" fmla="*/ 96982 h 102233"/>
                <a:gd name="connsiteX2" fmla="*/ 1260764 w 2798618"/>
                <a:gd name="connsiteY2" fmla="*/ 90054 h 102233"/>
                <a:gd name="connsiteX3" fmla="*/ 2410691 w 2798618"/>
                <a:gd name="connsiteY3" fmla="*/ 62345 h 102233"/>
                <a:gd name="connsiteX4" fmla="*/ 2798618 w 2798618"/>
                <a:gd name="connsiteY4" fmla="*/ 41564 h 102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618" h="102233">
                  <a:moveTo>
                    <a:pt x="0" y="0"/>
                  </a:moveTo>
                  <a:cubicBezTo>
                    <a:pt x="140854" y="40986"/>
                    <a:pt x="281709" y="81973"/>
                    <a:pt x="491836" y="96982"/>
                  </a:cubicBezTo>
                  <a:cubicBezTo>
                    <a:pt x="701963" y="111991"/>
                    <a:pt x="1260764" y="90054"/>
                    <a:pt x="1260764" y="90054"/>
                  </a:cubicBezTo>
                  <a:lnTo>
                    <a:pt x="2410691" y="62345"/>
                  </a:lnTo>
                  <a:cubicBezTo>
                    <a:pt x="2667000" y="54263"/>
                    <a:pt x="2732809" y="47913"/>
                    <a:pt x="2798618" y="41564"/>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58" name="Freeform: Shape 357"/>
            <p:cNvSpPr/>
            <p:nvPr/>
          </p:nvSpPr>
          <p:spPr bwMode="auto">
            <a:xfrm>
              <a:off x="5287181" y="2287162"/>
              <a:ext cx="757466" cy="28054"/>
            </a:xfrm>
            <a:custGeom>
              <a:avLst/>
              <a:gdLst>
                <a:gd name="connsiteX0" fmla="*/ 0 w 2244436"/>
                <a:gd name="connsiteY0" fmla="*/ 83127 h 83127"/>
                <a:gd name="connsiteX1" fmla="*/ 2244436 w 2244436"/>
                <a:gd name="connsiteY1" fmla="*/ 0 h 83127"/>
              </a:gdLst>
              <a:ahLst/>
              <a:cxnLst>
                <a:cxn ang="0">
                  <a:pos x="connsiteX0" y="connsiteY0"/>
                </a:cxn>
                <a:cxn ang="0">
                  <a:pos x="connsiteX1" y="connsiteY1"/>
                </a:cxn>
              </a:cxnLst>
              <a:rect l="l" t="t" r="r" b="b"/>
              <a:pathLst>
                <a:path w="2244436" h="83127">
                  <a:moveTo>
                    <a:pt x="0" y="83127"/>
                  </a:moveTo>
                  <a:lnTo>
                    <a:pt x="2244436"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59" name="Freeform: Shape 358"/>
            <p:cNvSpPr/>
            <p:nvPr/>
          </p:nvSpPr>
          <p:spPr bwMode="auto">
            <a:xfrm>
              <a:off x="5263802" y="1733199"/>
              <a:ext cx="1980165" cy="549152"/>
            </a:xfrm>
            <a:custGeom>
              <a:avLst/>
              <a:gdLst>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86691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16785 h 1624472"/>
                <a:gd name="connsiteX1" fmla="*/ 3131127 w 5867400"/>
                <a:gd name="connsiteY1" fmla="*/ 1606840 h 1624472"/>
                <a:gd name="connsiteX2" fmla="*/ 2957946 w 5867400"/>
                <a:gd name="connsiteY2" fmla="*/ 1613767 h 1624472"/>
                <a:gd name="connsiteX3" fmla="*/ 2999509 w 5867400"/>
                <a:gd name="connsiteY3" fmla="*/ 1489076 h 1624472"/>
                <a:gd name="connsiteX4" fmla="*/ 3096491 w 5867400"/>
                <a:gd name="connsiteY4" fmla="*/ 1246622 h 1624472"/>
                <a:gd name="connsiteX5" fmla="*/ 3435927 w 5867400"/>
                <a:gd name="connsiteY5" fmla="*/ 145185 h 1624472"/>
                <a:gd name="connsiteX6" fmla="*/ 3477491 w 5867400"/>
                <a:gd name="connsiteY6" fmla="*/ 6640 h 1624472"/>
                <a:gd name="connsiteX7" fmla="*/ 3290455 w 5867400"/>
                <a:gd name="connsiteY7" fmla="*/ 20494 h 1624472"/>
                <a:gd name="connsiteX8" fmla="*/ 2244437 w 5867400"/>
                <a:gd name="connsiteY8" fmla="*/ 68985 h 1624472"/>
                <a:gd name="connsiteX9" fmla="*/ 1461655 w 5867400"/>
                <a:gd name="connsiteY9" fmla="*/ 221385 h 1624472"/>
                <a:gd name="connsiteX10" fmla="*/ 852054 w 5867400"/>
                <a:gd name="connsiteY10" fmla="*/ 456912 h 1624472"/>
                <a:gd name="connsiteX11" fmla="*/ 228600 w 5867400"/>
                <a:gd name="connsiteY11" fmla="*/ 824058 h 1624472"/>
                <a:gd name="connsiteX12" fmla="*/ 0 w 5867400"/>
                <a:gd name="connsiteY12" fmla="*/ 962603 h 1624472"/>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0407 h 1628094"/>
                <a:gd name="connsiteX1" fmla="*/ 3131127 w 5867400"/>
                <a:gd name="connsiteY1" fmla="*/ 1610462 h 1628094"/>
                <a:gd name="connsiteX2" fmla="*/ 2957946 w 5867400"/>
                <a:gd name="connsiteY2" fmla="*/ 1617389 h 1628094"/>
                <a:gd name="connsiteX3" fmla="*/ 2999509 w 5867400"/>
                <a:gd name="connsiteY3" fmla="*/ 1492698 h 1628094"/>
                <a:gd name="connsiteX4" fmla="*/ 3096491 w 5867400"/>
                <a:gd name="connsiteY4" fmla="*/ 1250244 h 1628094"/>
                <a:gd name="connsiteX5" fmla="*/ 3435927 w 5867400"/>
                <a:gd name="connsiteY5" fmla="*/ 148807 h 1628094"/>
                <a:gd name="connsiteX6" fmla="*/ 3477491 w 5867400"/>
                <a:gd name="connsiteY6" fmla="*/ 10262 h 1628094"/>
                <a:gd name="connsiteX7" fmla="*/ 3290455 w 5867400"/>
                <a:gd name="connsiteY7" fmla="*/ 10261 h 1628094"/>
                <a:gd name="connsiteX8" fmla="*/ 2244437 w 5867400"/>
                <a:gd name="connsiteY8" fmla="*/ 72607 h 1628094"/>
                <a:gd name="connsiteX9" fmla="*/ 1461655 w 5867400"/>
                <a:gd name="connsiteY9" fmla="*/ 225007 h 1628094"/>
                <a:gd name="connsiteX10" fmla="*/ 852054 w 5867400"/>
                <a:gd name="connsiteY10" fmla="*/ 460534 h 1628094"/>
                <a:gd name="connsiteX11" fmla="*/ 228600 w 5867400"/>
                <a:gd name="connsiteY11" fmla="*/ 827680 h 1628094"/>
                <a:gd name="connsiteX12" fmla="*/ 0 w 5867400"/>
                <a:gd name="connsiteY12" fmla="*/ 966225 h 1628094"/>
                <a:gd name="connsiteX0" fmla="*/ 5867400 w 5867400"/>
                <a:gd name="connsiteY0" fmla="*/ 1523124 h 1630811"/>
                <a:gd name="connsiteX1" fmla="*/ 3131127 w 5867400"/>
                <a:gd name="connsiteY1" fmla="*/ 1613179 h 1630811"/>
                <a:gd name="connsiteX2" fmla="*/ 2957946 w 5867400"/>
                <a:gd name="connsiteY2" fmla="*/ 1620106 h 1630811"/>
                <a:gd name="connsiteX3" fmla="*/ 2999509 w 5867400"/>
                <a:gd name="connsiteY3" fmla="*/ 1495415 h 1630811"/>
                <a:gd name="connsiteX4" fmla="*/ 3096491 w 5867400"/>
                <a:gd name="connsiteY4" fmla="*/ 1252961 h 1630811"/>
                <a:gd name="connsiteX5" fmla="*/ 3435927 w 5867400"/>
                <a:gd name="connsiteY5" fmla="*/ 151524 h 1630811"/>
                <a:gd name="connsiteX6" fmla="*/ 3477491 w 5867400"/>
                <a:gd name="connsiteY6" fmla="*/ 12979 h 1630811"/>
                <a:gd name="connsiteX7" fmla="*/ 3290455 w 5867400"/>
                <a:gd name="connsiteY7" fmla="*/ 12978 h 1630811"/>
                <a:gd name="connsiteX8" fmla="*/ 2244437 w 5867400"/>
                <a:gd name="connsiteY8" fmla="*/ 75324 h 1630811"/>
                <a:gd name="connsiteX9" fmla="*/ 1461655 w 5867400"/>
                <a:gd name="connsiteY9" fmla="*/ 227724 h 1630811"/>
                <a:gd name="connsiteX10" fmla="*/ 852054 w 5867400"/>
                <a:gd name="connsiteY10" fmla="*/ 463251 h 1630811"/>
                <a:gd name="connsiteX11" fmla="*/ 228600 w 5867400"/>
                <a:gd name="connsiteY11" fmla="*/ 830397 h 1630811"/>
                <a:gd name="connsiteX12" fmla="*/ 0 w 5867400"/>
                <a:gd name="connsiteY12" fmla="*/ 968942 h 1630811"/>
                <a:gd name="connsiteX0" fmla="*/ 5867400 w 5867400"/>
                <a:gd name="connsiteY0" fmla="*/ 1536065 h 1643752"/>
                <a:gd name="connsiteX1" fmla="*/ 3131127 w 5867400"/>
                <a:gd name="connsiteY1" fmla="*/ 1626120 h 1643752"/>
                <a:gd name="connsiteX2" fmla="*/ 2957946 w 5867400"/>
                <a:gd name="connsiteY2" fmla="*/ 1633047 h 1643752"/>
                <a:gd name="connsiteX3" fmla="*/ 2999509 w 5867400"/>
                <a:gd name="connsiteY3" fmla="*/ 1508356 h 1643752"/>
                <a:gd name="connsiteX4" fmla="*/ 3096491 w 5867400"/>
                <a:gd name="connsiteY4" fmla="*/ 1265902 h 1643752"/>
                <a:gd name="connsiteX5" fmla="*/ 3435927 w 5867400"/>
                <a:gd name="connsiteY5" fmla="*/ 164465 h 1643752"/>
                <a:gd name="connsiteX6" fmla="*/ 3477491 w 5867400"/>
                <a:gd name="connsiteY6" fmla="*/ 25920 h 1643752"/>
                <a:gd name="connsiteX7" fmla="*/ 3290455 w 5867400"/>
                <a:gd name="connsiteY7" fmla="*/ 5137 h 1643752"/>
                <a:gd name="connsiteX8" fmla="*/ 2244437 w 5867400"/>
                <a:gd name="connsiteY8" fmla="*/ 88265 h 1643752"/>
                <a:gd name="connsiteX9" fmla="*/ 1461655 w 5867400"/>
                <a:gd name="connsiteY9" fmla="*/ 240665 h 1643752"/>
                <a:gd name="connsiteX10" fmla="*/ 852054 w 5867400"/>
                <a:gd name="connsiteY10" fmla="*/ 476192 h 1643752"/>
                <a:gd name="connsiteX11" fmla="*/ 228600 w 5867400"/>
                <a:gd name="connsiteY11" fmla="*/ 843338 h 1643752"/>
                <a:gd name="connsiteX12" fmla="*/ 0 w 5867400"/>
                <a:gd name="connsiteY12" fmla="*/ 981883 h 1643752"/>
                <a:gd name="connsiteX0" fmla="*/ 5867400 w 5867400"/>
                <a:gd name="connsiteY0" fmla="*/ 1523125 h 1630812"/>
                <a:gd name="connsiteX1" fmla="*/ 3131127 w 5867400"/>
                <a:gd name="connsiteY1" fmla="*/ 1613180 h 1630812"/>
                <a:gd name="connsiteX2" fmla="*/ 2957946 w 5867400"/>
                <a:gd name="connsiteY2" fmla="*/ 1620107 h 1630812"/>
                <a:gd name="connsiteX3" fmla="*/ 2999509 w 5867400"/>
                <a:gd name="connsiteY3" fmla="*/ 1495416 h 1630812"/>
                <a:gd name="connsiteX4" fmla="*/ 3096491 w 5867400"/>
                <a:gd name="connsiteY4" fmla="*/ 1252962 h 1630812"/>
                <a:gd name="connsiteX5" fmla="*/ 3435927 w 5867400"/>
                <a:gd name="connsiteY5" fmla="*/ 151525 h 1630812"/>
                <a:gd name="connsiteX6" fmla="*/ 3477491 w 5867400"/>
                <a:gd name="connsiteY6" fmla="*/ 12980 h 1630812"/>
                <a:gd name="connsiteX7" fmla="*/ 3290455 w 5867400"/>
                <a:gd name="connsiteY7" fmla="*/ 12979 h 1630812"/>
                <a:gd name="connsiteX8" fmla="*/ 2244437 w 5867400"/>
                <a:gd name="connsiteY8" fmla="*/ 75325 h 1630812"/>
                <a:gd name="connsiteX9" fmla="*/ 1461655 w 5867400"/>
                <a:gd name="connsiteY9" fmla="*/ 227725 h 1630812"/>
                <a:gd name="connsiteX10" fmla="*/ 852054 w 5867400"/>
                <a:gd name="connsiteY10" fmla="*/ 463252 h 1630812"/>
                <a:gd name="connsiteX11" fmla="*/ 228600 w 5867400"/>
                <a:gd name="connsiteY11" fmla="*/ 830398 h 1630812"/>
                <a:gd name="connsiteX12" fmla="*/ 0 w 5867400"/>
                <a:gd name="connsiteY12" fmla="*/ 968943 h 1630812"/>
                <a:gd name="connsiteX0" fmla="*/ 5867400 w 5867400"/>
                <a:gd name="connsiteY0" fmla="*/ 1518398 h 1626085"/>
                <a:gd name="connsiteX1" fmla="*/ 3131127 w 5867400"/>
                <a:gd name="connsiteY1" fmla="*/ 1608453 h 1626085"/>
                <a:gd name="connsiteX2" fmla="*/ 2957946 w 5867400"/>
                <a:gd name="connsiteY2" fmla="*/ 1615380 h 1626085"/>
                <a:gd name="connsiteX3" fmla="*/ 2999509 w 5867400"/>
                <a:gd name="connsiteY3" fmla="*/ 1490689 h 1626085"/>
                <a:gd name="connsiteX4" fmla="*/ 3096491 w 5867400"/>
                <a:gd name="connsiteY4" fmla="*/ 1248235 h 1626085"/>
                <a:gd name="connsiteX5" fmla="*/ 3435927 w 5867400"/>
                <a:gd name="connsiteY5" fmla="*/ 146798 h 1626085"/>
                <a:gd name="connsiteX6" fmla="*/ 3477491 w 5867400"/>
                <a:gd name="connsiteY6" fmla="*/ 8253 h 1626085"/>
                <a:gd name="connsiteX7" fmla="*/ 3290455 w 5867400"/>
                <a:gd name="connsiteY7" fmla="*/ 8252 h 1626085"/>
                <a:gd name="connsiteX8" fmla="*/ 2244437 w 5867400"/>
                <a:gd name="connsiteY8" fmla="*/ 70598 h 1626085"/>
                <a:gd name="connsiteX9" fmla="*/ 1461655 w 5867400"/>
                <a:gd name="connsiteY9" fmla="*/ 222998 h 1626085"/>
                <a:gd name="connsiteX10" fmla="*/ 852054 w 5867400"/>
                <a:gd name="connsiteY10" fmla="*/ 458525 h 1626085"/>
                <a:gd name="connsiteX11" fmla="*/ 228600 w 5867400"/>
                <a:gd name="connsiteY11" fmla="*/ 825671 h 1626085"/>
                <a:gd name="connsiteX12" fmla="*/ 0 w 5867400"/>
                <a:gd name="connsiteY12" fmla="*/ 964216 h 1626085"/>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96491 w 5867400"/>
                <a:gd name="connsiteY4" fmla="*/ 1250173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20336 h 1628023"/>
                <a:gd name="connsiteX1" fmla="*/ 3131127 w 5867400"/>
                <a:gd name="connsiteY1" fmla="*/ 1610391 h 1628023"/>
                <a:gd name="connsiteX2" fmla="*/ 2957946 w 5867400"/>
                <a:gd name="connsiteY2" fmla="*/ 1617318 h 1628023"/>
                <a:gd name="connsiteX3" fmla="*/ 2999509 w 5867400"/>
                <a:gd name="connsiteY3" fmla="*/ 1492627 h 1628023"/>
                <a:gd name="connsiteX4" fmla="*/ 3089564 w 5867400"/>
                <a:gd name="connsiteY4" fmla="*/ 1208609 h 1628023"/>
                <a:gd name="connsiteX5" fmla="*/ 3435927 w 5867400"/>
                <a:gd name="connsiteY5" fmla="*/ 148736 h 1628023"/>
                <a:gd name="connsiteX6" fmla="*/ 3477491 w 5867400"/>
                <a:gd name="connsiteY6" fmla="*/ 10191 h 1628023"/>
                <a:gd name="connsiteX7" fmla="*/ 3290455 w 5867400"/>
                <a:gd name="connsiteY7" fmla="*/ 3262 h 1628023"/>
                <a:gd name="connsiteX8" fmla="*/ 2244437 w 5867400"/>
                <a:gd name="connsiteY8" fmla="*/ 72536 h 1628023"/>
                <a:gd name="connsiteX9" fmla="*/ 1461655 w 5867400"/>
                <a:gd name="connsiteY9" fmla="*/ 224936 h 1628023"/>
                <a:gd name="connsiteX10" fmla="*/ 852054 w 5867400"/>
                <a:gd name="connsiteY10" fmla="*/ 460463 h 1628023"/>
                <a:gd name="connsiteX11" fmla="*/ 228600 w 5867400"/>
                <a:gd name="connsiteY11" fmla="*/ 827609 h 1628023"/>
                <a:gd name="connsiteX12" fmla="*/ 0 w 5867400"/>
                <a:gd name="connsiteY12" fmla="*/ 966154 h 1628023"/>
                <a:gd name="connsiteX0" fmla="*/ 5867400 w 5867400"/>
                <a:gd name="connsiteY0" fmla="*/ 1530893 h 1638580"/>
                <a:gd name="connsiteX1" fmla="*/ 3131127 w 5867400"/>
                <a:gd name="connsiteY1" fmla="*/ 1620948 h 1638580"/>
                <a:gd name="connsiteX2" fmla="*/ 2957946 w 5867400"/>
                <a:gd name="connsiteY2" fmla="*/ 1627875 h 1638580"/>
                <a:gd name="connsiteX3" fmla="*/ 2999509 w 5867400"/>
                <a:gd name="connsiteY3" fmla="*/ 1503184 h 1638580"/>
                <a:gd name="connsiteX4" fmla="*/ 3089564 w 5867400"/>
                <a:gd name="connsiteY4" fmla="*/ 1219166 h 1638580"/>
                <a:gd name="connsiteX5" fmla="*/ 3435927 w 5867400"/>
                <a:gd name="connsiteY5" fmla="*/ 159293 h 1638580"/>
                <a:gd name="connsiteX6" fmla="*/ 3463636 w 5867400"/>
                <a:gd name="connsiteY6" fmla="*/ 13821 h 1638580"/>
                <a:gd name="connsiteX7" fmla="*/ 3290455 w 5867400"/>
                <a:gd name="connsiteY7" fmla="*/ 13819 h 1638580"/>
                <a:gd name="connsiteX8" fmla="*/ 2244437 w 5867400"/>
                <a:gd name="connsiteY8" fmla="*/ 83093 h 1638580"/>
                <a:gd name="connsiteX9" fmla="*/ 1461655 w 5867400"/>
                <a:gd name="connsiteY9" fmla="*/ 235493 h 1638580"/>
                <a:gd name="connsiteX10" fmla="*/ 852054 w 5867400"/>
                <a:gd name="connsiteY10" fmla="*/ 471020 h 1638580"/>
                <a:gd name="connsiteX11" fmla="*/ 228600 w 5867400"/>
                <a:gd name="connsiteY11" fmla="*/ 838166 h 1638580"/>
                <a:gd name="connsiteX12" fmla="*/ 0 w 5867400"/>
                <a:gd name="connsiteY12" fmla="*/ 976711 h 1638580"/>
                <a:gd name="connsiteX0" fmla="*/ 5867400 w 5867400"/>
                <a:gd name="connsiteY0" fmla="*/ 1539905 h 1647592"/>
                <a:gd name="connsiteX1" fmla="*/ 3131127 w 5867400"/>
                <a:gd name="connsiteY1" fmla="*/ 1629960 h 1647592"/>
                <a:gd name="connsiteX2" fmla="*/ 2957946 w 5867400"/>
                <a:gd name="connsiteY2" fmla="*/ 1636887 h 1647592"/>
                <a:gd name="connsiteX3" fmla="*/ 2999509 w 5867400"/>
                <a:gd name="connsiteY3" fmla="*/ 1512196 h 1647592"/>
                <a:gd name="connsiteX4" fmla="*/ 3089564 w 5867400"/>
                <a:gd name="connsiteY4" fmla="*/ 1228178 h 1647592"/>
                <a:gd name="connsiteX5" fmla="*/ 3435927 w 5867400"/>
                <a:gd name="connsiteY5" fmla="*/ 168305 h 1647592"/>
                <a:gd name="connsiteX6" fmla="*/ 3463636 w 5867400"/>
                <a:gd name="connsiteY6" fmla="*/ 22833 h 1647592"/>
                <a:gd name="connsiteX7" fmla="*/ 3290455 w 5867400"/>
                <a:gd name="connsiteY7" fmla="*/ 22831 h 1647592"/>
                <a:gd name="connsiteX8" fmla="*/ 2244437 w 5867400"/>
                <a:gd name="connsiteY8" fmla="*/ 92105 h 1647592"/>
                <a:gd name="connsiteX9" fmla="*/ 1461655 w 5867400"/>
                <a:gd name="connsiteY9" fmla="*/ 244505 h 1647592"/>
                <a:gd name="connsiteX10" fmla="*/ 852054 w 5867400"/>
                <a:gd name="connsiteY10" fmla="*/ 480032 h 1647592"/>
                <a:gd name="connsiteX11" fmla="*/ 228600 w 5867400"/>
                <a:gd name="connsiteY11" fmla="*/ 847178 h 1647592"/>
                <a:gd name="connsiteX12" fmla="*/ 0 w 5867400"/>
                <a:gd name="connsiteY12" fmla="*/ 985723 h 1647592"/>
                <a:gd name="connsiteX0" fmla="*/ 5867400 w 5867400"/>
                <a:gd name="connsiteY0" fmla="*/ 1530604 h 1638291"/>
                <a:gd name="connsiteX1" fmla="*/ 3131127 w 5867400"/>
                <a:gd name="connsiteY1" fmla="*/ 1620659 h 1638291"/>
                <a:gd name="connsiteX2" fmla="*/ 2957946 w 5867400"/>
                <a:gd name="connsiteY2" fmla="*/ 1627586 h 1638291"/>
                <a:gd name="connsiteX3" fmla="*/ 2999509 w 5867400"/>
                <a:gd name="connsiteY3" fmla="*/ 1502895 h 1638291"/>
                <a:gd name="connsiteX4" fmla="*/ 3089564 w 5867400"/>
                <a:gd name="connsiteY4" fmla="*/ 1218877 h 1638291"/>
                <a:gd name="connsiteX5" fmla="*/ 3435927 w 5867400"/>
                <a:gd name="connsiteY5" fmla="*/ 159004 h 1638291"/>
                <a:gd name="connsiteX6" fmla="*/ 3470563 w 5867400"/>
                <a:gd name="connsiteY6" fmla="*/ 27387 h 1638291"/>
                <a:gd name="connsiteX7" fmla="*/ 3290455 w 5867400"/>
                <a:gd name="connsiteY7" fmla="*/ 13530 h 1638291"/>
                <a:gd name="connsiteX8" fmla="*/ 2244437 w 5867400"/>
                <a:gd name="connsiteY8" fmla="*/ 82804 h 1638291"/>
                <a:gd name="connsiteX9" fmla="*/ 1461655 w 5867400"/>
                <a:gd name="connsiteY9" fmla="*/ 235204 h 1638291"/>
                <a:gd name="connsiteX10" fmla="*/ 852054 w 5867400"/>
                <a:gd name="connsiteY10" fmla="*/ 470731 h 1638291"/>
                <a:gd name="connsiteX11" fmla="*/ 228600 w 5867400"/>
                <a:gd name="connsiteY11" fmla="*/ 837877 h 1638291"/>
                <a:gd name="connsiteX12" fmla="*/ 0 w 5867400"/>
                <a:gd name="connsiteY12" fmla="*/ 976422 h 1638291"/>
                <a:gd name="connsiteX0" fmla="*/ 5867400 w 5867400"/>
                <a:gd name="connsiteY0" fmla="*/ 1530604 h 1659202"/>
                <a:gd name="connsiteX1" fmla="*/ 3131127 w 5867400"/>
                <a:gd name="connsiteY1" fmla="*/ 1620659 h 1659202"/>
                <a:gd name="connsiteX2" fmla="*/ 2957946 w 5867400"/>
                <a:gd name="connsiteY2" fmla="*/ 1627586 h 1659202"/>
                <a:gd name="connsiteX3" fmla="*/ 3089564 w 5867400"/>
                <a:gd name="connsiteY3" fmla="*/ 1218877 h 1659202"/>
                <a:gd name="connsiteX4" fmla="*/ 3435927 w 5867400"/>
                <a:gd name="connsiteY4" fmla="*/ 159004 h 1659202"/>
                <a:gd name="connsiteX5" fmla="*/ 3470563 w 5867400"/>
                <a:gd name="connsiteY5" fmla="*/ 27387 h 1659202"/>
                <a:gd name="connsiteX6" fmla="*/ 3290455 w 5867400"/>
                <a:gd name="connsiteY6" fmla="*/ 13530 h 1659202"/>
                <a:gd name="connsiteX7" fmla="*/ 2244437 w 5867400"/>
                <a:gd name="connsiteY7" fmla="*/ 82804 h 1659202"/>
                <a:gd name="connsiteX8" fmla="*/ 1461655 w 5867400"/>
                <a:gd name="connsiteY8" fmla="*/ 235204 h 1659202"/>
                <a:gd name="connsiteX9" fmla="*/ 852054 w 5867400"/>
                <a:gd name="connsiteY9" fmla="*/ 470731 h 1659202"/>
                <a:gd name="connsiteX10" fmla="*/ 228600 w 5867400"/>
                <a:gd name="connsiteY10" fmla="*/ 837877 h 1659202"/>
                <a:gd name="connsiteX11" fmla="*/ 0 w 5867400"/>
                <a:gd name="connsiteY11" fmla="*/ 976422 h 1659202"/>
                <a:gd name="connsiteX0" fmla="*/ 5867400 w 5867400"/>
                <a:gd name="connsiteY0" fmla="*/ 1530604 h 1665349"/>
                <a:gd name="connsiteX1" fmla="*/ 3131127 w 5867400"/>
                <a:gd name="connsiteY1" fmla="*/ 1620659 h 1665349"/>
                <a:gd name="connsiteX2" fmla="*/ 2957946 w 5867400"/>
                <a:gd name="connsiteY2" fmla="*/ 1627586 h 1665349"/>
                <a:gd name="connsiteX3" fmla="*/ 3089564 w 5867400"/>
                <a:gd name="connsiteY3" fmla="*/ 1218877 h 1665349"/>
                <a:gd name="connsiteX4" fmla="*/ 3435927 w 5867400"/>
                <a:gd name="connsiteY4" fmla="*/ 159004 h 1665349"/>
                <a:gd name="connsiteX5" fmla="*/ 3470563 w 5867400"/>
                <a:gd name="connsiteY5" fmla="*/ 27387 h 1665349"/>
                <a:gd name="connsiteX6" fmla="*/ 3290455 w 5867400"/>
                <a:gd name="connsiteY6" fmla="*/ 13530 h 1665349"/>
                <a:gd name="connsiteX7" fmla="*/ 2244437 w 5867400"/>
                <a:gd name="connsiteY7" fmla="*/ 82804 h 1665349"/>
                <a:gd name="connsiteX8" fmla="*/ 1461655 w 5867400"/>
                <a:gd name="connsiteY8" fmla="*/ 235204 h 1665349"/>
                <a:gd name="connsiteX9" fmla="*/ 852054 w 5867400"/>
                <a:gd name="connsiteY9" fmla="*/ 470731 h 1665349"/>
                <a:gd name="connsiteX10" fmla="*/ 228600 w 5867400"/>
                <a:gd name="connsiteY10" fmla="*/ 837877 h 1665349"/>
                <a:gd name="connsiteX11" fmla="*/ 0 w 5867400"/>
                <a:gd name="connsiteY11" fmla="*/ 976422 h 1665349"/>
                <a:gd name="connsiteX0" fmla="*/ 5867400 w 5867400"/>
                <a:gd name="connsiteY0" fmla="*/ 1530604 h 1650866"/>
                <a:gd name="connsiteX1" fmla="*/ 3789218 w 5867400"/>
                <a:gd name="connsiteY1" fmla="*/ 1592950 h 1650866"/>
                <a:gd name="connsiteX2" fmla="*/ 2957946 w 5867400"/>
                <a:gd name="connsiteY2" fmla="*/ 1627586 h 1650866"/>
                <a:gd name="connsiteX3" fmla="*/ 3089564 w 5867400"/>
                <a:gd name="connsiteY3" fmla="*/ 1218877 h 1650866"/>
                <a:gd name="connsiteX4" fmla="*/ 3435927 w 5867400"/>
                <a:gd name="connsiteY4" fmla="*/ 159004 h 1650866"/>
                <a:gd name="connsiteX5" fmla="*/ 3470563 w 5867400"/>
                <a:gd name="connsiteY5" fmla="*/ 27387 h 1650866"/>
                <a:gd name="connsiteX6" fmla="*/ 3290455 w 5867400"/>
                <a:gd name="connsiteY6" fmla="*/ 13530 h 1650866"/>
                <a:gd name="connsiteX7" fmla="*/ 2244437 w 5867400"/>
                <a:gd name="connsiteY7" fmla="*/ 82804 h 1650866"/>
                <a:gd name="connsiteX8" fmla="*/ 1461655 w 5867400"/>
                <a:gd name="connsiteY8" fmla="*/ 235204 h 1650866"/>
                <a:gd name="connsiteX9" fmla="*/ 852054 w 5867400"/>
                <a:gd name="connsiteY9" fmla="*/ 470731 h 1650866"/>
                <a:gd name="connsiteX10" fmla="*/ 228600 w 5867400"/>
                <a:gd name="connsiteY10" fmla="*/ 837877 h 1650866"/>
                <a:gd name="connsiteX11" fmla="*/ 0 w 5867400"/>
                <a:gd name="connsiteY11" fmla="*/ 976422 h 1650866"/>
                <a:gd name="connsiteX0" fmla="*/ 5867400 w 5867400"/>
                <a:gd name="connsiteY0" fmla="*/ 1530604 h 1639086"/>
                <a:gd name="connsiteX1" fmla="*/ 3789218 w 5867400"/>
                <a:gd name="connsiteY1" fmla="*/ 1592950 h 1639086"/>
                <a:gd name="connsiteX2" fmla="*/ 2957946 w 5867400"/>
                <a:gd name="connsiteY2" fmla="*/ 1627586 h 1639086"/>
                <a:gd name="connsiteX3" fmla="*/ 3089564 w 5867400"/>
                <a:gd name="connsiteY3" fmla="*/ 1218877 h 1639086"/>
                <a:gd name="connsiteX4" fmla="*/ 3435927 w 5867400"/>
                <a:gd name="connsiteY4" fmla="*/ 159004 h 1639086"/>
                <a:gd name="connsiteX5" fmla="*/ 3470563 w 5867400"/>
                <a:gd name="connsiteY5" fmla="*/ 27387 h 1639086"/>
                <a:gd name="connsiteX6" fmla="*/ 3290455 w 5867400"/>
                <a:gd name="connsiteY6" fmla="*/ 13530 h 1639086"/>
                <a:gd name="connsiteX7" fmla="*/ 2244437 w 5867400"/>
                <a:gd name="connsiteY7" fmla="*/ 82804 h 1639086"/>
                <a:gd name="connsiteX8" fmla="*/ 1461655 w 5867400"/>
                <a:gd name="connsiteY8" fmla="*/ 235204 h 1639086"/>
                <a:gd name="connsiteX9" fmla="*/ 852054 w 5867400"/>
                <a:gd name="connsiteY9" fmla="*/ 470731 h 1639086"/>
                <a:gd name="connsiteX10" fmla="*/ 228600 w 5867400"/>
                <a:gd name="connsiteY10" fmla="*/ 837877 h 1639086"/>
                <a:gd name="connsiteX11" fmla="*/ 0 w 5867400"/>
                <a:gd name="connsiteY11" fmla="*/ 976422 h 1639086"/>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28600 w 5867400"/>
                <a:gd name="connsiteY10" fmla="*/ 837877 h 1627185"/>
                <a:gd name="connsiteX11" fmla="*/ 0 w 5867400"/>
                <a:gd name="connsiteY11" fmla="*/ 976422 h 1627185"/>
                <a:gd name="connsiteX0" fmla="*/ 5867400 w 5867400"/>
                <a:gd name="connsiteY0" fmla="*/ 1530604 h 1627185"/>
                <a:gd name="connsiteX1" fmla="*/ 3789218 w 5867400"/>
                <a:gd name="connsiteY1" fmla="*/ 1592950 h 1627185"/>
                <a:gd name="connsiteX2" fmla="*/ 2957946 w 5867400"/>
                <a:gd name="connsiteY2" fmla="*/ 1613732 h 1627185"/>
                <a:gd name="connsiteX3" fmla="*/ 3089564 w 5867400"/>
                <a:gd name="connsiteY3" fmla="*/ 1218877 h 1627185"/>
                <a:gd name="connsiteX4" fmla="*/ 3435927 w 5867400"/>
                <a:gd name="connsiteY4" fmla="*/ 159004 h 1627185"/>
                <a:gd name="connsiteX5" fmla="*/ 3470563 w 5867400"/>
                <a:gd name="connsiteY5" fmla="*/ 27387 h 1627185"/>
                <a:gd name="connsiteX6" fmla="*/ 3290455 w 5867400"/>
                <a:gd name="connsiteY6" fmla="*/ 13530 h 1627185"/>
                <a:gd name="connsiteX7" fmla="*/ 2244437 w 5867400"/>
                <a:gd name="connsiteY7" fmla="*/ 82804 h 1627185"/>
                <a:gd name="connsiteX8" fmla="*/ 1461655 w 5867400"/>
                <a:gd name="connsiteY8" fmla="*/ 235204 h 1627185"/>
                <a:gd name="connsiteX9" fmla="*/ 852054 w 5867400"/>
                <a:gd name="connsiteY9" fmla="*/ 470731 h 1627185"/>
                <a:gd name="connsiteX10" fmla="*/ 237066 w 5867400"/>
                <a:gd name="connsiteY10" fmla="*/ 812477 h 1627185"/>
                <a:gd name="connsiteX11" fmla="*/ 0 w 5867400"/>
                <a:gd name="connsiteY11" fmla="*/ 976422 h 1627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7400" h="1627185">
                  <a:moveTo>
                    <a:pt x="5867400" y="1530604"/>
                  </a:moveTo>
                  <a:lnTo>
                    <a:pt x="3789218" y="1592950"/>
                  </a:lnTo>
                  <a:cubicBezTo>
                    <a:pt x="3304309" y="1606805"/>
                    <a:pt x="2936010" y="1648368"/>
                    <a:pt x="2957946" y="1613732"/>
                  </a:cubicBezTo>
                  <a:cubicBezTo>
                    <a:pt x="2979882" y="1579096"/>
                    <a:pt x="3009901" y="1461332"/>
                    <a:pt x="3089564" y="1218877"/>
                  </a:cubicBezTo>
                  <a:cubicBezTo>
                    <a:pt x="3169227" y="976422"/>
                    <a:pt x="3372427" y="357586"/>
                    <a:pt x="3435927" y="159004"/>
                  </a:cubicBezTo>
                  <a:cubicBezTo>
                    <a:pt x="3499427" y="-39578"/>
                    <a:pt x="3453244" y="72415"/>
                    <a:pt x="3470563" y="27387"/>
                  </a:cubicBezTo>
                  <a:cubicBezTo>
                    <a:pt x="3487882" y="-17641"/>
                    <a:pt x="3494809" y="4294"/>
                    <a:pt x="3290455" y="13530"/>
                  </a:cubicBezTo>
                  <a:cubicBezTo>
                    <a:pt x="3086101" y="22766"/>
                    <a:pt x="2549237" y="45858"/>
                    <a:pt x="2244437" y="82804"/>
                  </a:cubicBezTo>
                  <a:cubicBezTo>
                    <a:pt x="1939637" y="119750"/>
                    <a:pt x="1693719" y="170550"/>
                    <a:pt x="1461655" y="235204"/>
                  </a:cubicBezTo>
                  <a:cubicBezTo>
                    <a:pt x="1229591" y="299858"/>
                    <a:pt x="1056152" y="374519"/>
                    <a:pt x="852054" y="470731"/>
                  </a:cubicBezTo>
                  <a:cubicBezTo>
                    <a:pt x="647956" y="566943"/>
                    <a:pt x="379075" y="728195"/>
                    <a:pt x="237066" y="812477"/>
                  </a:cubicBezTo>
                  <a:cubicBezTo>
                    <a:pt x="95057" y="896759"/>
                    <a:pt x="40409" y="949290"/>
                    <a:pt x="0" y="976422"/>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60" name="Freeform: Shape 359"/>
            <p:cNvSpPr/>
            <p:nvPr/>
          </p:nvSpPr>
          <p:spPr bwMode="auto">
            <a:xfrm>
              <a:off x="4859353" y="2041687"/>
              <a:ext cx="411463" cy="306259"/>
            </a:xfrm>
            <a:custGeom>
              <a:avLst/>
              <a:gdLst>
                <a:gd name="connsiteX0" fmla="*/ 0 w 1219200"/>
                <a:gd name="connsiteY0" fmla="*/ 907473 h 907473"/>
                <a:gd name="connsiteX1" fmla="*/ 1219200 w 1219200"/>
                <a:gd name="connsiteY1" fmla="*/ 0 h 907473"/>
                <a:gd name="connsiteX2" fmla="*/ 1184564 w 1219200"/>
                <a:gd name="connsiteY2" fmla="*/ 221673 h 907473"/>
              </a:gdLst>
              <a:ahLst/>
              <a:cxnLst>
                <a:cxn ang="0">
                  <a:pos x="connsiteX0" y="connsiteY0"/>
                </a:cxn>
                <a:cxn ang="0">
                  <a:pos x="connsiteX1" y="connsiteY1"/>
                </a:cxn>
                <a:cxn ang="0">
                  <a:pos x="connsiteX2" y="connsiteY2"/>
                </a:cxn>
              </a:cxnLst>
              <a:rect l="l" t="t" r="r" b="b"/>
              <a:pathLst>
                <a:path w="1219200" h="907473">
                  <a:moveTo>
                    <a:pt x="0" y="907473"/>
                  </a:moveTo>
                  <a:lnTo>
                    <a:pt x="1219200" y="0"/>
                  </a:lnTo>
                  <a:lnTo>
                    <a:pt x="1184564" y="221673"/>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61" name="Freeform: Shape 360"/>
            <p:cNvSpPr/>
            <p:nvPr/>
          </p:nvSpPr>
          <p:spPr bwMode="auto">
            <a:xfrm>
              <a:off x="4681676" y="1629530"/>
              <a:ext cx="3836423" cy="725430"/>
            </a:xfrm>
            <a:custGeom>
              <a:avLst/>
              <a:gdLst>
                <a:gd name="connsiteX0" fmla="*/ 0 w 11367655"/>
                <a:gd name="connsiteY0" fmla="*/ 2149512 h 2149512"/>
                <a:gd name="connsiteX1" fmla="*/ 623455 w 11367655"/>
                <a:gd name="connsiteY1" fmla="*/ 1699240 h 2149512"/>
                <a:gd name="connsiteX2" fmla="*/ 1537855 w 11367655"/>
                <a:gd name="connsiteY2" fmla="*/ 1082712 h 2149512"/>
                <a:gd name="connsiteX3" fmla="*/ 2348346 w 11367655"/>
                <a:gd name="connsiteY3" fmla="*/ 563167 h 2149512"/>
                <a:gd name="connsiteX4" fmla="*/ 2479964 w 11367655"/>
                <a:gd name="connsiteY4" fmla="*/ 486967 h 2149512"/>
                <a:gd name="connsiteX5" fmla="*/ 2528455 w 11367655"/>
                <a:gd name="connsiteY5" fmla="*/ 431549 h 2149512"/>
                <a:gd name="connsiteX6" fmla="*/ 2750128 w 11367655"/>
                <a:gd name="connsiteY6" fmla="*/ 355349 h 2149512"/>
                <a:gd name="connsiteX7" fmla="*/ 3449782 w 11367655"/>
                <a:gd name="connsiteY7" fmla="*/ 189094 h 2149512"/>
                <a:gd name="connsiteX8" fmla="*/ 4301837 w 11367655"/>
                <a:gd name="connsiteY8" fmla="*/ 78258 h 2149512"/>
                <a:gd name="connsiteX9" fmla="*/ 5368637 w 11367655"/>
                <a:gd name="connsiteY9" fmla="*/ 15912 h 2149512"/>
                <a:gd name="connsiteX10" fmla="*/ 6497782 w 11367655"/>
                <a:gd name="connsiteY10" fmla="*/ 2058 h 2149512"/>
                <a:gd name="connsiteX11" fmla="*/ 7904018 w 11367655"/>
                <a:gd name="connsiteY11" fmla="*/ 50549 h 2149512"/>
                <a:gd name="connsiteX12" fmla="*/ 9033164 w 11367655"/>
                <a:gd name="connsiteY12" fmla="*/ 119822 h 2149512"/>
                <a:gd name="connsiteX13" fmla="*/ 10280073 w 11367655"/>
                <a:gd name="connsiteY13" fmla="*/ 279149 h 2149512"/>
                <a:gd name="connsiteX14" fmla="*/ 11069782 w 11367655"/>
                <a:gd name="connsiteY14" fmla="*/ 438476 h 2149512"/>
                <a:gd name="connsiteX15" fmla="*/ 11367655 w 11367655"/>
                <a:gd name="connsiteY15" fmla="*/ 514676 h 214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67655" h="2149512">
                  <a:moveTo>
                    <a:pt x="0" y="2149512"/>
                  </a:moveTo>
                  <a:cubicBezTo>
                    <a:pt x="183573" y="2013276"/>
                    <a:pt x="367146" y="1877040"/>
                    <a:pt x="623455" y="1699240"/>
                  </a:cubicBezTo>
                  <a:cubicBezTo>
                    <a:pt x="879764" y="1521440"/>
                    <a:pt x="1250373" y="1272057"/>
                    <a:pt x="1537855" y="1082712"/>
                  </a:cubicBezTo>
                  <a:cubicBezTo>
                    <a:pt x="1825337" y="893366"/>
                    <a:pt x="2191328" y="662458"/>
                    <a:pt x="2348346" y="563167"/>
                  </a:cubicBezTo>
                  <a:cubicBezTo>
                    <a:pt x="2505364" y="463876"/>
                    <a:pt x="2449946" y="508903"/>
                    <a:pt x="2479964" y="486967"/>
                  </a:cubicBezTo>
                  <a:cubicBezTo>
                    <a:pt x="2509982" y="465031"/>
                    <a:pt x="2483428" y="453485"/>
                    <a:pt x="2528455" y="431549"/>
                  </a:cubicBezTo>
                  <a:cubicBezTo>
                    <a:pt x="2573482" y="409613"/>
                    <a:pt x="2596573" y="395758"/>
                    <a:pt x="2750128" y="355349"/>
                  </a:cubicBezTo>
                  <a:cubicBezTo>
                    <a:pt x="2903683" y="314940"/>
                    <a:pt x="3191164" y="235276"/>
                    <a:pt x="3449782" y="189094"/>
                  </a:cubicBezTo>
                  <a:cubicBezTo>
                    <a:pt x="3708400" y="142912"/>
                    <a:pt x="3982028" y="107122"/>
                    <a:pt x="4301837" y="78258"/>
                  </a:cubicBezTo>
                  <a:cubicBezTo>
                    <a:pt x="4621646" y="49394"/>
                    <a:pt x="5002646" y="28612"/>
                    <a:pt x="5368637" y="15912"/>
                  </a:cubicBezTo>
                  <a:cubicBezTo>
                    <a:pt x="5734628" y="3212"/>
                    <a:pt x="6075219" y="-3715"/>
                    <a:pt x="6497782" y="2058"/>
                  </a:cubicBezTo>
                  <a:cubicBezTo>
                    <a:pt x="6920345" y="7831"/>
                    <a:pt x="7481454" y="30922"/>
                    <a:pt x="7904018" y="50549"/>
                  </a:cubicBezTo>
                  <a:cubicBezTo>
                    <a:pt x="8326582" y="70176"/>
                    <a:pt x="8637155" y="81722"/>
                    <a:pt x="9033164" y="119822"/>
                  </a:cubicBezTo>
                  <a:cubicBezTo>
                    <a:pt x="9429173" y="157922"/>
                    <a:pt x="9940637" y="226040"/>
                    <a:pt x="10280073" y="279149"/>
                  </a:cubicBezTo>
                  <a:cubicBezTo>
                    <a:pt x="10619509" y="332258"/>
                    <a:pt x="10888519" y="399222"/>
                    <a:pt x="11069782" y="438476"/>
                  </a:cubicBezTo>
                  <a:cubicBezTo>
                    <a:pt x="11251045" y="477730"/>
                    <a:pt x="11309350" y="496203"/>
                    <a:pt x="11367655" y="514676"/>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62" name="Freeform: Shape 361"/>
            <p:cNvSpPr/>
            <p:nvPr/>
          </p:nvSpPr>
          <p:spPr bwMode="auto">
            <a:xfrm>
              <a:off x="4619985" y="1684215"/>
              <a:ext cx="3433549" cy="1704077"/>
            </a:xfrm>
            <a:custGeom>
              <a:avLst/>
              <a:gdLst>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61729 w 10197719"/>
                <a:gd name="connsiteY24" fmla="*/ 275571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44509 w 10197719"/>
                <a:gd name="connsiteY25" fmla="*/ 3517710 h 5049330"/>
                <a:gd name="connsiteX26" fmla="*/ 7826349 w 10197719"/>
                <a:gd name="connsiteY26" fmla="*/ 4317810 h 5049330"/>
                <a:gd name="connsiteX27" fmla="*/ 7498689 w 10197719"/>
                <a:gd name="connsiteY27" fmla="*/ 4790250 h 5049330"/>
                <a:gd name="connsiteX0" fmla="*/ 160629 w 10197719"/>
                <a:gd name="connsiteY0" fmla="*/ 5049330 h 5049330"/>
                <a:gd name="connsiteX1" fmla="*/ 69189 w 10197719"/>
                <a:gd name="connsiteY1" fmla="*/ 4775010 h 5049330"/>
                <a:gd name="connsiteX2" fmla="*/ 8229 w 10197719"/>
                <a:gd name="connsiteY2" fmla="*/ 3883470 h 5049330"/>
                <a:gd name="connsiteX3" fmla="*/ 609 w 10197719"/>
                <a:gd name="connsiteY3" fmla="*/ 2831910 h 5049330"/>
                <a:gd name="connsiteX4" fmla="*/ 8229 w 10197719"/>
                <a:gd name="connsiteY4" fmla="*/ 2466150 h 5049330"/>
                <a:gd name="connsiteX5" fmla="*/ 38709 w 10197719"/>
                <a:gd name="connsiteY5" fmla="*/ 2306130 h 5049330"/>
                <a:gd name="connsiteX6" fmla="*/ 343509 w 10197719"/>
                <a:gd name="connsiteY6" fmla="*/ 2108010 h 5049330"/>
                <a:gd name="connsiteX7" fmla="*/ 526389 w 10197719"/>
                <a:gd name="connsiteY7" fmla="*/ 1963230 h 5049330"/>
                <a:gd name="connsiteX8" fmla="*/ 762609 w 10197719"/>
                <a:gd name="connsiteY8" fmla="*/ 1787970 h 5049330"/>
                <a:gd name="connsiteX9" fmla="*/ 1494129 w 10197719"/>
                <a:gd name="connsiteY9" fmla="*/ 1231710 h 5049330"/>
                <a:gd name="connsiteX10" fmla="*/ 2263749 w 10197719"/>
                <a:gd name="connsiteY10" fmla="*/ 736410 h 5049330"/>
                <a:gd name="connsiteX11" fmla="*/ 2896209 w 10197719"/>
                <a:gd name="connsiteY11" fmla="*/ 393510 h 5049330"/>
                <a:gd name="connsiteX12" fmla="*/ 3810609 w 10197719"/>
                <a:gd name="connsiteY12" fmla="*/ 149670 h 5049330"/>
                <a:gd name="connsiteX13" fmla="*/ 5288889 w 10197719"/>
                <a:gd name="connsiteY13" fmla="*/ 20130 h 5049330"/>
                <a:gd name="connsiteX14" fmla="*/ 6203289 w 10197719"/>
                <a:gd name="connsiteY14" fmla="*/ 4890 h 5049330"/>
                <a:gd name="connsiteX15" fmla="*/ 7399629 w 10197719"/>
                <a:gd name="connsiteY15" fmla="*/ 65850 h 5049330"/>
                <a:gd name="connsiteX16" fmla="*/ 8474049 w 10197719"/>
                <a:gd name="connsiteY16" fmla="*/ 157290 h 5049330"/>
                <a:gd name="connsiteX17" fmla="*/ 9159849 w 10197719"/>
                <a:gd name="connsiteY17" fmla="*/ 302070 h 5049330"/>
                <a:gd name="connsiteX18" fmla="*/ 9723729 w 10197719"/>
                <a:gd name="connsiteY18" fmla="*/ 454470 h 5049330"/>
                <a:gd name="connsiteX19" fmla="*/ 10074249 w 10197719"/>
                <a:gd name="connsiteY19" fmla="*/ 652590 h 5049330"/>
                <a:gd name="connsiteX20" fmla="*/ 10173309 w 10197719"/>
                <a:gd name="connsiteY20" fmla="*/ 896430 h 5049330"/>
                <a:gd name="connsiteX21" fmla="*/ 10180929 w 10197719"/>
                <a:gd name="connsiteY21" fmla="*/ 1071690 h 5049330"/>
                <a:gd name="connsiteX22" fmla="*/ 9975189 w 10197719"/>
                <a:gd name="connsiteY22" fmla="*/ 1490790 h 5049330"/>
                <a:gd name="connsiteX23" fmla="*/ 9472269 w 10197719"/>
                <a:gd name="connsiteY23" fmla="*/ 2077530 h 5049330"/>
                <a:gd name="connsiteX24" fmla="*/ 8954109 w 10197719"/>
                <a:gd name="connsiteY24" fmla="*/ 2740470 h 5049330"/>
                <a:gd name="connsiteX25" fmla="*/ 8367369 w 10197719"/>
                <a:gd name="connsiteY25" fmla="*/ 3525330 h 5049330"/>
                <a:gd name="connsiteX26" fmla="*/ 7826349 w 10197719"/>
                <a:gd name="connsiteY26" fmla="*/ 4317810 h 5049330"/>
                <a:gd name="connsiteX27" fmla="*/ 7498689 w 10197719"/>
                <a:gd name="connsiteY27" fmla="*/ 4790250 h 5049330"/>
                <a:gd name="connsiteX0" fmla="*/ 160629 w 10198278"/>
                <a:gd name="connsiteY0" fmla="*/ 5049330 h 5049330"/>
                <a:gd name="connsiteX1" fmla="*/ 69189 w 10198278"/>
                <a:gd name="connsiteY1" fmla="*/ 4775010 h 5049330"/>
                <a:gd name="connsiteX2" fmla="*/ 8229 w 10198278"/>
                <a:gd name="connsiteY2" fmla="*/ 3883470 h 5049330"/>
                <a:gd name="connsiteX3" fmla="*/ 609 w 10198278"/>
                <a:gd name="connsiteY3" fmla="*/ 2831910 h 5049330"/>
                <a:gd name="connsiteX4" fmla="*/ 8229 w 10198278"/>
                <a:gd name="connsiteY4" fmla="*/ 2466150 h 5049330"/>
                <a:gd name="connsiteX5" fmla="*/ 38709 w 10198278"/>
                <a:gd name="connsiteY5" fmla="*/ 2306130 h 5049330"/>
                <a:gd name="connsiteX6" fmla="*/ 343509 w 10198278"/>
                <a:gd name="connsiteY6" fmla="*/ 2108010 h 5049330"/>
                <a:gd name="connsiteX7" fmla="*/ 526389 w 10198278"/>
                <a:gd name="connsiteY7" fmla="*/ 1963230 h 5049330"/>
                <a:gd name="connsiteX8" fmla="*/ 762609 w 10198278"/>
                <a:gd name="connsiteY8" fmla="*/ 1787970 h 5049330"/>
                <a:gd name="connsiteX9" fmla="*/ 1494129 w 10198278"/>
                <a:gd name="connsiteY9" fmla="*/ 1231710 h 5049330"/>
                <a:gd name="connsiteX10" fmla="*/ 2263749 w 10198278"/>
                <a:gd name="connsiteY10" fmla="*/ 736410 h 5049330"/>
                <a:gd name="connsiteX11" fmla="*/ 2896209 w 10198278"/>
                <a:gd name="connsiteY11" fmla="*/ 393510 h 5049330"/>
                <a:gd name="connsiteX12" fmla="*/ 3810609 w 10198278"/>
                <a:gd name="connsiteY12" fmla="*/ 149670 h 5049330"/>
                <a:gd name="connsiteX13" fmla="*/ 5288889 w 10198278"/>
                <a:gd name="connsiteY13" fmla="*/ 20130 h 5049330"/>
                <a:gd name="connsiteX14" fmla="*/ 6203289 w 10198278"/>
                <a:gd name="connsiteY14" fmla="*/ 4890 h 5049330"/>
                <a:gd name="connsiteX15" fmla="*/ 7399629 w 10198278"/>
                <a:gd name="connsiteY15" fmla="*/ 65850 h 5049330"/>
                <a:gd name="connsiteX16" fmla="*/ 8474049 w 10198278"/>
                <a:gd name="connsiteY16" fmla="*/ 157290 h 5049330"/>
                <a:gd name="connsiteX17" fmla="*/ 9159849 w 10198278"/>
                <a:gd name="connsiteY17" fmla="*/ 302070 h 5049330"/>
                <a:gd name="connsiteX18" fmla="*/ 9723729 w 10198278"/>
                <a:gd name="connsiteY18" fmla="*/ 454470 h 5049330"/>
                <a:gd name="connsiteX19" fmla="*/ 10074249 w 10198278"/>
                <a:gd name="connsiteY19" fmla="*/ 652590 h 5049330"/>
                <a:gd name="connsiteX20" fmla="*/ 10173309 w 10198278"/>
                <a:gd name="connsiteY20" fmla="*/ 896430 h 5049330"/>
                <a:gd name="connsiteX21" fmla="*/ 10180929 w 10198278"/>
                <a:gd name="connsiteY21" fmla="*/ 1071690 h 5049330"/>
                <a:gd name="connsiteX22" fmla="*/ 9967569 w 10198278"/>
                <a:gd name="connsiteY22" fmla="*/ 1475550 h 5049330"/>
                <a:gd name="connsiteX23" fmla="*/ 9472269 w 10198278"/>
                <a:gd name="connsiteY23" fmla="*/ 2077530 h 5049330"/>
                <a:gd name="connsiteX24" fmla="*/ 8954109 w 10198278"/>
                <a:gd name="connsiteY24" fmla="*/ 2740470 h 5049330"/>
                <a:gd name="connsiteX25" fmla="*/ 8367369 w 10198278"/>
                <a:gd name="connsiteY25" fmla="*/ 3525330 h 5049330"/>
                <a:gd name="connsiteX26" fmla="*/ 7826349 w 10198278"/>
                <a:gd name="connsiteY26" fmla="*/ 4317810 h 5049330"/>
                <a:gd name="connsiteX27" fmla="*/ 7498689 w 10198278"/>
                <a:gd name="connsiteY27" fmla="*/ 4790250 h 5049330"/>
                <a:gd name="connsiteX0" fmla="*/ 160629 w 10198948"/>
                <a:gd name="connsiteY0" fmla="*/ 5049330 h 5049330"/>
                <a:gd name="connsiteX1" fmla="*/ 69189 w 10198948"/>
                <a:gd name="connsiteY1" fmla="*/ 4775010 h 5049330"/>
                <a:gd name="connsiteX2" fmla="*/ 8229 w 10198948"/>
                <a:gd name="connsiteY2" fmla="*/ 3883470 h 5049330"/>
                <a:gd name="connsiteX3" fmla="*/ 609 w 10198948"/>
                <a:gd name="connsiteY3" fmla="*/ 2831910 h 5049330"/>
                <a:gd name="connsiteX4" fmla="*/ 8229 w 10198948"/>
                <a:gd name="connsiteY4" fmla="*/ 2466150 h 5049330"/>
                <a:gd name="connsiteX5" fmla="*/ 38709 w 10198948"/>
                <a:gd name="connsiteY5" fmla="*/ 2306130 h 5049330"/>
                <a:gd name="connsiteX6" fmla="*/ 343509 w 10198948"/>
                <a:gd name="connsiteY6" fmla="*/ 2108010 h 5049330"/>
                <a:gd name="connsiteX7" fmla="*/ 526389 w 10198948"/>
                <a:gd name="connsiteY7" fmla="*/ 1963230 h 5049330"/>
                <a:gd name="connsiteX8" fmla="*/ 762609 w 10198948"/>
                <a:gd name="connsiteY8" fmla="*/ 1787970 h 5049330"/>
                <a:gd name="connsiteX9" fmla="*/ 1494129 w 10198948"/>
                <a:gd name="connsiteY9" fmla="*/ 1231710 h 5049330"/>
                <a:gd name="connsiteX10" fmla="*/ 2263749 w 10198948"/>
                <a:gd name="connsiteY10" fmla="*/ 736410 h 5049330"/>
                <a:gd name="connsiteX11" fmla="*/ 2896209 w 10198948"/>
                <a:gd name="connsiteY11" fmla="*/ 393510 h 5049330"/>
                <a:gd name="connsiteX12" fmla="*/ 3810609 w 10198948"/>
                <a:gd name="connsiteY12" fmla="*/ 149670 h 5049330"/>
                <a:gd name="connsiteX13" fmla="*/ 5288889 w 10198948"/>
                <a:gd name="connsiteY13" fmla="*/ 20130 h 5049330"/>
                <a:gd name="connsiteX14" fmla="*/ 6203289 w 10198948"/>
                <a:gd name="connsiteY14" fmla="*/ 4890 h 5049330"/>
                <a:gd name="connsiteX15" fmla="*/ 7399629 w 10198948"/>
                <a:gd name="connsiteY15" fmla="*/ 65850 h 5049330"/>
                <a:gd name="connsiteX16" fmla="*/ 8474049 w 10198948"/>
                <a:gd name="connsiteY16" fmla="*/ 157290 h 5049330"/>
                <a:gd name="connsiteX17" fmla="*/ 9159849 w 10198948"/>
                <a:gd name="connsiteY17" fmla="*/ 302070 h 5049330"/>
                <a:gd name="connsiteX18" fmla="*/ 9723729 w 10198948"/>
                <a:gd name="connsiteY18" fmla="*/ 454470 h 5049330"/>
                <a:gd name="connsiteX19" fmla="*/ 10059009 w 10198948"/>
                <a:gd name="connsiteY19" fmla="*/ 660210 h 5049330"/>
                <a:gd name="connsiteX20" fmla="*/ 10173309 w 10198948"/>
                <a:gd name="connsiteY20" fmla="*/ 896430 h 5049330"/>
                <a:gd name="connsiteX21" fmla="*/ 10180929 w 10198948"/>
                <a:gd name="connsiteY21" fmla="*/ 1071690 h 5049330"/>
                <a:gd name="connsiteX22" fmla="*/ 9967569 w 10198948"/>
                <a:gd name="connsiteY22" fmla="*/ 1475550 h 5049330"/>
                <a:gd name="connsiteX23" fmla="*/ 9472269 w 10198948"/>
                <a:gd name="connsiteY23" fmla="*/ 2077530 h 5049330"/>
                <a:gd name="connsiteX24" fmla="*/ 8954109 w 10198948"/>
                <a:gd name="connsiteY24" fmla="*/ 2740470 h 5049330"/>
                <a:gd name="connsiteX25" fmla="*/ 8367369 w 10198948"/>
                <a:gd name="connsiteY25" fmla="*/ 3525330 h 5049330"/>
                <a:gd name="connsiteX26" fmla="*/ 7826349 w 10198948"/>
                <a:gd name="connsiteY26" fmla="*/ 4317810 h 5049330"/>
                <a:gd name="connsiteX27" fmla="*/ 7498689 w 10198948"/>
                <a:gd name="connsiteY27" fmla="*/ 4790250 h 5049330"/>
                <a:gd name="connsiteX0" fmla="*/ 160629 w 10189028"/>
                <a:gd name="connsiteY0" fmla="*/ 5049330 h 5049330"/>
                <a:gd name="connsiteX1" fmla="*/ 69189 w 10189028"/>
                <a:gd name="connsiteY1" fmla="*/ 4775010 h 5049330"/>
                <a:gd name="connsiteX2" fmla="*/ 8229 w 10189028"/>
                <a:gd name="connsiteY2" fmla="*/ 3883470 h 5049330"/>
                <a:gd name="connsiteX3" fmla="*/ 609 w 10189028"/>
                <a:gd name="connsiteY3" fmla="*/ 2831910 h 5049330"/>
                <a:gd name="connsiteX4" fmla="*/ 8229 w 10189028"/>
                <a:gd name="connsiteY4" fmla="*/ 2466150 h 5049330"/>
                <a:gd name="connsiteX5" fmla="*/ 38709 w 10189028"/>
                <a:gd name="connsiteY5" fmla="*/ 2306130 h 5049330"/>
                <a:gd name="connsiteX6" fmla="*/ 343509 w 10189028"/>
                <a:gd name="connsiteY6" fmla="*/ 2108010 h 5049330"/>
                <a:gd name="connsiteX7" fmla="*/ 526389 w 10189028"/>
                <a:gd name="connsiteY7" fmla="*/ 1963230 h 5049330"/>
                <a:gd name="connsiteX8" fmla="*/ 762609 w 10189028"/>
                <a:gd name="connsiteY8" fmla="*/ 1787970 h 5049330"/>
                <a:gd name="connsiteX9" fmla="*/ 1494129 w 10189028"/>
                <a:gd name="connsiteY9" fmla="*/ 1231710 h 5049330"/>
                <a:gd name="connsiteX10" fmla="*/ 2263749 w 10189028"/>
                <a:gd name="connsiteY10" fmla="*/ 736410 h 5049330"/>
                <a:gd name="connsiteX11" fmla="*/ 2896209 w 10189028"/>
                <a:gd name="connsiteY11" fmla="*/ 393510 h 5049330"/>
                <a:gd name="connsiteX12" fmla="*/ 3810609 w 10189028"/>
                <a:gd name="connsiteY12" fmla="*/ 149670 h 5049330"/>
                <a:gd name="connsiteX13" fmla="*/ 5288889 w 10189028"/>
                <a:gd name="connsiteY13" fmla="*/ 20130 h 5049330"/>
                <a:gd name="connsiteX14" fmla="*/ 6203289 w 10189028"/>
                <a:gd name="connsiteY14" fmla="*/ 4890 h 5049330"/>
                <a:gd name="connsiteX15" fmla="*/ 7399629 w 10189028"/>
                <a:gd name="connsiteY15" fmla="*/ 65850 h 5049330"/>
                <a:gd name="connsiteX16" fmla="*/ 8474049 w 10189028"/>
                <a:gd name="connsiteY16" fmla="*/ 157290 h 5049330"/>
                <a:gd name="connsiteX17" fmla="*/ 9159849 w 10189028"/>
                <a:gd name="connsiteY17" fmla="*/ 302070 h 5049330"/>
                <a:gd name="connsiteX18" fmla="*/ 9723729 w 10189028"/>
                <a:gd name="connsiteY18" fmla="*/ 454470 h 5049330"/>
                <a:gd name="connsiteX19" fmla="*/ 10059009 w 10189028"/>
                <a:gd name="connsiteY19" fmla="*/ 660210 h 5049330"/>
                <a:gd name="connsiteX20" fmla="*/ 10173309 w 10189028"/>
                <a:gd name="connsiteY20" fmla="*/ 896430 h 5049330"/>
                <a:gd name="connsiteX21" fmla="*/ 10165689 w 10189028"/>
                <a:gd name="connsiteY21" fmla="*/ 1071690 h 5049330"/>
                <a:gd name="connsiteX22" fmla="*/ 9967569 w 10189028"/>
                <a:gd name="connsiteY22" fmla="*/ 1475550 h 5049330"/>
                <a:gd name="connsiteX23" fmla="*/ 9472269 w 10189028"/>
                <a:gd name="connsiteY23" fmla="*/ 2077530 h 5049330"/>
                <a:gd name="connsiteX24" fmla="*/ 8954109 w 10189028"/>
                <a:gd name="connsiteY24" fmla="*/ 2740470 h 5049330"/>
                <a:gd name="connsiteX25" fmla="*/ 8367369 w 10189028"/>
                <a:gd name="connsiteY25" fmla="*/ 3525330 h 5049330"/>
                <a:gd name="connsiteX26" fmla="*/ 7826349 w 10189028"/>
                <a:gd name="connsiteY26" fmla="*/ 4317810 h 5049330"/>
                <a:gd name="connsiteX27" fmla="*/ 7498689 w 10189028"/>
                <a:gd name="connsiteY27" fmla="*/ 4790250 h 5049330"/>
                <a:gd name="connsiteX0" fmla="*/ 160629 w 10168501"/>
                <a:gd name="connsiteY0" fmla="*/ 5049330 h 5049330"/>
                <a:gd name="connsiteX1" fmla="*/ 69189 w 10168501"/>
                <a:gd name="connsiteY1" fmla="*/ 4775010 h 5049330"/>
                <a:gd name="connsiteX2" fmla="*/ 8229 w 10168501"/>
                <a:gd name="connsiteY2" fmla="*/ 3883470 h 5049330"/>
                <a:gd name="connsiteX3" fmla="*/ 609 w 10168501"/>
                <a:gd name="connsiteY3" fmla="*/ 2831910 h 5049330"/>
                <a:gd name="connsiteX4" fmla="*/ 8229 w 10168501"/>
                <a:gd name="connsiteY4" fmla="*/ 2466150 h 5049330"/>
                <a:gd name="connsiteX5" fmla="*/ 38709 w 10168501"/>
                <a:gd name="connsiteY5" fmla="*/ 2306130 h 5049330"/>
                <a:gd name="connsiteX6" fmla="*/ 343509 w 10168501"/>
                <a:gd name="connsiteY6" fmla="*/ 2108010 h 5049330"/>
                <a:gd name="connsiteX7" fmla="*/ 526389 w 10168501"/>
                <a:gd name="connsiteY7" fmla="*/ 1963230 h 5049330"/>
                <a:gd name="connsiteX8" fmla="*/ 762609 w 10168501"/>
                <a:gd name="connsiteY8" fmla="*/ 1787970 h 5049330"/>
                <a:gd name="connsiteX9" fmla="*/ 1494129 w 10168501"/>
                <a:gd name="connsiteY9" fmla="*/ 1231710 h 5049330"/>
                <a:gd name="connsiteX10" fmla="*/ 2263749 w 10168501"/>
                <a:gd name="connsiteY10" fmla="*/ 736410 h 5049330"/>
                <a:gd name="connsiteX11" fmla="*/ 2896209 w 10168501"/>
                <a:gd name="connsiteY11" fmla="*/ 393510 h 5049330"/>
                <a:gd name="connsiteX12" fmla="*/ 3810609 w 10168501"/>
                <a:gd name="connsiteY12" fmla="*/ 149670 h 5049330"/>
                <a:gd name="connsiteX13" fmla="*/ 5288889 w 10168501"/>
                <a:gd name="connsiteY13" fmla="*/ 20130 h 5049330"/>
                <a:gd name="connsiteX14" fmla="*/ 6203289 w 10168501"/>
                <a:gd name="connsiteY14" fmla="*/ 4890 h 5049330"/>
                <a:gd name="connsiteX15" fmla="*/ 7399629 w 10168501"/>
                <a:gd name="connsiteY15" fmla="*/ 65850 h 5049330"/>
                <a:gd name="connsiteX16" fmla="*/ 8474049 w 10168501"/>
                <a:gd name="connsiteY16" fmla="*/ 157290 h 5049330"/>
                <a:gd name="connsiteX17" fmla="*/ 9159849 w 10168501"/>
                <a:gd name="connsiteY17" fmla="*/ 302070 h 5049330"/>
                <a:gd name="connsiteX18" fmla="*/ 9723729 w 10168501"/>
                <a:gd name="connsiteY18" fmla="*/ 454470 h 5049330"/>
                <a:gd name="connsiteX19" fmla="*/ 10059009 w 10168501"/>
                <a:gd name="connsiteY19" fmla="*/ 660210 h 5049330"/>
                <a:gd name="connsiteX20" fmla="*/ 10165689 w 10168501"/>
                <a:gd name="connsiteY20" fmla="*/ 1071690 h 5049330"/>
                <a:gd name="connsiteX21" fmla="*/ 9967569 w 10168501"/>
                <a:gd name="connsiteY21" fmla="*/ 1475550 h 5049330"/>
                <a:gd name="connsiteX22" fmla="*/ 9472269 w 10168501"/>
                <a:gd name="connsiteY22" fmla="*/ 2077530 h 5049330"/>
                <a:gd name="connsiteX23" fmla="*/ 8954109 w 10168501"/>
                <a:gd name="connsiteY23" fmla="*/ 2740470 h 5049330"/>
                <a:gd name="connsiteX24" fmla="*/ 8367369 w 10168501"/>
                <a:gd name="connsiteY24" fmla="*/ 3525330 h 5049330"/>
                <a:gd name="connsiteX25" fmla="*/ 7826349 w 10168501"/>
                <a:gd name="connsiteY25" fmla="*/ 4317810 h 5049330"/>
                <a:gd name="connsiteX26" fmla="*/ 7498689 w 10168501"/>
                <a:gd name="connsiteY26" fmla="*/ 4790250 h 5049330"/>
                <a:gd name="connsiteX0" fmla="*/ 160629 w 10181816"/>
                <a:gd name="connsiteY0" fmla="*/ 5049330 h 5049330"/>
                <a:gd name="connsiteX1" fmla="*/ 69189 w 10181816"/>
                <a:gd name="connsiteY1" fmla="*/ 4775010 h 5049330"/>
                <a:gd name="connsiteX2" fmla="*/ 8229 w 10181816"/>
                <a:gd name="connsiteY2" fmla="*/ 3883470 h 5049330"/>
                <a:gd name="connsiteX3" fmla="*/ 609 w 10181816"/>
                <a:gd name="connsiteY3" fmla="*/ 2831910 h 5049330"/>
                <a:gd name="connsiteX4" fmla="*/ 8229 w 10181816"/>
                <a:gd name="connsiteY4" fmla="*/ 2466150 h 5049330"/>
                <a:gd name="connsiteX5" fmla="*/ 38709 w 10181816"/>
                <a:gd name="connsiteY5" fmla="*/ 2306130 h 5049330"/>
                <a:gd name="connsiteX6" fmla="*/ 343509 w 10181816"/>
                <a:gd name="connsiteY6" fmla="*/ 2108010 h 5049330"/>
                <a:gd name="connsiteX7" fmla="*/ 526389 w 10181816"/>
                <a:gd name="connsiteY7" fmla="*/ 1963230 h 5049330"/>
                <a:gd name="connsiteX8" fmla="*/ 762609 w 10181816"/>
                <a:gd name="connsiteY8" fmla="*/ 1787970 h 5049330"/>
                <a:gd name="connsiteX9" fmla="*/ 1494129 w 10181816"/>
                <a:gd name="connsiteY9" fmla="*/ 1231710 h 5049330"/>
                <a:gd name="connsiteX10" fmla="*/ 2263749 w 10181816"/>
                <a:gd name="connsiteY10" fmla="*/ 736410 h 5049330"/>
                <a:gd name="connsiteX11" fmla="*/ 2896209 w 10181816"/>
                <a:gd name="connsiteY11" fmla="*/ 393510 h 5049330"/>
                <a:gd name="connsiteX12" fmla="*/ 3810609 w 10181816"/>
                <a:gd name="connsiteY12" fmla="*/ 149670 h 5049330"/>
                <a:gd name="connsiteX13" fmla="*/ 5288889 w 10181816"/>
                <a:gd name="connsiteY13" fmla="*/ 20130 h 5049330"/>
                <a:gd name="connsiteX14" fmla="*/ 6203289 w 10181816"/>
                <a:gd name="connsiteY14" fmla="*/ 4890 h 5049330"/>
                <a:gd name="connsiteX15" fmla="*/ 7399629 w 10181816"/>
                <a:gd name="connsiteY15" fmla="*/ 65850 h 5049330"/>
                <a:gd name="connsiteX16" fmla="*/ 8474049 w 10181816"/>
                <a:gd name="connsiteY16" fmla="*/ 157290 h 5049330"/>
                <a:gd name="connsiteX17" fmla="*/ 9159849 w 10181816"/>
                <a:gd name="connsiteY17" fmla="*/ 302070 h 5049330"/>
                <a:gd name="connsiteX18" fmla="*/ 9723729 w 10181816"/>
                <a:gd name="connsiteY18" fmla="*/ 454470 h 5049330"/>
                <a:gd name="connsiteX19" fmla="*/ 10119969 w 10181816"/>
                <a:gd name="connsiteY19" fmla="*/ 713550 h 5049330"/>
                <a:gd name="connsiteX20" fmla="*/ 10165689 w 10181816"/>
                <a:gd name="connsiteY20" fmla="*/ 1071690 h 5049330"/>
                <a:gd name="connsiteX21" fmla="*/ 9967569 w 10181816"/>
                <a:gd name="connsiteY21" fmla="*/ 1475550 h 5049330"/>
                <a:gd name="connsiteX22" fmla="*/ 9472269 w 10181816"/>
                <a:gd name="connsiteY22" fmla="*/ 2077530 h 5049330"/>
                <a:gd name="connsiteX23" fmla="*/ 8954109 w 10181816"/>
                <a:gd name="connsiteY23" fmla="*/ 2740470 h 5049330"/>
                <a:gd name="connsiteX24" fmla="*/ 8367369 w 10181816"/>
                <a:gd name="connsiteY24" fmla="*/ 3525330 h 5049330"/>
                <a:gd name="connsiteX25" fmla="*/ 7826349 w 10181816"/>
                <a:gd name="connsiteY25" fmla="*/ 4317810 h 5049330"/>
                <a:gd name="connsiteX26" fmla="*/ 7498689 w 10181816"/>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5447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4471"/>
                <a:gd name="connsiteY0" fmla="*/ 5049330 h 5049330"/>
                <a:gd name="connsiteX1" fmla="*/ 69189 w 10174471"/>
                <a:gd name="connsiteY1" fmla="*/ 4775010 h 5049330"/>
                <a:gd name="connsiteX2" fmla="*/ 8229 w 10174471"/>
                <a:gd name="connsiteY2" fmla="*/ 3883470 h 5049330"/>
                <a:gd name="connsiteX3" fmla="*/ 609 w 10174471"/>
                <a:gd name="connsiteY3" fmla="*/ 2831910 h 5049330"/>
                <a:gd name="connsiteX4" fmla="*/ 8229 w 10174471"/>
                <a:gd name="connsiteY4" fmla="*/ 2466150 h 5049330"/>
                <a:gd name="connsiteX5" fmla="*/ 38709 w 10174471"/>
                <a:gd name="connsiteY5" fmla="*/ 2306130 h 5049330"/>
                <a:gd name="connsiteX6" fmla="*/ 343509 w 10174471"/>
                <a:gd name="connsiteY6" fmla="*/ 2108010 h 5049330"/>
                <a:gd name="connsiteX7" fmla="*/ 526389 w 10174471"/>
                <a:gd name="connsiteY7" fmla="*/ 1963230 h 5049330"/>
                <a:gd name="connsiteX8" fmla="*/ 762609 w 10174471"/>
                <a:gd name="connsiteY8" fmla="*/ 1787970 h 5049330"/>
                <a:gd name="connsiteX9" fmla="*/ 1494129 w 10174471"/>
                <a:gd name="connsiteY9" fmla="*/ 1231710 h 5049330"/>
                <a:gd name="connsiteX10" fmla="*/ 2263749 w 10174471"/>
                <a:gd name="connsiteY10" fmla="*/ 736410 h 5049330"/>
                <a:gd name="connsiteX11" fmla="*/ 2896209 w 10174471"/>
                <a:gd name="connsiteY11" fmla="*/ 393510 h 5049330"/>
                <a:gd name="connsiteX12" fmla="*/ 3810609 w 10174471"/>
                <a:gd name="connsiteY12" fmla="*/ 149670 h 5049330"/>
                <a:gd name="connsiteX13" fmla="*/ 5288889 w 10174471"/>
                <a:gd name="connsiteY13" fmla="*/ 20130 h 5049330"/>
                <a:gd name="connsiteX14" fmla="*/ 6203289 w 10174471"/>
                <a:gd name="connsiteY14" fmla="*/ 4890 h 5049330"/>
                <a:gd name="connsiteX15" fmla="*/ 7399629 w 10174471"/>
                <a:gd name="connsiteY15" fmla="*/ 65850 h 5049330"/>
                <a:gd name="connsiteX16" fmla="*/ 8474049 w 10174471"/>
                <a:gd name="connsiteY16" fmla="*/ 157290 h 5049330"/>
                <a:gd name="connsiteX17" fmla="*/ 9159849 w 10174471"/>
                <a:gd name="connsiteY17" fmla="*/ 302070 h 5049330"/>
                <a:gd name="connsiteX18" fmla="*/ 9723729 w 10174471"/>
                <a:gd name="connsiteY18" fmla="*/ 477330 h 5049330"/>
                <a:gd name="connsiteX19" fmla="*/ 10097109 w 10174471"/>
                <a:gd name="connsiteY19" fmla="*/ 721170 h 5049330"/>
                <a:gd name="connsiteX20" fmla="*/ 10165689 w 10174471"/>
                <a:gd name="connsiteY20" fmla="*/ 1071690 h 5049330"/>
                <a:gd name="connsiteX21" fmla="*/ 9967569 w 10174471"/>
                <a:gd name="connsiteY21" fmla="*/ 1475550 h 5049330"/>
                <a:gd name="connsiteX22" fmla="*/ 9472269 w 10174471"/>
                <a:gd name="connsiteY22" fmla="*/ 2077530 h 5049330"/>
                <a:gd name="connsiteX23" fmla="*/ 8954109 w 10174471"/>
                <a:gd name="connsiteY23" fmla="*/ 2740470 h 5049330"/>
                <a:gd name="connsiteX24" fmla="*/ 8367369 w 10174471"/>
                <a:gd name="connsiteY24" fmla="*/ 3525330 h 5049330"/>
                <a:gd name="connsiteX25" fmla="*/ 7826349 w 10174471"/>
                <a:gd name="connsiteY25" fmla="*/ 4317810 h 5049330"/>
                <a:gd name="connsiteX26" fmla="*/ 7498689 w 10174471"/>
                <a:gd name="connsiteY26" fmla="*/ 4790250 h 5049330"/>
                <a:gd name="connsiteX0" fmla="*/ 160629 w 10173904"/>
                <a:gd name="connsiteY0" fmla="*/ 5049330 h 5049330"/>
                <a:gd name="connsiteX1" fmla="*/ 69189 w 10173904"/>
                <a:gd name="connsiteY1" fmla="*/ 4775010 h 5049330"/>
                <a:gd name="connsiteX2" fmla="*/ 8229 w 10173904"/>
                <a:gd name="connsiteY2" fmla="*/ 3883470 h 5049330"/>
                <a:gd name="connsiteX3" fmla="*/ 609 w 10173904"/>
                <a:gd name="connsiteY3" fmla="*/ 2831910 h 5049330"/>
                <a:gd name="connsiteX4" fmla="*/ 8229 w 10173904"/>
                <a:gd name="connsiteY4" fmla="*/ 2466150 h 5049330"/>
                <a:gd name="connsiteX5" fmla="*/ 38709 w 10173904"/>
                <a:gd name="connsiteY5" fmla="*/ 2306130 h 5049330"/>
                <a:gd name="connsiteX6" fmla="*/ 343509 w 10173904"/>
                <a:gd name="connsiteY6" fmla="*/ 2108010 h 5049330"/>
                <a:gd name="connsiteX7" fmla="*/ 526389 w 10173904"/>
                <a:gd name="connsiteY7" fmla="*/ 1963230 h 5049330"/>
                <a:gd name="connsiteX8" fmla="*/ 762609 w 10173904"/>
                <a:gd name="connsiteY8" fmla="*/ 1787970 h 5049330"/>
                <a:gd name="connsiteX9" fmla="*/ 1494129 w 10173904"/>
                <a:gd name="connsiteY9" fmla="*/ 1231710 h 5049330"/>
                <a:gd name="connsiteX10" fmla="*/ 2263749 w 10173904"/>
                <a:gd name="connsiteY10" fmla="*/ 736410 h 5049330"/>
                <a:gd name="connsiteX11" fmla="*/ 2896209 w 10173904"/>
                <a:gd name="connsiteY11" fmla="*/ 393510 h 5049330"/>
                <a:gd name="connsiteX12" fmla="*/ 3810609 w 10173904"/>
                <a:gd name="connsiteY12" fmla="*/ 149670 h 5049330"/>
                <a:gd name="connsiteX13" fmla="*/ 5288889 w 10173904"/>
                <a:gd name="connsiteY13" fmla="*/ 20130 h 5049330"/>
                <a:gd name="connsiteX14" fmla="*/ 6203289 w 10173904"/>
                <a:gd name="connsiteY14" fmla="*/ 4890 h 5049330"/>
                <a:gd name="connsiteX15" fmla="*/ 7399629 w 10173904"/>
                <a:gd name="connsiteY15" fmla="*/ 65850 h 5049330"/>
                <a:gd name="connsiteX16" fmla="*/ 8474049 w 10173904"/>
                <a:gd name="connsiteY16" fmla="*/ 157290 h 5049330"/>
                <a:gd name="connsiteX17" fmla="*/ 9159849 w 10173904"/>
                <a:gd name="connsiteY17" fmla="*/ 302070 h 5049330"/>
                <a:gd name="connsiteX18" fmla="*/ 9746589 w 10173904"/>
                <a:gd name="connsiteY18" fmla="*/ 469710 h 5049330"/>
                <a:gd name="connsiteX19" fmla="*/ 10097109 w 10173904"/>
                <a:gd name="connsiteY19" fmla="*/ 721170 h 5049330"/>
                <a:gd name="connsiteX20" fmla="*/ 10165689 w 10173904"/>
                <a:gd name="connsiteY20" fmla="*/ 1071690 h 5049330"/>
                <a:gd name="connsiteX21" fmla="*/ 9967569 w 10173904"/>
                <a:gd name="connsiteY21" fmla="*/ 1475550 h 5049330"/>
                <a:gd name="connsiteX22" fmla="*/ 9472269 w 10173904"/>
                <a:gd name="connsiteY22" fmla="*/ 2077530 h 5049330"/>
                <a:gd name="connsiteX23" fmla="*/ 8954109 w 10173904"/>
                <a:gd name="connsiteY23" fmla="*/ 2740470 h 5049330"/>
                <a:gd name="connsiteX24" fmla="*/ 8367369 w 10173904"/>
                <a:gd name="connsiteY24" fmla="*/ 3525330 h 5049330"/>
                <a:gd name="connsiteX25" fmla="*/ 7826349 w 10173904"/>
                <a:gd name="connsiteY25" fmla="*/ 4317810 h 5049330"/>
                <a:gd name="connsiteX26" fmla="*/ 7498689 w 10173904"/>
                <a:gd name="connsiteY26" fmla="*/ 4790250 h 504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173904" h="5049330">
                  <a:moveTo>
                    <a:pt x="160629" y="5049330"/>
                  </a:moveTo>
                  <a:cubicBezTo>
                    <a:pt x="127609" y="5009325"/>
                    <a:pt x="94589" y="4969320"/>
                    <a:pt x="69189" y="4775010"/>
                  </a:cubicBezTo>
                  <a:cubicBezTo>
                    <a:pt x="43789" y="4580700"/>
                    <a:pt x="19659" y="4207320"/>
                    <a:pt x="8229" y="3883470"/>
                  </a:cubicBezTo>
                  <a:cubicBezTo>
                    <a:pt x="-3201" y="3559620"/>
                    <a:pt x="609" y="3068130"/>
                    <a:pt x="609" y="2831910"/>
                  </a:cubicBezTo>
                  <a:cubicBezTo>
                    <a:pt x="609" y="2595690"/>
                    <a:pt x="1879" y="2553780"/>
                    <a:pt x="8229" y="2466150"/>
                  </a:cubicBezTo>
                  <a:cubicBezTo>
                    <a:pt x="14579" y="2378520"/>
                    <a:pt x="-17171" y="2365820"/>
                    <a:pt x="38709" y="2306130"/>
                  </a:cubicBezTo>
                  <a:cubicBezTo>
                    <a:pt x="94589" y="2246440"/>
                    <a:pt x="262229" y="2165160"/>
                    <a:pt x="343509" y="2108010"/>
                  </a:cubicBezTo>
                  <a:cubicBezTo>
                    <a:pt x="424789" y="2050860"/>
                    <a:pt x="456539" y="2016570"/>
                    <a:pt x="526389" y="1963230"/>
                  </a:cubicBezTo>
                  <a:cubicBezTo>
                    <a:pt x="596239" y="1909890"/>
                    <a:pt x="762609" y="1787970"/>
                    <a:pt x="762609" y="1787970"/>
                  </a:cubicBezTo>
                  <a:cubicBezTo>
                    <a:pt x="923899" y="1666050"/>
                    <a:pt x="1243939" y="1406970"/>
                    <a:pt x="1494129" y="1231710"/>
                  </a:cubicBezTo>
                  <a:cubicBezTo>
                    <a:pt x="1744319" y="1056450"/>
                    <a:pt x="2030069" y="876110"/>
                    <a:pt x="2263749" y="736410"/>
                  </a:cubicBezTo>
                  <a:cubicBezTo>
                    <a:pt x="2497429" y="596710"/>
                    <a:pt x="2638399" y="491300"/>
                    <a:pt x="2896209" y="393510"/>
                  </a:cubicBezTo>
                  <a:cubicBezTo>
                    <a:pt x="3154019" y="295720"/>
                    <a:pt x="3411829" y="211900"/>
                    <a:pt x="3810609" y="149670"/>
                  </a:cubicBezTo>
                  <a:cubicBezTo>
                    <a:pt x="4209389" y="87440"/>
                    <a:pt x="4890109" y="44260"/>
                    <a:pt x="5288889" y="20130"/>
                  </a:cubicBezTo>
                  <a:cubicBezTo>
                    <a:pt x="5687669" y="-4000"/>
                    <a:pt x="5851499" y="-2730"/>
                    <a:pt x="6203289" y="4890"/>
                  </a:cubicBezTo>
                  <a:cubicBezTo>
                    <a:pt x="6555079" y="12510"/>
                    <a:pt x="7021169" y="40450"/>
                    <a:pt x="7399629" y="65850"/>
                  </a:cubicBezTo>
                  <a:cubicBezTo>
                    <a:pt x="7778089" y="91250"/>
                    <a:pt x="8180679" y="117920"/>
                    <a:pt x="8474049" y="157290"/>
                  </a:cubicBezTo>
                  <a:cubicBezTo>
                    <a:pt x="8767419" y="196660"/>
                    <a:pt x="8947759" y="250000"/>
                    <a:pt x="9159849" y="302070"/>
                  </a:cubicBezTo>
                  <a:cubicBezTo>
                    <a:pt x="9371939" y="354140"/>
                    <a:pt x="9590379" y="399860"/>
                    <a:pt x="9746589" y="469710"/>
                  </a:cubicBezTo>
                  <a:cubicBezTo>
                    <a:pt x="9902799" y="539560"/>
                    <a:pt x="10027259" y="620840"/>
                    <a:pt x="10097109" y="721170"/>
                  </a:cubicBezTo>
                  <a:cubicBezTo>
                    <a:pt x="10166959" y="821500"/>
                    <a:pt x="10187279" y="945960"/>
                    <a:pt x="10165689" y="1071690"/>
                  </a:cubicBezTo>
                  <a:cubicBezTo>
                    <a:pt x="10144099" y="1197420"/>
                    <a:pt x="10083139" y="1307910"/>
                    <a:pt x="9967569" y="1475550"/>
                  </a:cubicBezTo>
                  <a:cubicBezTo>
                    <a:pt x="9851999" y="1643190"/>
                    <a:pt x="9641179" y="1866710"/>
                    <a:pt x="9472269" y="2077530"/>
                  </a:cubicBezTo>
                  <a:cubicBezTo>
                    <a:pt x="9303359" y="2288350"/>
                    <a:pt x="9138259" y="2499170"/>
                    <a:pt x="8954109" y="2740470"/>
                  </a:cubicBezTo>
                  <a:cubicBezTo>
                    <a:pt x="8769959" y="2981770"/>
                    <a:pt x="8555329" y="3262440"/>
                    <a:pt x="8367369" y="3525330"/>
                  </a:cubicBezTo>
                  <a:cubicBezTo>
                    <a:pt x="8179409" y="3788220"/>
                    <a:pt x="7971129" y="4106990"/>
                    <a:pt x="7826349" y="4317810"/>
                  </a:cubicBezTo>
                  <a:cubicBezTo>
                    <a:pt x="7681569" y="4528630"/>
                    <a:pt x="7592034" y="4660075"/>
                    <a:pt x="7498689" y="479025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63" name="Freeform: Shape 362"/>
            <p:cNvSpPr/>
            <p:nvPr/>
          </p:nvSpPr>
          <p:spPr bwMode="auto">
            <a:xfrm>
              <a:off x="7490144" y="2231053"/>
              <a:ext cx="452609" cy="10287"/>
            </a:xfrm>
            <a:custGeom>
              <a:avLst/>
              <a:gdLst>
                <a:gd name="connsiteX0" fmla="*/ 0 w 1341120"/>
                <a:gd name="connsiteY0" fmla="*/ 30480 h 30480"/>
                <a:gd name="connsiteX1" fmla="*/ 1341120 w 1341120"/>
                <a:gd name="connsiteY1" fmla="*/ 0 h 30480"/>
              </a:gdLst>
              <a:ahLst/>
              <a:cxnLst>
                <a:cxn ang="0">
                  <a:pos x="connsiteX0" y="connsiteY0"/>
                </a:cxn>
                <a:cxn ang="0">
                  <a:pos x="connsiteX1" y="connsiteY1"/>
                </a:cxn>
              </a:cxnLst>
              <a:rect l="l" t="t" r="r" b="b"/>
              <a:pathLst>
                <a:path w="1341120" h="30480">
                  <a:moveTo>
                    <a:pt x="0" y="30480"/>
                  </a:moveTo>
                  <a:lnTo>
                    <a:pt x="1341120"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64" name="Freeform: Shape 363"/>
            <p:cNvSpPr/>
            <p:nvPr/>
          </p:nvSpPr>
          <p:spPr bwMode="auto">
            <a:xfrm>
              <a:off x="6635501" y="1727011"/>
              <a:ext cx="1366740" cy="495470"/>
            </a:xfrm>
            <a:custGeom>
              <a:avLst/>
              <a:gdLst>
                <a:gd name="connsiteX0" fmla="*/ 0 w 4054145"/>
                <a:gd name="connsiteY0" fmla="*/ 0 h 1468120"/>
                <a:gd name="connsiteX1" fmla="*/ 772160 w 4054145"/>
                <a:gd name="connsiteY1" fmla="*/ 30480 h 1468120"/>
                <a:gd name="connsiteX2" fmla="*/ 1945640 w 4054145"/>
                <a:gd name="connsiteY2" fmla="*/ 111760 h 1468120"/>
                <a:gd name="connsiteX3" fmla="*/ 3058160 w 4054145"/>
                <a:gd name="connsiteY3" fmla="*/ 294640 h 1468120"/>
                <a:gd name="connsiteX4" fmla="*/ 3825240 w 4054145"/>
                <a:gd name="connsiteY4" fmla="*/ 533400 h 1468120"/>
                <a:gd name="connsiteX5" fmla="*/ 4043680 w 4054145"/>
                <a:gd name="connsiteY5" fmla="*/ 711200 h 1468120"/>
                <a:gd name="connsiteX6" fmla="*/ 3987800 w 4054145"/>
                <a:gd name="connsiteY6" fmla="*/ 1071880 h 1468120"/>
                <a:gd name="connsiteX7" fmla="*/ 3713480 w 4054145"/>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9857"/>
                <a:gd name="connsiteY0" fmla="*/ 0 h 1468120"/>
                <a:gd name="connsiteX1" fmla="*/ 772160 w 4049857"/>
                <a:gd name="connsiteY1" fmla="*/ 30480 h 1468120"/>
                <a:gd name="connsiteX2" fmla="*/ 1945640 w 4049857"/>
                <a:gd name="connsiteY2" fmla="*/ 111760 h 1468120"/>
                <a:gd name="connsiteX3" fmla="*/ 3058160 w 4049857"/>
                <a:gd name="connsiteY3" fmla="*/ 294640 h 1468120"/>
                <a:gd name="connsiteX4" fmla="*/ 3825240 w 4049857"/>
                <a:gd name="connsiteY4" fmla="*/ 533400 h 1468120"/>
                <a:gd name="connsiteX5" fmla="*/ 4038600 w 4049857"/>
                <a:gd name="connsiteY5" fmla="*/ 751840 h 1468120"/>
                <a:gd name="connsiteX6" fmla="*/ 3987800 w 4049857"/>
                <a:gd name="connsiteY6" fmla="*/ 1071880 h 1468120"/>
                <a:gd name="connsiteX7" fmla="*/ 3713480 w 4049857"/>
                <a:gd name="connsiteY7" fmla="*/ 1468120 h 1468120"/>
                <a:gd name="connsiteX0" fmla="*/ 0 w 4047431"/>
                <a:gd name="connsiteY0" fmla="*/ 0 h 1468120"/>
                <a:gd name="connsiteX1" fmla="*/ 772160 w 4047431"/>
                <a:gd name="connsiteY1" fmla="*/ 30480 h 1468120"/>
                <a:gd name="connsiteX2" fmla="*/ 1945640 w 4047431"/>
                <a:gd name="connsiteY2" fmla="*/ 111760 h 1468120"/>
                <a:gd name="connsiteX3" fmla="*/ 3058160 w 4047431"/>
                <a:gd name="connsiteY3" fmla="*/ 294640 h 1468120"/>
                <a:gd name="connsiteX4" fmla="*/ 3825240 w 4047431"/>
                <a:gd name="connsiteY4" fmla="*/ 533400 h 1468120"/>
                <a:gd name="connsiteX5" fmla="*/ 4038600 w 4047431"/>
                <a:gd name="connsiteY5" fmla="*/ 751840 h 1468120"/>
                <a:gd name="connsiteX6" fmla="*/ 3977640 w 4047431"/>
                <a:gd name="connsiteY6" fmla="*/ 1066800 h 1468120"/>
                <a:gd name="connsiteX7" fmla="*/ 3713480 w 4047431"/>
                <a:gd name="connsiteY7" fmla="*/ 1468120 h 1468120"/>
                <a:gd name="connsiteX0" fmla="*/ 0 w 4049769"/>
                <a:gd name="connsiteY0" fmla="*/ 0 h 1468120"/>
                <a:gd name="connsiteX1" fmla="*/ 772160 w 4049769"/>
                <a:gd name="connsiteY1" fmla="*/ 30480 h 1468120"/>
                <a:gd name="connsiteX2" fmla="*/ 1945640 w 4049769"/>
                <a:gd name="connsiteY2" fmla="*/ 111760 h 1468120"/>
                <a:gd name="connsiteX3" fmla="*/ 3058160 w 4049769"/>
                <a:gd name="connsiteY3" fmla="*/ 294640 h 1468120"/>
                <a:gd name="connsiteX4" fmla="*/ 3825240 w 4049769"/>
                <a:gd name="connsiteY4" fmla="*/ 533400 h 1468120"/>
                <a:gd name="connsiteX5" fmla="*/ 4038600 w 4049769"/>
                <a:gd name="connsiteY5" fmla="*/ 751840 h 1468120"/>
                <a:gd name="connsiteX6" fmla="*/ 3977640 w 4049769"/>
                <a:gd name="connsiteY6" fmla="*/ 1066800 h 1468120"/>
                <a:gd name="connsiteX7" fmla="*/ 3713480 w 4049769"/>
                <a:gd name="connsiteY7"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9769" h="1468120">
                  <a:moveTo>
                    <a:pt x="0" y="0"/>
                  </a:moveTo>
                  <a:cubicBezTo>
                    <a:pt x="223943" y="5926"/>
                    <a:pt x="447887" y="11853"/>
                    <a:pt x="772160" y="30480"/>
                  </a:cubicBezTo>
                  <a:cubicBezTo>
                    <a:pt x="1096433" y="49107"/>
                    <a:pt x="1564640" y="67733"/>
                    <a:pt x="1945640" y="111760"/>
                  </a:cubicBezTo>
                  <a:cubicBezTo>
                    <a:pt x="2326640" y="155787"/>
                    <a:pt x="2744893" y="224367"/>
                    <a:pt x="3058160" y="294640"/>
                  </a:cubicBezTo>
                  <a:cubicBezTo>
                    <a:pt x="3371427" y="364913"/>
                    <a:pt x="3666913" y="436880"/>
                    <a:pt x="3825240" y="533400"/>
                  </a:cubicBezTo>
                  <a:cubicBezTo>
                    <a:pt x="3983567" y="629920"/>
                    <a:pt x="4013200" y="662940"/>
                    <a:pt x="4038600" y="751840"/>
                  </a:cubicBezTo>
                  <a:cubicBezTo>
                    <a:pt x="4064000" y="840740"/>
                    <a:pt x="4047067" y="952500"/>
                    <a:pt x="3977640" y="1066800"/>
                  </a:cubicBezTo>
                  <a:cubicBezTo>
                    <a:pt x="3908213" y="1181100"/>
                    <a:pt x="3823123" y="1333076"/>
                    <a:pt x="3713480" y="146812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65" name="Freeform: Shape 364"/>
            <p:cNvSpPr/>
            <p:nvPr/>
          </p:nvSpPr>
          <p:spPr bwMode="auto">
            <a:xfrm>
              <a:off x="6539493" y="1723583"/>
              <a:ext cx="97722" cy="545188"/>
            </a:xfrm>
            <a:custGeom>
              <a:avLst/>
              <a:gdLst>
                <a:gd name="connsiteX0" fmla="*/ 289560 w 289560"/>
                <a:gd name="connsiteY0" fmla="*/ 0 h 1615440"/>
                <a:gd name="connsiteX1" fmla="*/ 0 w 289560"/>
                <a:gd name="connsiteY1" fmla="*/ 1615440 h 1615440"/>
              </a:gdLst>
              <a:ahLst/>
              <a:cxnLst>
                <a:cxn ang="0">
                  <a:pos x="connsiteX0" y="connsiteY0"/>
                </a:cxn>
                <a:cxn ang="0">
                  <a:pos x="connsiteX1" y="connsiteY1"/>
                </a:cxn>
              </a:cxnLst>
              <a:rect l="l" t="t" r="r" b="b"/>
              <a:pathLst>
                <a:path w="289560" h="1615440">
                  <a:moveTo>
                    <a:pt x="289560" y="0"/>
                  </a:moveTo>
                  <a:lnTo>
                    <a:pt x="0" y="161544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66" name="Freeform: Shape 365"/>
            <p:cNvSpPr/>
            <p:nvPr/>
          </p:nvSpPr>
          <p:spPr bwMode="auto">
            <a:xfrm>
              <a:off x="6254417" y="1688671"/>
              <a:ext cx="295207" cy="1673905"/>
            </a:xfrm>
            <a:custGeom>
              <a:avLst/>
              <a:gdLst>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1995054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59527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 name="connsiteX0" fmla="*/ 874723 w 874723"/>
                <a:gd name="connsiteY0" fmla="*/ 0 h 4959927"/>
                <a:gd name="connsiteX1" fmla="*/ 486796 w 874723"/>
                <a:gd name="connsiteY1" fmla="*/ 1524000 h 4959927"/>
                <a:gd name="connsiteX2" fmla="*/ 417523 w 874723"/>
                <a:gd name="connsiteY2" fmla="*/ 1773381 h 4959927"/>
                <a:gd name="connsiteX3" fmla="*/ 251269 w 874723"/>
                <a:gd name="connsiteY3" fmla="*/ 2015836 h 4959927"/>
                <a:gd name="connsiteX4" fmla="*/ 168141 w 874723"/>
                <a:gd name="connsiteY4" fmla="*/ 2382982 h 4959927"/>
                <a:gd name="connsiteX5" fmla="*/ 57305 w 874723"/>
                <a:gd name="connsiteY5" fmla="*/ 3699163 h 4959927"/>
                <a:gd name="connsiteX6" fmla="*/ 1887 w 874723"/>
                <a:gd name="connsiteY6" fmla="*/ 4558145 h 4959927"/>
                <a:gd name="connsiteX7" fmla="*/ 15741 w 874723"/>
                <a:gd name="connsiteY7" fmla="*/ 4821382 h 4959927"/>
                <a:gd name="connsiteX8" fmla="*/ 43450 w 874723"/>
                <a:gd name="connsiteY8" fmla="*/ 4959927 h 495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723" h="4959927">
                  <a:moveTo>
                    <a:pt x="874723" y="0"/>
                  </a:moveTo>
                  <a:cubicBezTo>
                    <a:pt x="718859" y="615373"/>
                    <a:pt x="562996" y="1228436"/>
                    <a:pt x="486796" y="1524000"/>
                  </a:cubicBezTo>
                  <a:cubicBezTo>
                    <a:pt x="410596" y="1819564"/>
                    <a:pt x="456778" y="1691408"/>
                    <a:pt x="417523" y="1773381"/>
                  </a:cubicBezTo>
                  <a:cubicBezTo>
                    <a:pt x="378268" y="1855354"/>
                    <a:pt x="292833" y="1914236"/>
                    <a:pt x="251269" y="2015836"/>
                  </a:cubicBezTo>
                  <a:cubicBezTo>
                    <a:pt x="209705" y="2117436"/>
                    <a:pt x="200468" y="2102428"/>
                    <a:pt x="168141" y="2382982"/>
                  </a:cubicBezTo>
                  <a:cubicBezTo>
                    <a:pt x="135814" y="2663536"/>
                    <a:pt x="85014" y="3336636"/>
                    <a:pt x="57305" y="3699163"/>
                  </a:cubicBezTo>
                  <a:cubicBezTo>
                    <a:pt x="29596" y="4061690"/>
                    <a:pt x="8814" y="4371109"/>
                    <a:pt x="1887" y="4558145"/>
                  </a:cubicBezTo>
                  <a:cubicBezTo>
                    <a:pt x="-5040" y="4745182"/>
                    <a:pt x="8814" y="4754418"/>
                    <a:pt x="15741" y="4821382"/>
                  </a:cubicBezTo>
                  <a:cubicBezTo>
                    <a:pt x="22668" y="4888346"/>
                    <a:pt x="33059" y="4924136"/>
                    <a:pt x="43450" y="495992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67" name="Freeform: Shape 366"/>
            <p:cNvSpPr/>
            <p:nvPr/>
          </p:nvSpPr>
          <p:spPr bwMode="auto">
            <a:xfrm>
              <a:off x="8424976" y="1751402"/>
              <a:ext cx="215083" cy="135596"/>
            </a:xfrm>
            <a:custGeom>
              <a:avLst/>
              <a:gdLst>
                <a:gd name="connsiteX0" fmla="*/ 540327 w 637309"/>
                <a:gd name="connsiteY0" fmla="*/ 0 h 401782"/>
                <a:gd name="connsiteX1" fmla="*/ 0 w 637309"/>
                <a:gd name="connsiteY1" fmla="*/ 401782 h 401782"/>
                <a:gd name="connsiteX2" fmla="*/ 637309 w 637309"/>
                <a:gd name="connsiteY2" fmla="*/ 48491 h 401782"/>
              </a:gdLst>
              <a:ahLst/>
              <a:cxnLst>
                <a:cxn ang="0">
                  <a:pos x="connsiteX0" y="connsiteY0"/>
                </a:cxn>
                <a:cxn ang="0">
                  <a:pos x="connsiteX1" y="connsiteY1"/>
                </a:cxn>
                <a:cxn ang="0">
                  <a:pos x="connsiteX2" y="connsiteY2"/>
                </a:cxn>
              </a:cxnLst>
              <a:rect l="l" t="t" r="r" b="b"/>
              <a:pathLst>
                <a:path w="637309" h="401782">
                  <a:moveTo>
                    <a:pt x="540327" y="0"/>
                  </a:moveTo>
                  <a:lnTo>
                    <a:pt x="0" y="401782"/>
                  </a:lnTo>
                  <a:lnTo>
                    <a:pt x="637309" y="48491"/>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68" name="Freeform: Shape 367"/>
            <p:cNvSpPr/>
            <p:nvPr/>
          </p:nvSpPr>
          <p:spPr bwMode="auto">
            <a:xfrm>
              <a:off x="5430957" y="1754131"/>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69" name="Freeform: Shape 368"/>
            <p:cNvSpPr/>
            <p:nvPr/>
          </p:nvSpPr>
          <p:spPr bwMode="auto">
            <a:xfrm>
              <a:off x="4459580" y="2308202"/>
              <a:ext cx="266516" cy="23671"/>
            </a:xfrm>
            <a:custGeom>
              <a:avLst/>
              <a:gdLst>
                <a:gd name="connsiteX0" fmla="*/ 0 w 789709"/>
                <a:gd name="connsiteY0" fmla="*/ 0 h 70138"/>
                <a:gd name="connsiteX1" fmla="*/ 263237 w 789709"/>
                <a:gd name="connsiteY1" fmla="*/ 48491 h 70138"/>
                <a:gd name="connsiteX2" fmla="*/ 505691 w 789709"/>
                <a:gd name="connsiteY2" fmla="*/ 69273 h 70138"/>
                <a:gd name="connsiteX3" fmla="*/ 651164 w 789709"/>
                <a:gd name="connsiteY3" fmla="*/ 62345 h 70138"/>
                <a:gd name="connsiteX4" fmla="*/ 789709 w 789709"/>
                <a:gd name="connsiteY4" fmla="*/ 27709 h 7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709" h="70138">
                  <a:moveTo>
                    <a:pt x="0" y="0"/>
                  </a:moveTo>
                  <a:cubicBezTo>
                    <a:pt x="89477" y="18473"/>
                    <a:pt x="178955" y="36946"/>
                    <a:pt x="263237" y="48491"/>
                  </a:cubicBezTo>
                  <a:cubicBezTo>
                    <a:pt x="347519" y="60037"/>
                    <a:pt x="441037" y="66964"/>
                    <a:pt x="505691" y="69273"/>
                  </a:cubicBezTo>
                  <a:cubicBezTo>
                    <a:pt x="570345" y="71582"/>
                    <a:pt x="603828" y="69272"/>
                    <a:pt x="651164" y="62345"/>
                  </a:cubicBezTo>
                  <a:cubicBezTo>
                    <a:pt x="698500" y="55418"/>
                    <a:pt x="744104" y="41563"/>
                    <a:pt x="789709" y="27709"/>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70" name="Freeform: Shape 369"/>
            <p:cNvSpPr/>
            <p:nvPr/>
          </p:nvSpPr>
          <p:spPr bwMode="auto">
            <a:xfrm>
              <a:off x="5842212" y="1565024"/>
              <a:ext cx="824779" cy="100213"/>
            </a:xfrm>
            <a:custGeom>
              <a:avLst/>
              <a:gdLst>
                <a:gd name="connsiteX0" fmla="*/ 80711 w 2509424"/>
                <a:gd name="connsiteY0" fmla="*/ 124691 h 264113"/>
                <a:gd name="connsiteX1" fmla="*/ 4511 w 2509424"/>
                <a:gd name="connsiteY1" fmla="*/ 235527 h 264113"/>
                <a:gd name="connsiteX2" fmla="*/ 198474 w 2509424"/>
                <a:gd name="connsiteY2" fmla="*/ 256309 h 264113"/>
                <a:gd name="connsiteX3" fmla="*/ 1154438 w 2509424"/>
                <a:gd name="connsiteY3" fmla="*/ 124691 h 264113"/>
                <a:gd name="connsiteX4" fmla="*/ 1909511 w 2509424"/>
                <a:gd name="connsiteY4" fmla="*/ 83127 h 264113"/>
                <a:gd name="connsiteX5" fmla="*/ 2456765 w 2509424"/>
                <a:gd name="connsiteY5" fmla="*/ 69272 h 264113"/>
                <a:gd name="connsiteX6" fmla="*/ 2456765 w 2509424"/>
                <a:gd name="connsiteY6" fmla="*/ 0 h 264113"/>
                <a:gd name="connsiteX0" fmla="*/ 81678 w 2510391"/>
                <a:gd name="connsiteY0" fmla="*/ 124691 h 251670"/>
                <a:gd name="connsiteX1" fmla="*/ 5478 w 2510391"/>
                <a:gd name="connsiteY1" fmla="*/ 235527 h 251670"/>
                <a:gd name="connsiteX2" fmla="*/ 216374 w 2510391"/>
                <a:gd name="connsiteY2" fmla="*/ 239376 h 251670"/>
                <a:gd name="connsiteX3" fmla="*/ 1155405 w 2510391"/>
                <a:gd name="connsiteY3" fmla="*/ 124691 h 251670"/>
                <a:gd name="connsiteX4" fmla="*/ 1910478 w 2510391"/>
                <a:gd name="connsiteY4" fmla="*/ 83127 h 251670"/>
                <a:gd name="connsiteX5" fmla="*/ 2457732 w 2510391"/>
                <a:gd name="connsiteY5" fmla="*/ 69272 h 251670"/>
                <a:gd name="connsiteX6" fmla="*/ 2457732 w 2510391"/>
                <a:gd name="connsiteY6" fmla="*/ 0 h 251670"/>
                <a:gd name="connsiteX0" fmla="*/ 66366 w 2495079"/>
                <a:gd name="connsiteY0" fmla="*/ 124691 h 265591"/>
                <a:gd name="connsiteX1" fmla="*/ 7099 w 2495079"/>
                <a:gd name="connsiteY1" fmla="*/ 256693 h 265591"/>
                <a:gd name="connsiteX2" fmla="*/ 201062 w 2495079"/>
                <a:gd name="connsiteY2" fmla="*/ 239376 h 265591"/>
                <a:gd name="connsiteX3" fmla="*/ 1140093 w 2495079"/>
                <a:gd name="connsiteY3" fmla="*/ 124691 h 265591"/>
                <a:gd name="connsiteX4" fmla="*/ 1895166 w 2495079"/>
                <a:gd name="connsiteY4" fmla="*/ 83127 h 265591"/>
                <a:gd name="connsiteX5" fmla="*/ 2442420 w 2495079"/>
                <a:gd name="connsiteY5" fmla="*/ 69272 h 265591"/>
                <a:gd name="connsiteX6" fmla="*/ 2442420 w 2495079"/>
                <a:gd name="connsiteY6" fmla="*/ 0 h 265591"/>
                <a:gd name="connsiteX0" fmla="*/ 81678 w 2510391"/>
                <a:gd name="connsiteY0" fmla="*/ 124691 h 259298"/>
                <a:gd name="connsiteX1" fmla="*/ 5478 w 2510391"/>
                <a:gd name="connsiteY1" fmla="*/ 248227 h 259298"/>
                <a:gd name="connsiteX2" fmla="*/ 216374 w 2510391"/>
                <a:gd name="connsiteY2" fmla="*/ 239376 h 259298"/>
                <a:gd name="connsiteX3" fmla="*/ 1155405 w 2510391"/>
                <a:gd name="connsiteY3" fmla="*/ 124691 h 259298"/>
                <a:gd name="connsiteX4" fmla="*/ 1910478 w 2510391"/>
                <a:gd name="connsiteY4" fmla="*/ 83127 h 259298"/>
                <a:gd name="connsiteX5" fmla="*/ 2457732 w 2510391"/>
                <a:gd name="connsiteY5" fmla="*/ 69272 h 259298"/>
                <a:gd name="connsiteX6" fmla="*/ 2457732 w 2510391"/>
                <a:gd name="connsiteY6" fmla="*/ 0 h 259298"/>
                <a:gd name="connsiteX0" fmla="*/ 88022 w 2516735"/>
                <a:gd name="connsiteY0" fmla="*/ 124691 h 266697"/>
                <a:gd name="connsiteX1" fmla="*/ 11822 w 2516735"/>
                <a:gd name="connsiteY1" fmla="*/ 248227 h 266697"/>
                <a:gd name="connsiteX2" fmla="*/ 222718 w 2516735"/>
                <a:gd name="connsiteY2" fmla="*/ 239376 h 266697"/>
                <a:gd name="connsiteX3" fmla="*/ 1161749 w 2516735"/>
                <a:gd name="connsiteY3" fmla="*/ 124691 h 266697"/>
                <a:gd name="connsiteX4" fmla="*/ 1916822 w 2516735"/>
                <a:gd name="connsiteY4" fmla="*/ 83127 h 266697"/>
                <a:gd name="connsiteX5" fmla="*/ 2464076 w 2516735"/>
                <a:gd name="connsiteY5" fmla="*/ 69272 h 266697"/>
                <a:gd name="connsiteX6" fmla="*/ 2464076 w 2516735"/>
                <a:gd name="connsiteY6" fmla="*/ 0 h 266697"/>
                <a:gd name="connsiteX0" fmla="*/ 73359 w 2502072"/>
                <a:gd name="connsiteY0" fmla="*/ 124691 h 263667"/>
                <a:gd name="connsiteX1" fmla="*/ 14092 w 2502072"/>
                <a:gd name="connsiteY1" fmla="*/ 243993 h 263667"/>
                <a:gd name="connsiteX2" fmla="*/ 208055 w 2502072"/>
                <a:gd name="connsiteY2" fmla="*/ 239376 h 263667"/>
                <a:gd name="connsiteX3" fmla="*/ 1147086 w 2502072"/>
                <a:gd name="connsiteY3" fmla="*/ 124691 h 263667"/>
                <a:gd name="connsiteX4" fmla="*/ 1902159 w 2502072"/>
                <a:gd name="connsiteY4" fmla="*/ 83127 h 263667"/>
                <a:gd name="connsiteX5" fmla="*/ 2449413 w 2502072"/>
                <a:gd name="connsiteY5" fmla="*/ 69272 h 263667"/>
                <a:gd name="connsiteX6" fmla="*/ 2449413 w 2502072"/>
                <a:gd name="connsiteY6" fmla="*/ 0 h 263667"/>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83127 h 263073"/>
                <a:gd name="connsiteX5" fmla="*/ 2449413 w 2502072"/>
                <a:gd name="connsiteY5" fmla="*/ 69272 h 263073"/>
                <a:gd name="connsiteX6" fmla="*/ 2449413 w 2502072"/>
                <a:gd name="connsiteY6" fmla="*/ 0 h 263073"/>
                <a:gd name="connsiteX0" fmla="*/ 73359 w 2502072"/>
                <a:gd name="connsiteY0" fmla="*/ 124691 h 263073"/>
                <a:gd name="connsiteX1" fmla="*/ 14092 w 2502072"/>
                <a:gd name="connsiteY1" fmla="*/ 243993 h 263073"/>
                <a:gd name="connsiteX2" fmla="*/ 208055 w 2502072"/>
                <a:gd name="connsiteY2" fmla="*/ 239376 h 263073"/>
                <a:gd name="connsiteX3" fmla="*/ 1155553 w 2502072"/>
                <a:gd name="connsiteY3" fmla="*/ 137391 h 263073"/>
                <a:gd name="connsiteX4" fmla="*/ 1902159 w 2502072"/>
                <a:gd name="connsiteY4" fmla="*/ 95827 h 263073"/>
                <a:gd name="connsiteX5" fmla="*/ 2449413 w 2502072"/>
                <a:gd name="connsiteY5" fmla="*/ 69272 h 263073"/>
                <a:gd name="connsiteX6" fmla="*/ 2449413 w 2502072"/>
                <a:gd name="connsiteY6" fmla="*/ 0 h 263073"/>
                <a:gd name="connsiteX0" fmla="*/ 73359 w 2471318"/>
                <a:gd name="connsiteY0" fmla="*/ 124691 h 263073"/>
                <a:gd name="connsiteX1" fmla="*/ 14092 w 2471318"/>
                <a:gd name="connsiteY1" fmla="*/ 243993 h 263073"/>
                <a:gd name="connsiteX2" fmla="*/ 208055 w 2471318"/>
                <a:gd name="connsiteY2" fmla="*/ 239376 h 263073"/>
                <a:gd name="connsiteX3" fmla="*/ 1155553 w 2471318"/>
                <a:gd name="connsiteY3" fmla="*/ 137391 h 263073"/>
                <a:gd name="connsiteX4" fmla="*/ 1902159 w 2471318"/>
                <a:gd name="connsiteY4" fmla="*/ 95827 h 263073"/>
                <a:gd name="connsiteX5" fmla="*/ 2377446 w 2471318"/>
                <a:gd name="connsiteY5" fmla="*/ 86205 h 263073"/>
                <a:gd name="connsiteX6" fmla="*/ 2449413 w 2471318"/>
                <a:gd name="connsiteY6" fmla="*/ 0 h 263073"/>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55355"/>
                <a:gd name="connsiteY0" fmla="*/ 133158 h 271540"/>
                <a:gd name="connsiteX1" fmla="*/ 14092 w 2455355"/>
                <a:gd name="connsiteY1" fmla="*/ 252460 h 271540"/>
                <a:gd name="connsiteX2" fmla="*/ 208055 w 2455355"/>
                <a:gd name="connsiteY2" fmla="*/ 247843 h 271540"/>
                <a:gd name="connsiteX3" fmla="*/ 1155553 w 2455355"/>
                <a:gd name="connsiteY3" fmla="*/ 145858 h 271540"/>
                <a:gd name="connsiteX4" fmla="*/ 1902159 w 2455355"/>
                <a:gd name="connsiteY4" fmla="*/ 104294 h 271540"/>
                <a:gd name="connsiteX5" fmla="*/ 2377446 w 2455355"/>
                <a:gd name="connsiteY5" fmla="*/ 94672 h 271540"/>
                <a:gd name="connsiteX6" fmla="*/ 2428246 w 2455355"/>
                <a:gd name="connsiteY6" fmla="*/ 0 h 2715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 name="connsiteX0" fmla="*/ 73359 w 2443893"/>
                <a:gd name="connsiteY0" fmla="*/ 158558 h 296940"/>
                <a:gd name="connsiteX1" fmla="*/ 14092 w 2443893"/>
                <a:gd name="connsiteY1" fmla="*/ 277860 h 296940"/>
                <a:gd name="connsiteX2" fmla="*/ 208055 w 2443893"/>
                <a:gd name="connsiteY2" fmla="*/ 273243 h 296940"/>
                <a:gd name="connsiteX3" fmla="*/ 1155553 w 2443893"/>
                <a:gd name="connsiteY3" fmla="*/ 171258 h 296940"/>
                <a:gd name="connsiteX4" fmla="*/ 1902159 w 2443893"/>
                <a:gd name="connsiteY4" fmla="*/ 129694 h 296940"/>
                <a:gd name="connsiteX5" fmla="*/ 2377446 w 2443893"/>
                <a:gd name="connsiteY5" fmla="*/ 120072 h 296940"/>
                <a:gd name="connsiteX6" fmla="*/ 2411312 w 2443893"/>
                <a:gd name="connsiteY6" fmla="*/ 0 h 29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3893" h="296940">
                  <a:moveTo>
                    <a:pt x="73359" y="158558"/>
                  </a:moveTo>
                  <a:cubicBezTo>
                    <a:pt x="25445" y="203008"/>
                    <a:pt x="-25290" y="241813"/>
                    <a:pt x="14092" y="277860"/>
                  </a:cubicBezTo>
                  <a:cubicBezTo>
                    <a:pt x="53474" y="313907"/>
                    <a:pt x="17811" y="291010"/>
                    <a:pt x="208055" y="273243"/>
                  </a:cubicBezTo>
                  <a:cubicBezTo>
                    <a:pt x="398299" y="255476"/>
                    <a:pt x="873202" y="195183"/>
                    <a:pt x="1155553" y="171258"/>
                  </a:cubicBezTo>
                  <a:cubicBezTo>
                    <a:pt x="1437904" y="147333"/>
                    <a:pt x="1698510" y="138225"/>
                    <a:pt x="1902159" y="129694"/>
                  </a:cubicBezTo>
                  <a:cubicBezTo>
                    <a:pt x="2105808" y="121163"/>
                    <a:pt x="2292587" y="124755"/>
                    <a:pt x="2377446" y="120072"/>
                  </a:cubicBezTo>
                  <a:cubicBezTo>
                    <a:pt x="2462305" y="115389"/>
                    <a:pt x="2456916" y="27709"/>
                    <a:pt x="2411312"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71" name="Freeform: Shape 370"/>
            <p:cNvSpPr/>
            <p:nvPr/>
          </p:nvSpPr>
          <p:spPr bwMode="auto">
            <a:xfrm>
              <a:off x="5482392" y="1723583"/>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72" name="Freeform: Shape 371"/>
            <p:cNvSpPr/>
            <p:nvPr/>
          </p:nvSpPr>
          <p:spPr bwMode="auto">
            <a:xfrm>
              <a:off x="5504532" y="1711248"/>
              <a:ext cx="65460" cy="46757"/>
            </a:xfrm>
            <a:custGeom>
              <a:avLst/>
              <a:gdLst>
                <a:gd name="connsiteX0" fmla="*/ 0 w 193964"/>
                <a:gd name="connsiteY0" fmla="*/ 0 h 138546"/>
                <a:gd name="connsiteX1" fmla="*/ 193964 w 193964"/>
                <a:gd name="connsiteY1" fmla="*/ 138546 h 138546"/>
              </a:gdLst>
              <a:ahLst/>
              <a:cxnLst>
                <a:cxn ang="0">
                  <a:pos x="connsiteX0" y="connsiteY0"/>
                </a:cxn>
                <a:cxn ang="0">
                  <a:pos x="connsiteX1" y="connsiteY1"/>
                </a:cxn>
              </a:cxnLst>
              <a:rect l="l" t="t" r="r" b="b"/>
              <a:pathLst>
                <a:path w="193964" h="138546">
                  <a:moveTo>
                    <a:pt x="0" y="0"/>
                  </a:moveTo>
                  <a:lnTo>
                    <a:pt x="193964" y="138546"/>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73" name="Freeform: Shape 372"/>
            <p:cNvSpPr/>
            <p:nvPr/>
          </p:nvSpPr>
          <p:spPr bwMode="auto">
            <a:xfrm>
              <a:off x="5008226" y="2262127"/>
              <a:ext cx="44598" cy="86436"/>
            </a:xfrm>
            <a:custGeom>
              <a:avLst/>
              <a:gdLst>
                <a:gd name="connsiteX0" fmla="*/ 120135 w 120135"/>
                <a:gd name="connsiteY0" fmla="*/ 0 h 211667"/>
                <a:gd name="connsiteX1" fmla="*/ 5835 w 120135"/>
                <a:gd name="connsiteY1" fmla="*/ 97367 h 211667"/>
                <a:gd name="connsiteX2" fmla="*/ 27002 w 120135"/>
                <a:gd name="connsiteY2" fmla="*/ 182034 h 211667"/>
                <a:gd name="connsiteX3" fmla="*/ 115902 w 120135"/>
                <a:gd name="connsiteY3" fmla="*/ 211667 h 211667"/>
              </a:gdLst>
              <a:ahLst/>
              <a:cxnLst>
                <a:cxn ang="0">
                  <a:pos x="connsiteX0" y="connsiteY0"/>
                </a:cxn>
                <a:cxn ang="0">
                  <a:pos x="connsiteX1" y="connsiteY1"/>
                </a:cxn>
                <a:cxn ang="0">
                  <a:pos x="connsiteX2" y="connsiteY2"/>
                </a:cxn>
                <a:cxn ang="0">
                  <a:pos x="connsiteX3" y="connsiteY3"/>
                </a:cxn>
              </a:cxnLst>
              <a:rect l="l" t="t" r="r" b="b"/>
              <a:pathLst>
                <a:path w="120135" h="211667">
                  <a:moveTo>
                    <a:pt x="120135" y="0"/>
                  </a:moveTo>
                  <a:cubicBezTo>
                    <a:pt x="70746" y="33514"/>
                    <a:pt x="21357" y="67028"/>
                    <a:pt x="5835" y="97367"/>
                  </a:cubicBezTo>
                  <a:cubicBezTo>
                    <a:pt x="-9687" y="127706"/>
                    <a:pt x="8658" y="162984"/>
                    <a:pt x="27002" y="182034"/>
                  </a:cubicBezTo>
                  <a:cubicBezTo>
                    <a:pt x="45346" y="201084"/>
                    <a:pt x="80624" y="206375"/>
                    <a:pt x="115902" y="211667"/>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74" name="Freeform: Shape 373"/>
            <p:cNvSpPr/>
            <p:nvPr/>
          </p:nvSpPr>
          <p:spPr bwMode="auto">
            <a:xfrm>
              <a:off x="5044737" y="2119534"/>
              <a:ext cx="288791" cy="215915"/>
            </a:xfrm>
            <a:custGeom>
              <a:avLst/>
              <a:gdLst>
                <a:gd name="connsiteX0" fmla="*/ 1026 w 880224"/>
                <a:gd name="connsiteY0" fmla="*/ 224608 h 639520"/>
                <a:gd name="connsiteX1" fmla="*/ 30660 w 880224"/>
                <a:gd name="connsiteY1" fmla="*/ 423574 h 639520"/>
                <a:gd name="connsiteX2" fmla="*/ 204226 w 880224"/>
                <a:gd name="connsiteY2" fmla="*/ 597141 h 639520"/>
                <a:gd name="connsiteX3" fmla="*/ 403193 w 880224"/>
                <a:gd name="connsiteY3" fmla="*/ 639474 h 639520"/>
                <a:gd name="connsiteX4" fmla="*/ 712226 w 880224"/>
                <a:gd name="connsiteY4" fmla="*/ 592908 h 639520"/>
                <a:gd name="connsiteX5" fmla="*/ 873093 w 880224"/>
                <a:gd name="connsiteY5" fmla="*/ 398174 h 639520"/>
                <a:gd name="connsiteX6" fmla="*/ 839226 w 880224"/>
                <a:gd name="connsiteY6" fmla="*/ 190741 h 639520"/>
                <a:gd name="connsiteX7" fmla="*/ 724926 w 880224"/>
                <a:gd name="connsiteY7" fmla="*/ 51041 h 639520"/>
                <a:gd name="connsiteX8" fmla="*/ 564060 w 880224"/>
                <a:gd name="connsiteY8" fmla="*/ 241 h 639520"/>
                <a:gd name="connsiteX9" fmla="*/ 382026 w 880224"/>
                <a:gd name="connsiteY9" fmla="*/ 34108 h 639520"/>
                <a:gd name="connsiteX10" fmla="*/ 255026 w 880224"/>
                <a:gd name="connsiteY10" fmla="*/ 84908 h 639520"/>
                <a:gd name="connsiteX0" fmla="*/ 1026 w 866038"/>
                <a:gd name="connsiteY0" fmla="*/ 224608 h 639520"/>
                <a:gd name="connsiteX1" fmla="*/ 30660 w 866038"/>
                <a:gd name="connsiteY1" fmla="*/ 423574 h 639520"/>
                <a:gd name="connsiteX2" fmla="*/ 204226 w 866038"/>
                <a:gd name="connsiteY2" fmla="*/ 597141 h 639520"/>
                <a:gd name="connsiteX3" fmla="*/ 403193 w 866038"/>
                <a:gd name="connsiteY3" fmla="*/ 639474 h 639520"/>
                <a:gd name="connsiteX4" fmla="*/ 712226 w 866038"/>
                <a:gd name="connsiteY4" fmla="*/ 592908 h 639520"/>
                <a:gd name="connsiteX5" fmla="*/ 856159 w 866038"/>
                <a:gd name="connsiteY5" fmla="*/ 398174 h 639520"/>
                <a:gd name="connsiteX6" fmla="*/ 839226 w 866038"/>
                <a:gd name="connsiteY6" fmla="*/ 190741 h 639520"/>
                <a:gd name="connsiteX7" fmla="*/ 724926 w 866038"/>
                <a:gd name="connsiteY7" fmla="*/ 51041 h 639520"/>
                <a:gd name="connsiteX8" fmla="*/ 564060 w 866038"/>
                <a:gd name="connsiteY8" fmla="*/ 241 h 639520"/>
                <a:gd name="connsiteX9" fmla="*/ 382026 w 866038"/>
                <a:gd name="connsiteY9" fmla="*/ 34108 h 639520"/>
                <a:gd name="connsiteX10" fmla="*/ 255026 w 866038"/>
                <a:gd name="connsiteY10" fmla="*/ 84908 h 639520"/>
                <a:gd name="connsiteX0" fmla="*/ 1026 w 862652"/>
                <a:gd name="connsiteY0" fmla="*/ 224608 h 639520"/>
                <a:gd name="connsiteX1" fmla="*/ 30660 w 862652"/>
                <a:gd name="connsiteY1" fmla="*/ 423574 h 639520"/>
                <a:gd name="connsiteX2" fmla="*/ 204226 w 862652"/>
                <a:gd name="connsiteY2" fmla="*/ 597141 h 639520"/>
                <a:gd name="connsiteX3" fmla="*/ 403193 w 862652"/>
                <a:gd name="connsiteY3" fmla="*/ 639474 h 639520"/>
                <a:gd name="connsiteX4" fmla="*/ 712226 w 862652"/>
                <a:gd name="connsiteY4" fmla="*/ 592908 h 639520"/>
                <a:gd name="connsiteX5" fmla="*/ 856159 w 862652"/>
                <a:gd name="connsiteY5" fmla="*/ 398174 h 639520"/>
                <a:gd name="connsiteX6" fmla="*/ 826526 w 862652"/>
                <a:gd name="connsiteY6" fmla="*/ 194974 h 639520"/>
                <a:gd name="connsiteX7" fmla="*/ 724926 w 862652"/>
                <a:gd name="connsiteY7" fmla="*/ 51041 h 639520"/>
                <a:gd name="connsiteX8" fmla="*/ 564060 w 862652"/>
                <a:gd name="connsiteY8" fmla="*/ 241 h 639520"/>
                <a:gd name="connsiteX9" fmla="*/ 382026 w 862652"/>
                <a:gd name="connsiteY9" fmla="*/ 34108 h 639520"/>
                <a:gd name="connsiteX10" fmla="*/ 255026 w 862652"/>
                <a:gd name="connsiteY10" fmla="*/ 84908 h 639520"/>
                <a:gd name="connsiteX0" fmla="*/ 1026 w 855405"/>
                <a:gd name="connsiteY0" fmla="*/ 224608 h 639520"/>
                <a:gd name="connsiteX1" fmla="*/ 30660 w 855405"/>
                <a:gd name="connsiteY1" fmla="*/ 423574 h 639520"/>
                <a:gd name="connsiteX2" fmla="*/ 204226 w 855405"/>
                <a:gd name="connsiteY2" fmla="*/ 597141 h 639520"/>
                <a:gd name="connsiteX3" fmla="*/ 403193 w 855405"/>
                <a:gd name="connsiteY3" fmla="*/ 639474 h 639520"/>
                <a:gd name="connsiteX4" fmla="*/ 712226 w 855405"/>
                <a:gd name="connsiteY4" fmla="*/ 592908 h 639520"/>
                <a:gd name="connsiteX5" fmla="*/ 847692 w 855405"/>
                <a:gd name="connsiteY5" fmla="*/ 398174 h 639520"/>
                <a:gd name="connsiteX6" fmla="*/ 826526 w 855405"/>
                <a:gd name="connsiteY6" fmla="*/ 194974 h 639520"/>
                <a:gd name="connsiteX7" fmla="*/ 724926 w 855405"/>
                <a:gd name="connsiteY7" fmla="*/ 51041 h 639520"/>
                <a:gd name="connsiteX8" fmla="*/ 564060 w 855405"/>
                <a:gd name="connsiteY8" fmla="*/ 241 h 639520"/>
                <a:gd name="connsiteX9" fmla="*/ 382026 w 855405"/>
                <a:gd name="connsiteY9" fmla="*/ 34108 h 639520"/>
                <a:gd name="connsiteX10" fmla="*/ 255026 w 855405"/>
                <a:gd name="connsiteY10" fmla="*/ 84908 h 639520"/>
                <a:gd name="connsiteX0" fmla="*/ 1026 w 855714"/>
                <a:gd name="connsiteY0" fmla="*/ 224608 h 639776"/>
                <a:gd name="connsiteX1" fmla="*/ 30660 w 855714"/>
                <a:gd name="connsiteY1" fmla="*/ 423574 h 639776"/>
                <a:gd name="connsiteX2" fmla="*/ 204226 w 855714"/>
                <a:gd name="connsiteY2" fmla="*/ 597141 h 639776"/>
                <a:gd name="connsiteX3" fmla="*/ 403193 w 855714"/>
                <a:gd name="connsiteY3" fmla="*/ 639474 h 639776"/>
                <a:gd name="connsiteX4" fmla="*/ 707993 w 855714"/>
                <a:gd name="connsiteY4" fmla="*/ 584441 h 639776"/>
                <a:gd name="connsiteX5" fmla="*/ 847692 w 855714"/>
                <a:gd name="connsiteY5" fmla="*/ 398174 h 639776"/>
                <a:gd name="connsiteX6" fmla="*/ 826526 w 855714"/>
                <a:gd name="connsiteY6" fmla="*/ 194974 h 639776"/>
                <a:gd name="connsiteX7" fmla="*/ 724926 w 855714"/>
                <a:gd name="connsiteY7" fmla="*/ 51041 h 639776"/>
                <a:gd name="connsiteX8" fmla="*/ 564060 w 855714"/>
                <a:gd name="connsiteY8" fmla="*/ 241 h 639776"/>
                <a:gd name="connsiteX9" fmla="*/ 382026 w 855714"/>
                <a:gd name="connsiteY9" fmla="*/ 34108 h 639776"/>
                <a:gd name="connsiteX10" fmla="*/ 255026 w 855714"/>
                <a:gd name="connsiteY10" fmla="*/ 84908 h 63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5714" h="639776">
                  <a:moveTo>
                    <a:pt x="1026" y="224608"/>
                  </a:moveTo>
                  <a:cubicBezTo>
                    <a:pt x="-1091" y="293046"/>
                    <a:pt x="-3207" y="361485"/>
                    <a:pt x="30660" y="423574"/>
                  </a:cubicBezTo>
                  <a:cubicBezTo>
                    <a:pt x="64527" y="485663"/>
                    <a:pt x="142137" y="561158"/>
                    <a:pt x="204226" y="597141"/>
                  </a:cubicBezTo>
                  <a:cubicBezTo>
                    <a:pt x="266315" y="633124"/>
                    <a:pt x="319232" y="641591"/>
                    <a:pt x="403193" y="639474"/>
                  </a:cubicBezTo>
                  <a:cubicBezTo>
                    <a:pt x="487154" y="637357"/>
                    <a:pt x="633910" y="624658"/>
                    <a:pt x="707993" y="584441"/>
                  </a:cubicBezTo>
                  <a:cubicBezTo>
                    <a:pt x="782076" y="544224"/>
                    <a:pt x="827937" y="463085"/>
                    <a:pt x="847692" y="398174"/>
                  </a:cubicBezTo>
                  <a:cubicBezTo>
                    <a:pt x="867447" y="333263"/>
                    <a:pt x="846987" y="252830"/>
                    <a:pt x="826526" y="194974"/>
                  </a:cubicBezTo>
                  <a:cubicBezTo>
                    <a:pt x="806065" y="137118"/>
                    <a:pt x="768670" y="83496"/>
                    <a:pt x="724926" y="51041"/>
                  </a:cubicBezTo>
                  <a:cubicBezTo>
                    <a:pt x="681182" y="18586"/>
                    <a:pt x="621210" y="3063"/>
                    <a:pt x="564060" y="241"/>
                  </a:cubicBezTo>
                  <a:cubicBezTo>
                    <a:pt x="506910" y="-2581"/>
                    <a:pt x="433532" y="19997"/>
                    <a:pt x="382026" y="34108"/>
                  </a:cubicBezTo>
                  <a:cubicBezTo>
                    <a:pt x="330520" y="48219"/>
                    <a:pt x="292773" y="66563"/>
                    <a:pt x="255026" y="84908"/>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75" name="Freeform: Shape 374"/>
            <p:cNvSpPr/>
            <p:nvPr/>
          </p:nvSpPr>
          <p:spPr bwMode="auto">
            <a:xfrm>
              <a:off x="5045083" y="2192479"/>
              <a:ext cx="220019" cy="2857"/>
            </a:xfrm>
            <a:custGeom>
              <a:avLst/>
              <a:gdLst>
                <a:gd name="connsiteX0" fmla="*/ 0 w 651934"/>
                <a:gd name="connsiteY0" fmla="*/ 8466 h 8466"/>
                <a:gd name="connsiteX1" fmla="*/ 651934 w 651934"/>
                <a:gd name="connsiteY1" fmla="*/ 0 h 8466"/>
              </a:gdLst>
              <a:ahLst/>
              <a:cxnLst>
                <a:cxn ang="0">
                  <a:pos x="connsiteX0" y="connsiteY0"/>
                </a:cxn>
                <a:cxn ang="0">
                  <a:pos x="connsiteX1" y="connsiteY1"/>
                </a:cxn>
              </a:cxnLst>
              <a:rect l="l" t="t" r="r" b="b"/>
              <a:pathLst>
                <a:path w="651934" h="8466">
                  <a:moveTo>
                    <a:pt x="0" y="8466"/>
                  </a:moveTo>
                  <a:lnTo>
                    <a:pt x="651934"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76" name="Freeform: Shape 375"/>
            <p:cNvSpPr/>
            <p:nvPr/>
          </p:nvSpPr>
          <p:spPr bwMode="auto">
            <a:xfrm>
              <a:off x="5213669" y="2111044"/>
              <a:ext cx="136555" cy="228590"/>
            </a:xfrm>
            <a:custGeom>
              <a:avLst/>
              <a:gdLst>
                <a:gd name="connsiteX0" fmla="*/ 80434 w 469130"/>
                <a:gd name="connsiteY0" fmla="*/ 669259 h 669259"/>
                <a:gd name="connsiteX1" fmla="*/ 393700 w 469130"/>
                <a:gd name="connsiteY1" fmla="*/ 550726 h 669259"/>
                <a:gd name="connsiteX2" fmla="*/ 465667 w 469130"/>
                <a:gd name="connsiteY2" fmla="*/ 364459 h 669259"/>
                <a:gd name="connsiteX3" fmla="*/ 444500 w 469130"/>
                <a:gd name="connsiteY3" fmla="*/ 203593 h 669259"/>
                <a:gd name="connsiteX4" fmla="*/ 330200 w 469130"/>
                <a:gd name="connsiteY4" fmla="*/ 59659 h 669259"/>
                <a:gd name="connsiteX5" fmla="*/ 169334 w 469130"/>
                <a:gd name="connsiteY5" fmla="*/ 393 h 669259"/>
                <a:gd name="connsiteX6" fmla="*/ 0 w 469130"/>
                <a:gd name="connsiteY6" fmla="*/ 38493 h 669259"/>
                <a:gd name="connsiteX0" fmla="*/ 118534 w 507230"/>
                <a:gd name="connsiteY0" fmla="*/ 669873 h 669873"/>
                <a:gd name="connsiteX1" fmla="*/ 431800 w 507230"/>
                <a:gd name="connsiteY1" fmla="*/ 551340 h 669873"/>
                <a:gd name="connsiteX2" fmla="*/ 503767 w 507230"/>
                <a:gd name="connsiteY2" fmla="*/ 365073 h 669873"/>
                <a:gd name="connsiteX3" fmla="*/ 482600 w 507230"/>
                <a:gd name="connsiteY3" fmla="*/ 204207 h 669873"/>
                <a:gd name="connsiteX4" fmla="*/ 368300 w 507230"/>
                <a:gd name="connsiteY4" fmla="*/ 60273 h 669873"/>
                <a:gd name="connsiteX5" fmla="*/ 207434 w 507230"/>
                <a:gd name="connsiteY5" fmla="*/ 1007 h 669873"/>
                <a:gd name="connsiteX6" fmla="*/ 0 w 507230"/>
                <a:gd name="connsiteY6" fmla="*/ 30641 h 669873"/>
                <a:gd name="connsiteX0" fmla="*/ 0 w 388696"/>
                <a:gd name="connsiteY0" fmla="*/ 678024 h 678024"/>
                <a:gd name="connsiteX1" fmla="*/ 313266 w 388696"/>
                <a:gd name="connsiteY1" fmla="*/ 559491 h 678024"/>
                <a:gd name="connsiteX2" fmla="*/ 385233 w 388696"/>
                <a:gd name="connsiteY2" fmla="*/ 373224 h 678024"/>
                <a:gd name="connsiteX3" fmla="*/ 364066 w 388696"/>
                <a:gd name="connsiteY3" fmla="*/ 212358 h 678024"/>
                <a:gd name="connsiteX4" fmla="*/ 249766 w 388696"/>
                <a:gd name="connsiteY4" fmla="*/ 68424 h 678024"/>
                <a:gd name="connsiteX5" fmla="*/ 88900 w 388696"/>
                <a:gd name="connsiteY5" fmla="*/ 9158 h 678024"/>
                <a:gd name="connsiteX6" fmla="*/ 122766 w 388696"/>
                <a:gd name="connsiteY6" fmla="*/ 13392 h 678024"/>
                <a:gd name="connsiteX0" fmla="*/ 0 w 388696"/>
                <a:gd name="connsiteY0" fmla="*/ 668866 h 668866"/>
                <a:gd name="connsiteX1" fmla="*/ 313266 w 388696"/>
                <a:gd name="connsiteY1" fmla="*/ 550333 h 668866"/>
                <a:gd name="connsiteX2" fmla="*/ 385233 w 388696"/>
                <a:gd name="connsiteY2" fmla="*/ 364066 h 668866"/>
                <a:gd name="connsiteX3" fmla="*/ 364066 w 388696"/>
                <a:gd name="connsiteY3" fmla="*/ 203200 h 668866"/>
                <a:gd name="connsiteX4" fmla="*/ 249766 w 388696"/>
                <a:gd name="connsiteY4" fmla="*/ 59266 h 668866"/>
                <a:gd name="connsiteX5" fmla="*/ 88900 w 388696"/>
                <a:gd name="connsiteY5" fmla="*/ 0 h 668866"/>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58799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388696"/>
                <a:gd name="connsiteY0" fmla="*/ 677332 h 677332"/>
                <a:gd name="connsiteX1" fmla="*/ 313266 w 388696"/>
                <a:gd name="connsiteY1" fmla="*/ 567266 h 677332"/>
                <a:gd name="connsiteX2" fmla="*/ 385233 w 388696"/>
                <a:gd name="connsiteY2" fmla="*/ 372532 h 677332"/>
                <a:gd name="connsiteX3" fmla="*/ 364066 w 388696"/>
                <a:gd name="connsiteY3" fmla="*/ 211666 h 677332"/>
                <a:gd name="connsiteX4" fmla="*/ 249766 w 388696"/>
                <a:gd name="connsiteY4" fmla="*/ 67732 h 677332"/>
                <a:gd name="connsiteX5" fmla="*/ 114300 w 388696"/>
                <a:gd name="connsiteY5" fmla="*/ 0 h 677332"/>
                <a:gd name="connsiteX0" fmla="*/ 0 w 404062"/>
                <a:gd name="connsiteY0" fmla="*/ 677332 h 677332"/>
                <a:gd name="connsiteX1" fmla="*/ 313266 w 404062"/>
                <a:gd name="connsiteY1" fmla="*/ 567266 h 677332"/>
                <a:gd name="connsiteX2" fmla="*/ 402166 w 404062"/>
                <a:gd name="connsiteY2" fmla="*/ 372532 h 677332"/>
                <a:gd name="connsiteX3" fmla="*/ 364066 w 404062"/>
                <a:gd name="connsiteY3" fmla="*/ 211666 h 677332"/>
                <a:gd name="connsiteX4" fmla="*/ 249766 w 404062"/>
                <a:gd name="connsiteY4" fmla="*/ 67732 h 677332"/>
                <a:gd name="connsiteX5" fmla="*/ 114300 w 404062"/>
                <a:gd name="connsiteY5" fmla="*/ 0 h 677332"/>
                <a:gd name="connsiteX0" fmla="*/ 0 w 404624"/>
                <a:gd name="connsiteY0" fmla="*/ 677332 h 677332"/>
                <a:gd name="connsiteX1" fmla="*/ 313266 w 404624"/>
                <a:gd name="connsiteY1" fmla="*/ 567266 h 677332"/>
                <a:gd name="connsiteX2" fmla="*/ 402166 w 404624"/>
                <a:gd name="connsiteY2" fmla="*/ 372532 h 677332"/>
                <a:gd name="connsiteX3" fmla="*/ 368300 w 404624"/>
                <a:gd name="connsiteY3" fmla="*/ 194733 h 677332"/>
                <a:gd name="connsiteX4" fmla="*/ 249766 w 404624"/>
                <a:gd name="connsiteY4" fmla="*/ 67732 h 677332"/>
                <a:gd name="connsiteX5" fmla="*/ 114300 w 404624"/>
                <a:gd name="connsiteY5" fmla="*/ 0 h 67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624" h="677332">
                  <a:moveTo>
                    <a:pt x="0" y="677332"/>
                  </a:moveTo>
                  <a:cubicBezTo>
                    <a:pt x="179563" y="651932"/>
                    <a:pt x="246238" y="618066"/>
                    <a:pt x="313266" y="567266"/>
                  </a:cubicBezTo>
                  <a:cubicBezTo>
                    <a:pt x="380294" y="516466"/>
                    <a:pt x="392994" y="434621"/>
                    <a:pt x="402166" y="372532"/>
                  </a:cubicBezTo>
                  <a:cubicBezTo>
                    <a:pt x="411338" y="310443"/>
                    <a:pt x="393700" y="245533"/>
                    <a:pt x="368300" y="194733"/>
                  </a:cubicBezTo>
                  <a:cubicBezTo>
                    <a:pt x="342900" y="143933"/>
                    <a:pt x="292099" y="100187"/>
                    <a:pt x="249766" y="67732"/>
                  </a:cubicBezTo>
                  <a:cubicBezTo>
                    <a:pt x="207433" y="35277"/>
                    <a:pt x="135467" y="9172"/>
                    <a:pt x="114300"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77" name="Freeform: Shape 376"/>
            <p:cNvSpPr/>
            <p:nvPr/>
          </p:nvSpPr>
          <p:spPr bwMode="auto">
            <a:xfrm>
              <a:off x="8481941" y="2843104"/>
              <a:ext cx="781779" cy="97722"/>
            </a:xfrm>
            <a:custGeom>
              <a:avLst/>
              <a:gdLst>
                <a:gd name="connsiteX0" fmla="*/ 0 w 2316480"/>
                <a:gd name="connsiteY0" fmla="*/ 289560 h 289560"/>
                <a:gd name="connsiteX1" fmla="*/ 2316480 w 2316480"/>
                <a:gd name="connsiteY1" fmla="*/ 0 h 289560"/>
              </a:gdLst>
              <a:ahLst/>
              <a:cxnLst>
                <a:cxn ang="0">
                  <a:pos x="connsiteX0" y="connsiteY0"/>
                </a:cxn>
                <a:cxn ang="0">
                  <a:pos x="connsiteX1" y="connsiteY1"/>
                </a:cxn>
              </a:cxnLst>
              <a:rect l="l" t="t" r="r" b="b"/>
              <a:pathLst>
                <a:path w="2316480" h="289560">
                  <a:moveTo>
                    <a:pt x="0" y="289560"/>
                  </a:moveTo>
                  <a:lnTo>
                    <a:pt x="2316480" y="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78" name="Freeform: Shape 377"/>
            <p:cNvSpPr/>
            <p:nvPr/>
          </p:nvSpPr>
          <p:spPr bwMode="auto">
            <a:xfrm>
              <a:off x="8780251" y="2515648"/>
              <a:ext cx="236591" cy="1714"/>
            </a:xfrm>
            <a:custGeom>
              <a:avLst/>
              <a:gdLst>
                <a:gd name="connsiteX0" fmla="*/ 0 w 701040"/>
                <a:gd name="connsiteY0" fmla="*/ 0 h 5080"/>
                <a:gd name="connsiteX1" fmla="*/ 701040 w 701040"/>
                <a:gd name="connsiteY1" fmla="*/ 5080 h 5080"/>
              </a:gdLst>
              <a:ahLst/>
              <a:cxnLst>
                <a:cxn ang="0">
                  <a:pos x="connsiteX0" y="connsiteY0"/>
                </a:cxn>
                <a:cxn ang="0">
                  <a:pos x="connsiteX1" y="connsiteY1"/>
                </a:cxn>
              </a:cxnLst>
              <a:rect l="l" t="t" r="r" b="b"/>
              <a:pathLst>
                <a:path w="701040" h="5080">
                  <a:moveTo>
                    <a:pt x="0" y="0"/>
                  </a:moveTo>
                  <a:lnTo>
                    <a:pt x="701040" y="508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79" name="Freeform: Shape 378"/>
            <p:cNvSpPr/>
            <p:nvPr/>
          </p:nvSpPr>
          <p:spPr bwMode="auto">
            <a:xfrm>
              <a:off x="8727181" y="2383791"/>
              <a:ext cx="274309" cy="1715"/>
            </a:xfrm>
            <a:custGeom>
              <a:avLst/>
              <a:gdLst>
                <a:gd name="connsiteX0" fmla="*/ 0 w 812800"/>
                <a:gd name="connsiteY0" fmla="*/ 0 h 5080"/>
                <a:gd name="connsiteX1" fmla="*/ 812800 w 812800"/>
                <a:gd name="connsiteY1" fmla="*/ 5080 h 5080"/>
              </a:gdLst>
              <a:ahLst/>
              <a:cxnLst>
                <a:cxn ang="0">
                  <a:pos x="connsiteX0" y="connsiteY0"/>
                </a:cxn>
                <a:cxn ang="0">
                  <a:pos x="connsiteX1" y="connsiteY1"/>
                </a:cxn>
              </a:cxnLst>
              <a:rect l="l" t="t" r="r" b="b"/>
              <a:pathLst>
                <a:path w="812800" h="5080">
                  <a:moveTo>
                    <a:pt x="0" y="0"/>
                  </a:moveTo>
                  <a:lnTo>
                    <a:pt x="812800" y="508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80" name="Freeform: Shape 379"/>
            <p:cNvSpPr/>
            <p:nvPr/>
          </p:nvSpPr>
          <p:spPr bwMode="auto">
            <a:xfrm>
              <a:off x="8941407" y="2393924"/>
              <a:ext cx="18859" cy="125153"/>
            </a:xfrm>
            <a:custGeom>
              <a:avLst/>
              <a:gdLst>
                <a:gd name="connsiteX0" fmla="*/ 0 w 55880"/>
                <a:gd name="connsiteY0" fmla="*/ 0 h 370840"/>
                <a:gd name="connsiteX1" fmla="*/ 55880 w 55880"/>
                <a:gd name="connsiteY1" fmla="*/ 370840 h 370840"/>
              </a:gdLst>
              <a:ahLst/>
              <a:cxnLst>
                <a:cxn ang="0">
                  <a:pos x="connsiteX0" y="connsiteY0"/>
                </a:cxn>
                <a:cxn ang="0">
                  <a:pos x="connsiteX1" y="connsiteY1"/>
                </a:cxn>
              </a:cxnLst>
              <a:rect l="l" t="t" r="r" b="b"/>
              <a:pathLst>
                <a:path w="55880" h="370840">
                  <a:moveTo>
                    <a:pt x="0" y="0"/>
                  </a:moveTo>
                  <a:lnTo>
                    <a:pt x="55880" y="37084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81" name="Freeform: Shape 380"/>
            <p:cNvSpPr/>
            <p:nvPr/>
          </p:nvSpPr>
          <p:spPr bwMode="auto">
            <a:xfrm>
              <a:off x="8723532" y="2268771"/>
              <a:ext cx="168157" cy="248592"/>
            </a:xfrm>
            <a:custGeom>
              <a:avLst/>
              <a:gdLst>
                <a:gd name="connsiteX0" fmla="*/ 501021 w 501021"/>
                <a:gd name="connsiteY0" fmla="*/ 0 h 726440"/>
                <a:gd name="connsiteX1" fmla="*/ 257181 w 501021"/>
                <a:gd name="connsiteY1" fmla="*/ 71120 h 726440"/>
                <a:gd name="connsiteX2" fmla="*/ 43821 w 501021"/>
                <a:gd name="connsiteY2" fmla="*/ 254000 h 726440"/>
                <a:gd name="connsiteX3" fmla="*/ 3181 w 501021"/>
                <a:gd name="connsiteY3" fmla="*/ 401320 h 726440"/>
                <a:gd name="connsiteX4" fmla="*/ 94621 w 501021"/>
                <a:gd name="connsiteY4" fmla="*/ 640080 h 726440"/>
                <a:gd name="connsiteX5" fmla="*/ 160661 w 501021"/>
                <a:gd name="connsiteY5" fmla="*/ 726440 h 726440"/>
                <a:gd name="connsiteX0" fmla="*/ 498263 w 498263"/>
                <a:gd name="connsiteY0" fmla="*/ 0 h 726440"/>
                <a:gd name="connsiteX1" fmla="*/ 254423 w 498263"/>
                <a:gd name="connsiteY1" fmla="*/ 71120 h 726440"/>
                <a:gd name="connsiteX2" fmla="*/ 66463 w 498263"/>
                <a:gd name="connsiteY2" fmla="*/ 238760 h 726440"/>
                <a:gd name="connsiteX3" fmla="*/ 423 w 498263"/>
                <a:gd name="connsiteY3" fmla="*/ 401320 h 726440"/>
                <a:gd name="connsiteX4" fmla="*/ 91863 w 498263"/>
                <a:gd name="connsiteY4" fmla="*/ 640080 h 726440"/>
                <a:gd name="connsiteX5" fmla="*/ 157903 w 498263"/>
                <a:gd name="connsiteY5" fmla="*/ 726440 h 726440"/>
                <a:gd name="connsiteX0" fmla="*/ 498263 w 498263"/>
                <a:gd name="connsiteY0" fmla="*/ 0 h 736600"/>
                <a:gd name="connsiteX1" fmla="*/ 254423 w 498263"/>
                <a:gd name="connsiteY1" fmla="*/ 7112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 name="connsiteX0" fmla="*/ 498263 w 498263"/>
                <a:gd name="connsiteY0" fmla="*/ 0 h 736600"/>
                <a:gd name="connsiteX1" fmla="*/ 254423 w 498263"/>
                <a:gd name="connsiteY1" fmla="*/ 86360 h 736600"/>
                <a:gd name="connsiteX2" fmla="*/ 66463 w 498263"/>
                <a:gd name="connsiteY2" fmla="*/ 238760 h 736600"/>
                <a:gd name="connsiteX3" fmla="*/ 423 w 498263"/>
                <a:gd name="connsiteY3" fmla="*/ 401320 h 736600"/>
                <a:gd name="connsiteX4" fmla="*/ 91863 w 498263"/>
                <a:gd name="connsiteY4" fmla="*/ 640080 h 736600"/>
                <a:gd name="connsiteX5" fmla="*/ 173143 w 498263"/>
                <a:gd name="connsiteY5" fmla="*/ 736600 h 7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263" h="736600">
                  <a:moveTo>
                    <a:pt x="498263" y="0"/>
                  </a:moveTo>
                  <a:cubicBezTo>
                    <a:pt x="414443" y="14393"/>
                    <a:pt x="326390" y="46567"/>
                    <a:pt x="254423" y="86360"/>
                  </a:cubicBezTo>
                  <a:cubicBezTo>
                    <a:pt x="182456" y="126153"/>
                    <a:pt x="108796" y="186267"/>
                    <a:pt x="66463" y="238760"/>
                  </a:cubicBezTo>
                  <a:cubicBezTo>
                    <a:pt x="24130" y="291253"/>
                    <a:pt x="-3810" y="334433"/>
                    <a:pt x="423" y="401320"/>
                  </a:cubicBezTo>
                  <a:cubicBezTo>
                    <a:pt x="4656" y="468207"/>
                    <a:pt x="63076" y="584200"/>
                    <a:pt x="91863" y="640080"/>
                  </a:cubicBezTo>
                  <a:cubicBezTo>
                    <a:pt x="120650" y="695960"/>
                    <a:pt x="153246" y="720513"/>
                    <a:pt x="173143" y="73660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82" name="Freeform: Shape 381"/>
            <p:cNvSpPr/>
            <p:nvPr/>
          </p:nvSpPr>
          <p:spPr bwMode="auto">
            <a:xfrm>
              <a:off x="9003720" y="2333919"/>
              <a:ext cx="134846" cy="462895"/>
            </a:xfrm>
            <a:custGeom>
              <a:avLst/>
              <a:gdLst>
                <a:gd name="connsiteX0" fmla="*/ 399561 w 399561"/>
                <a:gd name="connsiteY0" fmla="*/ 1371600 h 1371600"/>
                <a:gd name="connsiteX1" fmla="*/ 242081 w 399561"/>
                <a:gd name="connsiteY1" fmla="*/ 1178560 h 1371600"/>
                <a:gd name="connsiteX2" fmla="*/ 64281 w 399561"/>
                <a:gd name="connsiteY2" fmla="*/ 660400 h 1371600"/>
                <a:gd name="connsiteX3" fmla="*/ 3321 w 399561"/>
                <a:gd name="connsiteY3" fmla="*/ 208280 h 1371600"/>
                <a:gd name="connsiteX4" fmla="*/ 13481 w 399561"/>
                <a:gd name="connsiteY4" fmla="*/ 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61" h="1371600">
                  <a:moveTo>
                    <a:pt x="399561" y="1371600"/>
                  </a:moveTo>
                  <a:cubicBezTo>
                    <a:pt x="348761" y="1334346"/>
                    <a:pt x="297961" y="1297093"/>
                    <a:pt x="242081" y="1178560"/>
                  </a:cubicBezTo>
                  <a:cubicBezTo>
                    <a:pt x="186201" y="1060027"/>
                    <a:pt x="104074" y="822113"/>
                    <a:pt x="64281" y="660400"/>
                  </a:cubicBezTo>
                  <a:cubicBezTo>
                    <a:pt x="24488" y="498687"/>
                    <a:pt x="11788" y="318347"/>
                    <a:pt x="3321" y="208280"/>
                  </a:cubicBezTo>
                  <a:cubicBezTo>
                    <a:pt x="-5146" y="98213"/>
                    <a:pt x="4167" y="49106"/>
                    <a:pt x="13481"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83" name="Freeform: Shape 382"/>
            <p:cNvSpPr/>
            <p:nvPr/>
          </p:nvSpPr>
          <p:spPr bwMode="auto">
            <a:xfrm>
              <a:off x="8913977" y="2268771"/>
              <a:ext cx="224590" cy="70292"/>
            </a:xfrm>
            <a:custGeom>
              <a:avLst/>
              <a:gdLst>
                <a:gd name="connsiteX0" fmla="*/ 0 w 665480"/>
                <a:gd name="connsiteY0" fmla="*/ 0 h 208280"/>
                <a:gd name="connsiteX1" fmla="*/ 289560 w 665480"/>
                <a:gd name="connsiteY1" fmla="*/ 208280 h 208280"/>
                <a:gd name="connsiteX2" fmla="*/ 665480 w 665480"/>
                <a:gd name="connsiteY2" fmla="*/ 137160 h 208280"/>
              </a:gdLst>
              <a:ahLst/>
              <a:cxnLst>
                <a:cxn ang="0">
                  <a:pos x="connsiteX0" y="connsiteY0"/>
                </a:cxn>
                <a:cxn ang="0">
                  <a:pos x="connsiteX1" y="connsiteY1"/>
                </a:cxn>
                <a:cxn ang="0">
                  <a:pos x="connsiteX2" y="connsiteY2"/>
                </a:cxn>
              </a:cxnLst>
              <a:rect l="l" t="t" r="r" b="b"/>
              <a:pathLst>
                <a:path w="665480" h="208280">
                  <a:moveTo>
                    <a:pt x="0" y="0"/>
                  </a:moveTo>
                  <a:lnTo>
                    <a:pt x="289560" y="208280"/>
                  </a:lnTo>
                  <a:lnTo>
                    <a:pt x="665480" y="137160"/>
                  </a:ln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sp>
          <p:nvSpPr>
            <p:cNvPr id="384" name="Freeform: Shape 383"/>
            <p:cNvSpPr/>
            <p:nvPr/>
          </p:nvSpPr>
          <p:spPr bwMode="auto">
            <a:xfrm>
              <a:off x="8708428" y="2853390"/>
              <a:ext cx="563864" cy="131763"/>
            </a:xfrm>
            <a:custGeom>
              <a:avLst/>
              <a:gdLst>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55880 h 390426"/>
                <a:gd name="connsiteX9" fmla="*/ 1635219 w 1670779"/>
                <a:gd name="connsiteY9" fmla="*/ 0 h 390426"/>
                <a:gd name="connsiteX0" fmla="*/ 1670779 w 1670779"/>
                <a:gd name="connsiteY0" fmla="*/ 177800 h 390426"/>
                <a:gd name="connsiteX1" fmla="*/ 1538699 w 1670779"/>
                <a:gd name="connsiteY1" fmla="*/ 233680 h 390426"/>
                <a:gd name="connsiteX2" fmla="*/ 984979 w 1670779"/>
                <a:gd name="connsiteY2" fmla="*/ 325120 h 390426"/>
                <a:gd name="connsiteX3" fmla="*/ 390619 w 1670779"/>
                <a:gd name="connsiteY3" fmla="*/ 386080 h 390426"/>
                <a:gd name="connsiteX4" fmla="*/ 167099 w 1670779"/>
                <a:gd name="connsiteY4" fmla="*/ 370840 h 390426"/>
                <a:gd name="connsiteX5" fmla="*/ 9619 w 1670779"/>
                <a:gd name="connsiteY5" fmla="*/ 254000 h 390426"/>
                <a:gd name="connsiteX6" fmla="*/ 85819 w 1670779"/>
                <a:gd name="connsiteY6" fmla="*/ 203200 h 390426"/>
                <a:gd name="connsiteX7" fmla="*/ 639539 w 1670779"/>
                <a:gd name="connsiteY7" fmla="*/ 116840 h 390426"/>
                <a:gd name="connsiteX8" fmla="*/ 1294859 w 1670779"/>
                <a:gd name="connsiteY8" fmla="*/ 30480 h 390426"/>
                <a:gd name="connsiteX9" fmla="*/ 1635219 w 1670779"/>
                <a:gd name="connsiteY9" fmla="*/ 0 h 390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0779" h="390426">
                  <a:moveTo>
                    <a:pt x="1670779" y="177800"/>
                  </a:moveTo>
                  <a:cubicBezTo>
                    <a:pt x="1661889" y="193463"/>
                    <a:pt x="1652999" y="209127"/>
                    <a:pt x="1538699" y="233680"/>
                  </a:cubicBezTo>
                  <a:cubicBezTo>
                    <a:pt x="1424399" y="258233"/>
                    <a:pt x="1176325" y="299720"/>
                    <a:pt x="984979" y="325120"/>
                  </a:cubicBezTo>
                  <a:cubicBezTo>
                    <a:pt x="793633" y="350520"/>
                    <a:pt x="526932" y="378460"/>
                    <a:pt x="390619" y="386080"/>
                  </a:cubicBezTo>
                  <a:cubicBezTo>
                    <a:pt x="254306" y="393700"/>
                    <a:pt x="230599" y="392853"/>
                    <a:pt x="167099" y="370840"/>
                  </a:cubicBezTo>
                  <a:cubicBezTo>
                    <a:pt x="103599" y="348827"/>
                    <a:pt x="23166" y="281940"/>
                    <a:pt x="9619" y="254000"/>
                  </a:cubicBezTo>
                  <a:cubicBezTo>
                    <a:pt x="-3928" y="226060"/>
                    <a:pt x="-19168" y="226060"/>
                    <a:pt x="85819" y="203200"/>
                  </a:cubicBezTo>
                  <a:cubicBezTo>
                    <a:pt x="190806" y="180340"/>
                    <a:pt x="438032" y="145627"/>
                    <a:pt x="639539" y="116840"/>
                  </a:cubicBezTo>
                  <a:cubicBezTo>
                    <a:pt x="841046" y="88053"/>
                    <a:pt x="1128912" y="49953"/>
                    <a:pt x="1294859" y="30480"/>
                  </a:cubicBezTo>
                  <a:cubicBezTo>
                    <a:pt x="1460806" y="11007"/>
                    <a:pt x="1548012" y="18203"/>
                    <a:pt x="1635219" y="0"/>
                  </a:cubicBezTo>
                </a:path>
              </a:pathLst>
            </a:custGeom>
            <a:noFill/>
            <a:ln w="9525" cap="rnd" cmpd="sng" algn="ctr">
              <a:solidFill>
                <a:schemeClr val="bg1">
                  <a:lumMod val="50000"/>
                </a:schemeClr>
              </a:solidFill>
              <a:prstDash val="solid"/>
              <a:headEnd type="none" w="med" len="med"/>
              <a:tailEnd type="none" w="med" len="med"/>
            </a:ln>
            <a:effectLst/>
          </p:spPr>
          <p:txBody>
            <a:bodyPr rtlCol="0" anchor="ctr"/>
            <a:lstStyle/>
            <a:p>
              <a:pPr algn="ctr" defTabSz="524667">
                <a:defRPr/>
              </a:pPr>
              <a:endParaRPr lang="en-US" sz="1200" kern="0">
                <a:solidFill>
                  <a:srgbClr val="FFFFFF"/>
                </a:solidFill>
              </a:endParaRPr>
            </a:p>
          </p:txBody>
        </p:sp>
      </p:grpSp>
      <p:grpSp>
        <p:nvGrpSpPr>
          <p:cNvPr id="470" name="Group 469"/>
          <p:cNvGrpSpPr/>
          <p:nvPr/>
        </p:nvGrpSpPr>
        <p:grpSpPr>
          <a:xfrm>
            <a:off x="5482392" y="4227245"/>
            <a:ext cx="1336928" cy="940279"/>
            <a:chOff x="3556802" y="616382"/>
            <a:chExt cx="1226736" cy="862779"/>
          </a:xfrm>
        </p:grpSpPr>
        <p:grpSp>
          <p:nvGrpSpPr>
            <p:cNvPr id="456" name="Group 455"/>
            <p:cNvGrpSpPr/>
            <p:nvPr/>
          </p:nvGrpSpPr>
          <p:grpSpPr>
            <a:xfrm>
              <a:off x="3581047" y="644470"/>
              <a:ext cx="585166" cy="432145"/>
              <a:chOff x="9660420" y="2894132"/>
              <a:chExt cx="714056" cy="640828"/>
            </a:xfrm>
          </p:grpSpPr>
          <p:grpSp>
            <p:nvGrpSpPr>
              <p:cNvPr id="457" name="Group 456"/>
              <p:cNvGrpSpPr/>
              <p:nvPr/>
            </p:nvGrpSpPr>
            <p:grpSpPr>
              <a:xfrm>
                <a:off x="9660420" y="2894132"/>
                <a:ext cx="714056" cy="640828"/>
                <a:chOff x="3393735" y="1575630"/>
                <a:chExt cx="335303" cy="300917"/>
              </a:xfrm>
            </p:grpSpPr>
            <p:sp>
              <p:nvSpPr>
                <p:cNvPr id="460" name="Rounded Rectangle 491"/>
                <p:cNvSpPr/>
                <p:nvPr/>
              </p:nvSpPr>
              <p:spPr>
                <a:xfrm>
                  <a:off x="3393735" y="1577644"/>
                  <a:ext cx="335303" cy="298903"/>
                </a:xfrm>
                <a:prstGeom prst="roundRect">
                  <a:avLst>
                    <a:gd name="adj" fmla="val 7107"/>
                  </a:avLst>
                </a:prstGeom>
                <a:solidFill>
                  <a:srgbClr val="1A80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61" name="Round Same Side Corner Rectangle 492"/>
                <p:cNvSpPr/>
                <p:nvPr/>
              </p:nvSpPr>
              <p:spPr>
                <a:xfrm>
                  <a:off x="3393735" y="1577644"/>
                  <a:ext cx="335303" cy="50709"/>
                </a:xfrm>
                <a:prstGeom prst="round2SameRect">
                  <a:avLst>
                    <a:gd name="adj1" fmla="val 26060"/>
                    <a:gd name="adj2" fmla="val 0"/>
                  </a:avLst>
                </a:prstGeom>
                <a:solidFill>
                  <a:srgbClr val="B9B9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62" name="Freeform 493"/>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458" name="Chevron 489"/>
              <p:cNvSpPr/>
              <p:nvPr/>
            </p:nvSpPr>
            <p:spPr bwMode="auto">
              <a:xfrm>
                <a:off x="9734477" y="3249074"/>
                <a:ext cx="159183" cy="169039"/>
              </a:xfrm>
              <a:prstGeom prst="chevron">
                <a:avLst>
                  <a:gd name="adj" fmla="val 7826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59" name="Rectangle 458"/>
              <p:cNvSpPr/>
              <p:nvPr/>
            </p:nvSpPr>
            <p:spPr bwMode="auto">
              <a:xfrm flipV="1">
                <a:off x="9893660" y="3457727"/>
                <a:ext cx="214814" cy="182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600" err="1">
                  <a:gradFill>
                    <a:gsLst>
                      <a:gs pos="0">
                        <a:srgbClr val="FFFFFF"/>
                      </a:gs>
                      <a:gs pos="100000">
                        <a:srgbClr val="FFFFFF"/>
                      </a:gs>
                    </a:gsLst>
                    <a:lin ang="5400000" scaled="0"/>
                  </a:gradFill>
                  <a:ea typeface="Segoe UI" pitchFamily="34" charset="0"/>
                  <a:cs typeface="Segoe UI" pitchFamily="34" charset="0"/>
                </a:endParaRPr>
              </a:p>
            </p:txBody>
          </p:sp>
        </p:grpSp>
        <p:sp>
          <p:nvSpPr>
            <p:cNvPr id="463" name="Freeform 494"/>
            <p:cNvSpPr/>
            <p:nvPr/>
          </p:nvSpPr>
          <p:spPr bwMode="auto">
            <a:xfrm>
              <a:off x="4278372" y="616382"/>
              <a:ext cx="382060" cy="554609"/>
            </a:xfrm>
            <a:custGeom>
              <a:avLst/>
              <a:gdLst>
                <a:gd name="connsiteX0" fmla="*/ 363538 w 363538"/>
                <a:gd name="connsiteY0" fmla="*/ 231775 h 442913"/>
                <a:gd name="connsiteX1" fmla="*/ 363538 w 363538"/>
                <a:gd name="connsiteY1" fmla="*/ 79375 h 442913"/>
                <a:gd name="connsiteX2" fmla="*/ 187325 w 363538"/>
                <a:gd name="connsiteY2" fmla="*/ 79375 h 442913"/>
                <a:gd name="connsiteX3" fmla="*/ 187325 w 363538"/>
                <a:gd name="connsiteY3" fmla="*/ 442913 h 442913"/>
                <a:gd name="connsiteX4" fmla="*/ 0 w 363538"/>
                <a:gd name="connsiteY4" fmla="*/ 442913 h 442913"/>
                <a:gd name="connsiteX5" fmla="*/ 0 w 363538"/>
                <a:gd name="connsiteY5" fmla="*/ 0 h 442913"/>
                <a:gd name="connsiteX0" fmla="*/ 363538 w 366360"/>
                <a:gd name="connsiteY0" fmla="*/ 231775 h 442913"/>
                <a:gd name="connsiteX1" fmla="*/ 363538 w 366360"/>
                <a:gd name="connsiteY1" fmla="*/ 79375 h 442913"/>
                <a:gd name="connsiteX2" fmla="*/ 187325 w 366360"/>
                <a:gd name="connsiteY2" fmla="*/ 79375 h 442913"/>
                <a:gd name="connsiteX3" fmla="*/ 187325 w 366360"/>
                <a:gd name="connsiteY3" fmla="*/ 442913 h 442913"/>
                <a:gd name="connsiteX4" fmla="*/ 0 w 366360"/>
                <a:gd name="connsiteY4" fmla="*/ 442913 h 442913"/>
                <a:gd name="connsiteX5" fmla="*/ 0 w 366360"/>
                <a:gd name="connsiteY5" fmla="*/ 0 h 442913"/>
                <a:gd name="connsiteX0" fmla="*/ 363538 w 363673"/>
                <a:gd name="connsiteY0" fmla="*/ 231775 h 442913"/>
                <a:gd name="connsiteX1" fmla="*/ 363538 w 363673"/>
                <a:gd name="connsiteY1" fmla="*/ 79375 h 442913"/>
                <a:gd name="connsiteX2" fmla="*/ 187325 w 363673"/>
                <a:gd name="connsiteY2" fmla="*/ 79375 h 442913"/>
                <a:gd name="connsiteX3" fmla="*/ 187325 w 363673"/>
                <a:gd name="connsiteY3" fmla="*/ 442913 h 442913"/>
                <a:gd name="connsiteX4" fmla="*/ 0 w 363673"/>
                <a:gd name="connsiteY4" fmla="*/ 442913 h 442913"/>
                <a:gd name="connsiteX5" fmla="*/ 0 w 363673"/>
                <a:gd name="connsiteY5" fmla="*/ 0 h 442913"/>
                <a:gd name="connsiteX0" fmla="*/ 363538 w 363631"/>
                <a:gd name="connsiteY0" fmla="*/ 231775 h 442913"/>
                <a:gd name="connsiteX1" fmla="*/ 363538 w 363631"/>
                <a:gd name="connsiteY1" fmla="*/ 79375 h 442913"/>
                <a:gd name="connsiteX2" fmla="*/ 187325 w 363631"/>
                <a:gd name="connsiteY2" fmla="*/ 79375 h 442913"/>
                <a:gd name="connsiteX3" fmla="*/ 187325 w 363631"/>
                <a:gd name="connsiteY3" fmla="*/ 442913 h 442913"/>
                <a:gd name="connsiteX4" fmla="*/ 0 w 363631"/>
                <a:gd name="connsiteY4" fmla="*/ 442913 h 442913"/>
                <a:gd name="connsiteX5" fmla="*/ 0 w 363631"/>
                <a:gd name="connsiteY5" fmla="*/ 0 h 442913"/>
                <a:gd name="connsiteX0" fmla="*/ 363538 w 363630"/>
                <a:gd name="connsiteY0" fmla="*/ 231775 h 442913"/>
                <a:gd name="connsiteX1" fmla="*/ 363538 w 363630"/>
                <a:gd name="connsiteY1" fmla="*/ 79375 h 442913"/>
                <a:gd name="connsiteX2" fmla="*/ 187325 w 363630"/>
                <a:gd name="connsiteY2" fmla="*/ 79375 h 442913"/>
                <a:gd name="connsiteX3" fmla="*/ 187325 w 363630"/>
                <a:gd name="connsiteY3" fmla="*/ 442913 h 442913"/>
                <a:gd name="connsiteX4" fmla="*/ 0 w 363630"/>
                <a:gd name="connsiteY4" fmla="*/ 442913 h 442913"/>
                <a:gd name="connsiteX5" fmla="*/ 0 w 363630"/>
                <a:gd name="connsiteY5" fmla="*/ 0 h 442913"/>
                <a:gd name="connsiteX0" fmla="*/ 363538 w 365654"/>
                <a:gd name="connsiteY0" fmla="*/ 231775 h 442913"/>
                <a:gd name="connsiteX1" fmla="*/ 363538 w 365654"/>
                <a:gd name="connsiteY1" fmla="*/ 79375 h 442913"/>
                <a:gd name="connsiteX2" fmla="*/ 187325 w 365654"/>
                <a:gd name="connsiteY2" fmla="*/ 79375 h 442913"/>
                <a:gd name="connsiteX3" fmla="*/ 187325 w 365654"/>
                <a:gd name="connsiteY3" fmla="*/ 442913 h 442913"/>
                <a:gd name="connsiteX4" fmla="*/ 0 w 365654"/>
                <a:gd name="connsiteY4" fmla="*/ 442913 h 442913"/>
                <a:gd name="connsiteX5" fmla="*/ 0 w 365654"/>
                <a:gd name="connsiteY5" fmla="*/ 0 h 442913"/>
                <a:gd name="connsiteX0" fmla="*/ 363538 w 365654"/>
                <a:gd name="connsiteY0" fmla="*/ 231775 h 465490"/>
                <a:gd name="connsiteX1" fmla="*/ 363538 w 365654"/>
                <a:gd name="connsiteY1" fmla="*/ 79375 h 465490"/>
                <a:gd name="connsiteX2" fmla="*/ 187325 w 365654"/>
                <a:gd name="connsiteY2" fmla="*/ 79375 h 465490"/>
                <a:gd name="connsiteX3" fmla="*/ 187325 w 365654"/>
                <a:gd name="connsiteY3" fmla="*/ 442913 h 465490"/>
                <a:gd name="connsiteX4" fmla="*/ 0 w 365654"/>
                <a:gd name="connsiteY4" fmla="*/ 442913 h 465490"/>
                <a:gd name="connsiteX5" fmla="*/ 0 w 365654"/>
                <a:gd name="connsiteY5" fmla="*/ 0 h 465490"/>
                <a:gd name="connsiteX0" fmla="*/ 363773 w 365889"/>
                <a:gd name="connsiteY0" fmla="*/ 231775 h 483429"/>
                <a:gd name="connsiteX1" fmla="*/ 363773 w 365889"/>
                <a:gd name="connsiteY1" fmla="*/ 79375 h 483429"/>
                <a:gd name="connsiteX2" fmla="*/ 187560 w 365889"/>
                <a:gd name="connsiteY2" fmla="*/ 79375 h 483429"/>
                <a:gd name="connsiteX3" fmla="*/ 187560 w 365889"/>
                <a:gd name="connsiteY3" fmla="*/ 442913 h 483429"/>
                <a:gd name="connsiteX4" fmla="*/ 235 w 365889"/>
                <a:gd name="connsiteY4" fmla="*/ 442913 h 483429"/>
                <a:gd name="connsiteX5" fmla="*/ 235 w 365889"/>
                <a:gd name="connsiteY5" fmla="*/ 0 h 483429"/>
                <a:gd name="connsiteX0" fmla="*/ 363773 w 365889"/>
                <a:gd name="connsiteY0" fmla="*/ 231775 h 501587"/>
                <a:gd name="connsiteX1" fmla="*/ 363773 w 365889"/>
                <a:gd name="connsiteY1" fmla="*/ 79375 h 501587"/>
                <a:gd name="connsiteX2" fmla="*/ 187560 w 365889"/>
                <a:gd name="connsiteY2" fmla="*/ 79375 h 501587"/>
                <a:gd name="connsiteX3" fmla="*/ 187560 w 365889"/>
                <a:gd name="connsiteY3" fmla="*/ 442913 h 501587"/>
                <a:gd name="connsiteX4" fmla="*/ 235 w 365889"/>
                <a:gd name="connsiteY4" fmla="*/ 442913 h 501587"/>
                <a:gd name="connsiteX5" fmla="*/ 235 w 365889"/>
                <a:gd name="connsiteY5" fmla="*/ 0 h 501587"/>
                <a:gd name="connsiteX0" fmla="*/ 363773 w 365889"/>
                <a:gd name="connsiteY0" fmla="*/ 231775 h 524088"/>
                <a:gd name="connsiteX1" fmla="*/ 363773 w 365889"/>
                <a:gd name="connsiteY1" fmla="*/ 79375 h 524088"/>
                <a:gd name="connsiteX2" fmla="*/ 187560 w 365889"/>
                <a:gd name="connsiteY2" fmla="*/ 79375 h 524088"/>
                <a:gd name="connsiteX3" fmla="*/ 187560 w 365889"/>
                <a:gd name="connsiteY3" fmla="*/ 442913 h 524088"/>
                <a:gd name="connsiteX4" fmla="*/ 235 w 365889"/>
                <a:gd name="connsiteY4" fmla="*/ 442913 h 524088"/>
                <a:gd name="connsiteX5" fmla="*/ 235 w 365889"/>
                <a:gd name="connsiteY5" fmla="*/ 0 h 524088"/>
                <a:gd name="connsiteX0" fmla="*/ 363773 w 367301"/>
                <a:gd name="connsiteY0" fmla="*/ 233342 h 525655"/>
                <a:gd name="connsiteX1" fmla="*/ 363773 w 367301"/>
                <a:gd name="connsiteY1" fmla="*/ 80942 h 525655"/>
                <a:gd name="connsiteX2" fmla="*/ 187560 w 367301"/>
                <a:gd name="connsiteY2" fmla="*/ 80942 h 525655"/>
                <a:gd name="connsiteX3" fmla="*/ 187560 w 367301"/>
                <a:gd name="connsiteY3" fmla="*/ 444480 h 525655"/>
                <a:gd name="connsiteX4" fmla="*/ 235 w 367301"/>
                <a:gd name="connsiteY4" fmla="*/ 444480 h 525655"/>
                <a:gd name="connsiteX5" fmla="*/ 235 w 367301"/>
                <a:gd name="connsiteY5" fmla="*/ 1567 h 525655"/>
                <a:gd name="connsiteX0" fmla="*/ 363773 w 367301"/>
                <a:gd name="connsiteY0" fmla="*/ 244093 h 536406"/>
                <a:gd name="connsiteX1" fmla="*/ 363773 w 367301"/>
                <a:gd name="connsiteY1" fmla="*/ 91693 h 536406"/>
                <a:gd name="connsiteX2" fmla="*/ 187560 w 367301"/>
                <a:gd name="connsiteY2" fmla="*/ 91693 h 536406"/>
                <a:gd name="connsiteX3" fmla="*/ 187560 w 367301"/>
                <a:gd name="connsiteY3" fmla="*/ 455231 h 536406"/>
                <a:gd name="connsiteX4" fmla="*/ 235 w 367301"/>
                <a:gd name="connsiteY4" fmla="*/ 455231 h 536406"/>
                <a:gd name="connsiteX5" fmla="*/ 235 w 367301"/>
                <a:gd name="connsiteY5" fmla="*/ 12318 h 536406"/>
                <a:gd name="connsiteX0" fmla="*/ 364319 w 377009"/>
                <a:gd name="connsiteY0" fmla="*/ 231775 h 524088"/>
                <a:gd name="connsiteX1" fmla="*/ 363773 w 377009"/>
                <a:gd name="connsiteY1" fmla="*/ 79375 h 524088"/>
                <a:gd name="connsiteX2" fmla="*/ 187560 w 377009"/>
                <a:gd name="connsiteY2" fmla="*/ 79375 h 524088"/>
                <a:gd name="connsiteX3" fmla="*/ 187560 w 377009"/>
                <a:gd name="connsiteY3" fmla="*/ 442913 h 524088"/>
                <a:gd name="connsiteX4" fmla="*/ 235 w 377009"/>
                <a:gd name="connsiteY4" fmla="*/ 442913 h 524088"/>
                <a:gd name="connsiteX5" fmla="*/ 235 w 377009"/>
                <a:gd name="connsiteY5" fmla="*/ 0 h 524088"/>
                <a:gd name="connsiteX0" fmla="*/ 366501 w 377774"/>
                <a:gd name="connsiteY0" fmla="*/ 231775 h 524088"/>
                <a:gd name="connsiteX1" fmla="*/ 363773 w 377774"/>
                <a:gd name="connsiteY1" fmla="*/ 79375 h 524088"/>
                <a:gd name="connsiteX2" fmla="*/ 187560 w 377774"/>
                <a:gd name="connsiteY2" fmla="*/ 79375 h 524088"/>
                <a:gd name="connsiteX3" fmla="*/ 187560 w 377774"/>
                <a:gd name="connsiteY3" fmla="*/ 442913 h 524088"/>
                <a:gd name="connsiteX4" fmla="*/ 235 w 377774"/>
                <a:gd name="connsiteY4" fmla="*/ 442913 h 524088"/>
                <a:gd name="connsiteX5" fmla="*/ 235 w 377774"/>
                <a:gd name="connsiteY5" fmla="*/ 0 h 524088"/>
                <a:gd name="connsiteX0" fmla="*/ 366501 w 366501"/>
                <a:gd name="connsiteY0" fmla="*/ 231775 h 524088"/>
                <a:gd name="connsiteX1" fmla="*/ 363773 w 366501"/>
                <a:gd name="connsiteY1" fmla="*/ 79375 h 524088"/>
                <a:gd name="connsiteX2" fmla="*/ 187560 w 366501"/>
                <a:gd name="connsiteY2" fmla="*/ 79375 h 524088"/>
                <a:gd name="connsiteX3" fmla="*/ 187560 w 366501"/>
                <a:gd name="connsiteY3" fmla="*/ 442913 h 524088"/>
                <a:gd name="connsiteX4" fmla="*/ 235 w 366501"/>
                <a:gd name="connsiteY4" fmla="*/ 442913 h 524088"/>
                <a:gd name="connsiteX5" fmla="*/ 235 w 366501"/>
                <a:gd name="connsiteY5" fmla="*/ 0 h 524088"/>
                <a:gd name="connsiteX0" fmla="*/ 366501 w 366501"/>
                <a:gd name="connsiteY0" fmla="*/ 241968 h 534281"/>
                <a:gd name="connsiteX1" fmla="*/ 363773 w 366501"/>
                <a:gd name="connsiteY1" fmla="*/ 89568 h 534281"/>
                <a:gd name="connsiteX2" fmla="*/ 187560 w 366501"/>
                <a:gd name="connsiteY2" fmla="*/ 89568 h 534281"/>
                <a:gd name="connsiteX3" fmla="*/ 187560 w 366501"/>
                <a:gd name="connsiteY3" fmla="*/ 453106 h 534281"/>
                <a:gd name="connsiteX4" fmla="*/ 235 w 366501"/>
                <a:gd name="connsiteY4" fmla="*/ 453106 h 534281"/>
                <a:gd name="connsiteX5" fmla="*/ 235 w 366501"/>
                <a:gd name="connsiteY5" fmla="*/ 10193 h 534281"/>
                <a:gd name="connsiteX0" fmla="*/ 366501 w 366745"/>
                <a:gd name="connsiteY0" fmla="*/ 239729 h 532042"/>
                <a:gd name="connsiteX1" fmla="*/ 363773 w 366745"/>
                <a:gd name="connsiteY1" fmla="*/ 87329 h 532042"/>
                <a:gd name="connsiteX2" fmla="*/ 187560 w 366745"/>
                <a:gd name="connsiteY2" fmla="*/ 87329 h 532042"/>
                <a:gd name="connsiteX3" fmla="*/ 187560 w 366745"/>
                <a:gd name="connsiteY3" fmla="*/ 450867 h 532042"/>
                <a:gd name="connsiteX4" fmla="*/ 235 w 366745"/>
                <a:gd name="connsiteY4" fmla="*/ 450867 h 532042"/>
                <a:gd name="connsiteX5" fmla="*/ 235 w 366745"/>
                <a:gd name="connsiteY5" fmla="*/ 7954 h 532042"/>
                <a:gd name="connsiteX0" fmla="*/ 366501 w 366501"/>
                <a:gd name="connsiteY0" fmla="*/ 239729 h 532042"/>
                <a:gd name="connsiteX1" fmla="*/ 363773 w 366501"/>
                <a:gd name="connsiteY1" fmla="*/ 87329 h 532042"/>
                <a:gd name="connsiteX2" fmla="*/ 187560 w 366501"/>
                <a:gd name="connsiteY2" fmla="*/ 87329 h 532042"/>
                <a:gd name="connsiteX3" fmla="*/ 187560 w 366501"/>
                <a:gd name="connsiteY3" fmla="*/ 450867 h 532042"/>
                <a:gd name="connsiteX4" fmla="*/ 235 w 366501"/>
                <a:gd name="connsiteY4" fmla="*/ 450867 h 532042"/>
                <a:gd name="connsiteX5" fmla="*/ 235 w 366501"/>
                <a:gd name="connsiteY5" fmla="*/ 7954 h 532042"/>
                <a:gd name="connsiteX0" fmla="*/ 366501 w 366514"/>
                <a:gd name="connsiteY0" fmla="*/ 239729 h 532042"/>
                <a:gd name="connsiteX1" fmla="*/ 363773 w 366514"/>
                <a:gd name="connsiteY1" fmla="*/ 87329 h 532042"/>
                <a:gd name="connsiteX2" fmla="*/ 187560 w 366514"/>
                <a:gd name="connsiteY2" fmla="*/ 87329 h 532042"/>
                <a:gd name="connsiteX3" fmla="*/ 187560 w 366514"/>
                <a:gd name="connsiteY3" fmla="*/ 450867 h 532042"/>
                <a:gd name="connsiteX4" fmla="*/ 235 w 366514"/>
                <a:gd name="connsiteY4" fmla="*/ 450867 h 532042"/>
                <a:gd name="connsiteX5" fmla="*/ 235 w 366514"/>
                <a:gd name="connsiteY5" fmla="*/ 7954 h 53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514" h="532042">
                  <a:moveTo>
                    <a:pt x="366501" y="239729"/>
                  </a:moveTo>
                  <a:cubicBezTo>
                    <a:pt x="365955" y="190020"/>
                    <a:pt x="367953" y="201114"/>
                    <a:pt x="363773" y="87329"/>
                  </a:cubicBezTo>
                  <a:cubicBezTo>
                    <a:pt x="359593" y="-26456"/>
                    <a:pt x="187561" y="-31733"/>
                    <a:pt x="187560" y="87329"/>
                  </a:cubicBezTo>
                  <a:cubicBezTo>
                    <a:pt x="187559" y="206391"/>
                    <a:pt x="188090" y="354029"/>
                    <a:pt x="187560" y="450867"/>
                  </a:cubicBezTo>
                  <a:cubicBezTo>
                    <a:pt x="187030" y="547705"/>
                    <a:pt x="765" y="569929"/>
                    <a:pt x="235" y="450867"/>
                  </a:cubicBezTo>
                  <a:cubicBezTo>
                    <a:pt x="-295" y="331805"/>
                    <a:pt x="235" y="155592"/>
                    <a:pt x="235" y="7954"/>
                  </a:cubicBezTo>
                </a:path>
              </a:pathLst>
            </a:custGeom>
            <a:noFill/>
            <a:ln>
              <a:solidFill>
                <a:srgbClr val="F1890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rgbClr val="FFFFFF"/>
                </a:solidFill>
              </a:endParaRPr>
            </a:p>
          </p:txBody>
        </p:sp>
        <p:sp>
          <p:nvSpPr>
            <p:cNvPr id="464" name="Freeform 495"/>
            <p:cNvSpPr/>
            <p:nvPr/>
          </p:nvSpPr>
          <p:spPr bwMode="auto">
            <a:xfrm>
              <a:off x="4541906" y="889170"/>
              <a:ext cx="241632" cy="296492"/>
            </a:xfrm>
            <a:custGeom>
              <a:avLst/>
              <a:gdLst>
                <a:gd name="connsiteX0" fmla="*/ 299 w 241632"/>
                <a:gd name="connsiteY0" fmla="*/ 142087 h 296492"/>
                <a:gd name="connsiteX1" fmla="*/ 241333 w 241632"/>
                <a:gd name="connsiteY1" fmla="*/ 142087 h 296492"/>
                <a:gd name="connsiteX2" fmla="*/ 241632 w 241632"/>
                <a:gd name="connsiteY2" fmla="*/ 148246 h 296492"/>
                <a:gd name="connsiteX3" fmla="*/ 120816 w 241632"/>
                <a:gd name="connsiteY3" fmla="*/ 296492 h 296492"/>
                <a:gd name="connsiteX4" fmla="*/ 0 w 241632"/>
                <a:gd name="connsiteY4" fmla="*/ 148246 h 296492"/>
                <a:gd name="connsiteX5" fmla="*/ 111672 w 241632"/>
                <a:gd name="connsiteY5" fmla="*/ 724 h 296492"/>
                <a:gd name="connsiteX6" fmla="*/ 111672 w 241632"/>
                <a:gd name="connsiteY6" fmla="*/ 132943 h 296492"/>
                <a:gd name="connsiteX7" fmla="*/ 742 w 241632"/>
                <a:gd name="connsiteY7" fmla="*/ 132943 h 296492"/>
                <a:gd name="connsiteX8" fmla="*/ 2797 w 241632"/>
                <a:gd name="connsiteY8" fmla="*/ 90542 h 296492"/>
                <a:gd name="connsiteX9" fmla="*/ 82794 w 241632"/>
                <a:gd name="connsiteY9" fmla="*/ 3012 h 296492"/>
                <a:gd name="connsiteX10" fmla="*/ 120816 w 241632"/>
                <a:gd name="connsiteY10" fmla="*/ 0 h 296492"/>
                <a:gd name="connsiteX11" fmla="*/ 238835 w 241632"/>
                <a:gd name="connsiteY11" fmla="*/ 90542 h 296492"/>
                <a:gd name="connsiteX12" fmla="*/ 240890 w 241632"/>
                <a:gd name="connsiteY12" fmla="*/ 132943 h 296492"/>
                <a:gd name="connsiteX13" fmla="*/ 120816 w 241632"/>
                <a:gd name="connsiteY13" fmla="*/ 132943 h 29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632" h="296492">
                  <a:moveTo>
                    <a:pt x="299" y="142087"/>
                  </a:moveTo>
                  <a:lnTo>
                    <a:pt x="241333" y="142087"/>
                  </a:lnTo>
                  <a:lnTo>
                    <a:pt x="241632" y="148246"/>
                  </a:lnTo>
                  <a:cubicBezTo>
                    <a:pt x="241632" y="230120"/>
                    <a:pt x="187541" y="296492"/>
                    <a:pt x="120816" y="296492"/>
                  </a:cubicBezTo>
                  <a:cubicBezTo>
                    <a:pt x="54091" y="296492"/>
                    <a:pt x="0" y="230120"/>
                    <a:pt x="0" y="148246"/>
                  </a:cubicBezTo>
                  <a:close/>
                  <a:moveTo>
                    <a:pt x="111672" y="724"/>
                  </a:moveTo>
                  <a:lnTo>
                    <a:pt x="111672" y="132943"/>
                  </a:lnTo>
                  <a:lnTo>
                    <a:pt x="742" y="132943"/>
                  </a:lnTo>
                  <a:lnTo>
                    <a:pt x="2797" y="90542"/>
                  </a:lnTo>
                  <a:cubicBezTo>
                    <a:pt x="8779" y="46202"/>
                    <a:pt x="27191" y="12886"/>
                    <a:pt x="82794" y="3012"/>
                  </a:cubicBezTo>
                  <a:close/>
                  <a:moveTo>
                    <a:pt x="120816" y="0"/>
                  </a:moveTo>
                  <a:cubicBezTo>
                    <a:pt x="206579" y="0"/>
                    <a:pt x="231656" y="37334"/>
                    <a:pt x="238835" y="90542"/>
                  </a:cubicBezTo>
                  <a:lnTo>
                    <a:pt x="240890" y="132943"/>
                  </a:lnTo>
                  <a:lnTo>
                    <a:pt x="120816" y="132943"/>
                  </a:lnTo>
                  <a:close/>
                </a:path>
              </a:pathLst>
            </a:custGeom>
            <a:solidFill>
              <a:srgbClr val="F18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65" name="Group 464"/>
            <p:cNvGrpSpPr/>
            <p:nvPr/>
          </p:nvGrpSpPr>
          <p:grpSpPr>
            <a:xfrm>
              <a:off x="3556802" y="1325390"/>
              <a:ext cx="1199536" cy="153771"/>
              <a:chOff x="9504074" y="2586906"/>
              <a:chExt cx="1199536" cy="153771"/>
            </a:xfrm>
          </p:grpSpPr>
          <p:sp>
            <p:nvSpPr>
              <p:cNvPr id="466" name="Freeform 497"/>
              <p:cNvSpPr/>
              <p:nvPr/>
            </p:nvSpPr>
            <p:spPr bwMode="auto">
              <a:xfrm>
                <a:off x="9504074" y="2586906"/>
                <a:ext cx="525255" cy="153771"/>
              </a:xfrm>
              <a:custGeom>
                <a:avLst/>
                <a:gdLst>
                  <a:gd name="connsiteX0" fmla="*/ 372534 w 2242670"/>
                  <a:gd name="connsiteY0" fmla="*/ 7658 h 656554"/>
                  <a:gd name="connsiteX1" fmla="*/ 372534 w 2242670"/>
                  <a:gd name="connsiteY1" fmla="*/ 645613 h 656554"/>
                  <a:gd name="connsiteX2" fmla="*/ 0 w 2242670"/>
                  <a:gd name="connsiteY2" fmla="*/ 326635 h 656554"/>
                  <a:gd name="connsiteX3" fmla="*/ 2093977 w 2242670"/>
                  <a:gd name="connsiteY3" fmla="*/ 0 h 656554"/>
                  <a:gd name="connsiteX4" fmla="*/ 2242670 w 2242670"/>
                  <a:gd name="connsiteY4" fmla="*/ 0 h 656554"/>
                  <a:gd name="connsiteX5" fmla="*/ 2242670 w 2242670"/>
                  <a:gd name="connsiteY5" fmla="*/ 656554 h 656554"/>
                  <a:gd name="connsiteX6" fmla="*/ 2093977 w 2242670"/>
                  <a:gd name="connsiteY6" fmla="*/ 656554 h 656554"/>
                  <a:gd name="connsiteX7" fmla="*/ 2093977 w 2242670"/>
                  <a:gd name="connsiteY7" fmla="*/ 636968 h 656554"/>
                  <a:gd name="connsiteX8" fmla="*/ 2011817 w 2242670"/>
                  <a:gd name="connsiteY8" fmla="*/ 519780 h 656554"/>
                  <a:gd name="connsiteX9" fmla="*/ 1932684 w 2242670"/>
                  <a:gd name="connsiteY9" fmla="*/ 630077 h 656554"/>
                  <a:gd name="connsiteX10" fmla="*/ 1932684 w 2242670"/>
                  <a:gd name="connsiteY10" fmla="*/ 632524 h 656554"/>
                  <a:gd name="connsiteX11" fmla="*/ 373173 w 2242670"/>
                  <a:gd name="connsiteY11" fmla="*/ 632524 h 656554"/>
                  <a:gd name="connsiteX12" fmla="*/ 373173 w 2242670"/>
                  <a:gd name="connsiteY12" fmla="*/ 7257 h 656554"/>
                  <a:gd name="connsiteX13" fmla="*/ 1932684 w 2242670"/>
                  <a:gd name="connsiteY13" fmla="*/ 7257 h 656554"/>
                  <a:gd name="connsiteX14" fmla="*/ 1932684 w 2242670"/>
                  <a:gd name="connsiteY14" fmla="*/ 6667 h 656554"/>
                  <a:gd name="connsiteX15" fmla="*/ 2014317 w 2242670"/>
                  <a:gd name="connsiteY15" fmla="*/ 120448 h 656554"/>
                  <a:gd name="connsiteX16" fmla="*/ 2093977 w 2242670"/>
                  <a:gd name="connsiteY16" fmla="*/ 6826 h 65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2670" h="656554">
                    <a:moveTo>
                      <a:pt x="372534" y="7658"/>
                    </a:moveTo>
                    <a:lnTo>
                      <a:pt x="372534" y="645613"/>
                    </a:lnTo>
                    <a:lnTo>
                      <a:pt x="0" y="326635"/>
                    </a:lnTo>
                    <a:close/>
                    <a:moveTo>
                      <a:pt x="2093977" y="0"/>
                    </a:moveTo>
                    <a:lnTo>
                      <a:pt x="2242670" y="0"/>
                    </a:lnTo>
                    <a:lnTo>
                      <a:pt x="2242670" y="656554"/>
                    </a:lnTo>
                    <a:lnTo>
                      <a:pt x="2093977" y="656554"/>
                    </a:lnTo>
                    <a:lnTo>
                      <a:pt x="2093977" y="636968"/>
                    </a:lnTo>
                    <a:lnTo>
                      <a:pt x="2011817" y="519780"/>
                    </a:lnTo>
                    <a:lnTo>
                      <a:pt x="1932684" y="630077"/>
                    </a:lnTo>
                    <a:lnTo>
                      <a:pt x="1932684" y="632524"/>
                    </a:lnTo>
                    <a:lnTo>
                      <a:pt x="373173" y="632524"/>
                    </a:lnTo>
                    <a:lnTo>
                      <a:pt x="373173" y="7257"/>
                    </a:lnTo>
                    <a:lnTo>
                      <a:pt x="1932684" y="7257"/>
                    </a:lnTo>
                    <a:lnTo>
                      <a:pt x="1932684" y="6667"/>
                    </a:lnTo>
                    <a:lnTo>
                      <a:pt x="2014317" y="120448"/>
                    </a:lnTo>
                    <a:lnTo>
                      <a:pt x="2093977" y="6826"/>
                    </a:lnTo>
                    <a:close/>
                  </a:path>
                </a:pathLst>
              </a:custGeom>
              <a:solidFill>
                <a:srgbClr val="80B9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7" name="Rounded Rectangle 498"/>
              <p:cNvSpPr/>
              <p:nvPr/>
            </p:nvSpPr>
            <p:spPr bwMode="auto">
              <a:xfrm>
                <a:off x="9642107" y="2616495"/>
                <a:ext cx="286998" cy="24769"/>
              </a:xfrm>
              <a:prstGeom prst="roundRect">
                <a:avLst>
                  <a:gd name="adj" fmla="val 50000"/>
                </a:avLst>
              </a:prstGeom>
              <a:solidFill>
                <a:srgbClr val="B6DD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 err="1">
                  <a:gradFill>
                    <a:gsLst>
                      <a:gs pos="0">
                        <a:srgbClr val="FFFFFF"/>
                      </a:gs>
                      <a:gs pos="100000">
                        <a:srgbClr val="FFFFFF"/>
                      </a:gs>
                    </a:gsLst>
                    <a:lin ang="5400000" scaled="0"/>
                  </a:gradFill>
                  <a:ea typeface="Segoe UI" pitchFamily="34" charset="0"/>
                  <a:cs typeface="Segoe UI" pitchFamily="34" charset="0"/>
                </a:endParaRPr>
              </a:p>
            </p:txBody>
          </p:sp>
          <p:sp>
            <p:nvSpPr>
              <p:cNvPr id="468" name="Rounded Rectangle 499"/>
              <p:cNvSpPr/>
              <p:nvPr/>
            </p:nvSpPr>
            <p:spPr bwMode="auto">
              <a:xfrm>
                <a:off x="9642107" y="2680820"/>
                <a:ext cx="286998" cy="24769"/>
              </a:xfrm>
              <a:prstGeom prst="roundRect">
                <a:avLst>
                  <a:gd name="adj" fmla="val 50000"/>
                </a:avLst>
              </a:prstGeom>
              <a:solidFill>
                <a:srgbClr val="B6DD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 err="1">
                  <a:gradFill>
                    <a:gsLst>
                      <a:gs pos="0">
                        <a:srgbClr val="FFFFFF"/>
                      </a:gs>
                      <a:gs pos="100000">
                        <a:srgbClr val="FFFFFF"/>
                      </a:gs>
                    </a:gsLst>
                    <a:lin ang="5400000" scaled="0"/>
                  </a:gradFill>
                  <a:ea typeface="Segoe UI" pitchFamily="34" charset="0"/>
                  <a:cs typeface="Segoe UI" pitchFamily="34" charset="0"/>
                </a:endParaRPr>
              </a:p>
            </p:txBody>
          </p:sp>
          <p:sp>
            <p:nvSpPr>
              <p:cNvPr id="469" name="Freeform 500"/>
              <p:cNvSpPr/>
              <p:nvPr/>
            </p:nvSpPr>
            <p:spPr bwMode="auto">
              <a:xfrm rot="5400000" flipH="1">
                <a:off x="10327596" y="2329655"/>
                <a:ext cx="79014" cy="673015"/>
              </a:xfrm>
              <a:custGeom>
                <a:avLst/>
                <a:gdLst>
                  <a:gd name="connsiteX0" fmla="*/ 0 w 486195"/>
                  <a:gd name="connsiteY0" fmla="*/ 740593 h 4141241"/>
                  <a:gd name="connsiteX1" fmla="*/ 1002 w 486195"/>
                  <a:gd name="connsiteY1" fmla="*/ 734488 h 4141241"/>
                  <a:gd name="connsiteX2" fmla="*/ 16 w 486195"/>
                  <a:gd name="connsiteY2" fmla="*/ 733535 h 4141241"/>
                  <a:gd name="connsiteX3" fmla="*/ 1158 w 486195"/>
                  <a:gd name="connsiteY3" fmla="*/ 733535 h 4141241"/>
                  <a:gd name="connsiteX4" fmla="*/ 121545 w 486195"/>
                  <a:gd name="connsiteY4" fmla="*/ 0 h 4141241"/>
                  <a:gd name="connsiteX5" fmla="*/ 364634 w 486195"/>
                  <a:gd name="connsiteY5" fmla="*/ 0 h 4141241"/>
                  <a:gd name="connsiteX6" fmla="*/ 485021 w 486195"/>
                  <a:gd name="connsiteY6" fmla="*/ 733535 h 4141241"/>
                  <a:gd name="connsiteX7" fmla="*/ 486195 w 486195"/>
                  <a:gd name="connsiteY7" fmla="*/ 733535 h 4141241"/>
                  <a:gd name="connsiteX8" fmla="*/ 485181 w 486195"/>
                  <a:gd name="connsiteY8" fmla="*/ 734513 h 4141241"/>
                  <a:gd name="connsiteX9" fmla="*/ 486179 w 486195"/>
                  <a:gd name="connsiteY9" fmla="*/ 740593 h 4141241"/>
                  <a:gd name="connsiteX10" fmla="*/ 478886 w 486195"/>
                  <a:gd name="connsiteY10" fmla="*/ 740593 h 4141241"/>
                  <a:gd name="connsiteX11" fmla="*/ 379250 w 486195"/>
                  <a:gd name="connsiteY11" fmla="*/ 836811 h 4141241"/>
                  <a:gd name="connsiteX12" fmla="*/ 379250 w 486195"/>
                  <a:gd name="connsiteY12" fmla="*/ 4141241 h 4141241"/>
                  <a:gd name="connsiteX13" fmla="*/ 103326 w 486195"/>
                  <a:gd name="connsiteY13" fmla="*/ 4141241 h 4141241"/>
                  <a:gd name="connsiteX14" fmla="*/ 103326 w 486195"/>
                  <a:gd name="connsiteY14" fmla="*/ 836037 h 4141241"/>
                  <a:gd name="connsiteX15" fmla="*/ 106159 w 486195"/>
                  <a:gd name="connsiteY15" fmla="*/ 836037 h 4141241"/>
                  <a:gd name="connsiteX16" fmla="*/ 7324 w 486195"/>
                  <a:gd name="connsiteY16" fmla="*/ 740593 h 414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6195" h="4141241">
                    <a:moveTo>
                      <a:pt x="0" y="740593"/>
                    </a:moveTo>
                    <a:lnTo>
                      <a:pt x="1002" y="734488"/>
                    </a:lnTo>
                    <a:lnTo>
                      <a:pt x="16" y="733535"/>
                    </a:lnTo>
                    <a:lnTo>
                      <a:pt x="1158" y="733535"/>
                    </a:lnTo>
                    <a:lnTo>
                      <a:pt x="121545" y="0"/>
                    </a:lnTo>
                    <a:lnTo>
                      <a:pt x="364634" y="0"/>
                    </a:lnTo>
                    <a:lnTo>
                      <a:pt x="485021" y="733535"/>
                    </a:lnTo>
                    <a:lnTo>
                      <a:pt x="486195" y="733535"/>
                    </a:lnTo>
                    <a:lnTo>
                      <a:pt x="485181" y="734513"/>
                    </a:lnTo>
                    <a:lnTo>
                      <a:pt x="486179" y="740593"/>
                    </a:lnTo>
                    <a:lnTo>
                      <a:pt x="478886" y="740593"/>
                    </a:lnTo>
                    <a:lnTo>
                      <a:pt x="379250" y="836811"/>
                    </a:lnTo>
                    <a:lnTo>
                      <a:pt x="379250" y="4141241"/>
                    </a:lnTo>
                    <a:lnTo>
                      <a:pt x="103326" y="4141241"/>
                    </a:lnTo>
                    <a:lnTo>
                      <a:pt x="103326" y="836037"/>
                    </a:lnTo>
                    <a:lnTo>
                      <a:pt x="106159" y="836037"/>
                    </a:lnTo>
                    <a:lnTo>
                      <a:pt x="7324" y="740593"/>
                    </a:lnTo>
                    <a:close/>
                  </a:path>
                </a:pathLst>
              </a:custGeom>
              <a:solidFill>
                <a:srgbClr val="CBEB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 name="Rectangle 5"/>
          <p:cNvSpPr/>
          <p:nvPr/>
        </p:nvSpPr>
        <p:spPr>
          <a:xfrm>
            <a:off x="1426196" y="5492744"/>
            <a:ext cx="8581854" cy="1200329"/>
          </a:xfrm>
          <a:prstGeom prst="rect">
            <a:avLst/>
          </a:prstGeom>
        </p:spPr>
        <p:txBody>
          <a:bodyPr wrap="square">
            <a:spAutoFit/>
          </a:bodyPr>
          <a:lstStyle/>
          <a:p>
            <a:pPr algn="ctr"/>
            <a:r>
              <a:rPr lang="en-US" sz="2400">
                <a:solidFill>
                  <a:srgbClr val="505050"/>
                </a:solidFill>
              </a:rPr>
              <a:t>Automakers will leverage </a:t>
            </a:r>
            <a:r>
              <a:rPr lang="en-US" sz="2400" b="1">
                <a:solidFill>
                  <a:srgbClr val="505050"/>
                </a:solidFill>
              </a:rPr>
              <a:t>Microsoft Services </a:t>
            </a:r>
            <a:r>
              <a:rPr lang="en-US" sz="2400">
                <a:solidFill>
                  <a:srgbClr val="505050"/>
                </a:solidFill>
              </a:rPr>
              <a:t>or </a:t>
            </a:r>
            <a:r>
              <a:rPr lang="en-US" sz="2400" b="1">
                <a:solidFill>
                  <a:srgbClr val="505050"/>
                </a:solidFill>
              </a:rPr>
              <a:t>approved System Integrators</a:t>
            </a:r>
            <a:r>
              <a:rPr lang="en-US" sz="2400">
                <a:solidFill>
                  <a:srgbClr val="505050"/>
                </a:solidFill>
              </a:rPr>
              <a:t> to customize, augment and operate the solution.</a:t>
            </a:r>
          </a:p>
        </p:txBody>
      </p:sp>
    </p:spTree>
    <p:extLst>
      <p:ext uri="{BB962C8B-B14F-4D97-AF65-F5344CB8AC3E}">
        <p14:creationId xmlns:p14="http://schemas.microsoft.com/office/powerpoint/2010/main" val="5887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l="7635" t="11255" r="7105" b="16918"/>
          <a:stretch/>
        </p:blipFill>
        <p:spPr>
          <a:xfrm>
            <a:off x="0" y="0"/>
            <a:ext cx="12192000" cy="6858000"/>
          </a:xfrm>
          <a:prstGeom prst="rect">
            <a:avLst/>
          </a:prstGeom>
        </p:spPr>
      </p:pic>
      <p:sp>
        <p:nvSpPr>
          <p:cNvPr id="49" name="TextBox 48"/>
          <p:cNvSpPr txBox="1"/>
          <p:nvPr/>
        </p:nvSpPr>
        <p:spPr>
          <a:xfrm>
            <a:off x="78440" y="6527816"/>
            <a:ext cx="4093634" cy="217849"/>
          </a:xfrm>
          <a:prstGeom prst="rect">
            <a:avLst/>
          </a:prstGeom>
          <a:noFill/>
        </p:spPr>
        <p:txBody>
          <a:bodyPr wrap="square" rtlCol="0">
            <a:spAutoFit/>
          </a:bodyPr>
          <a:lstStyle/>
          <a:p>
            <a:pPr defTabSz="896214">
              <a:spcAft>
                <a:spcPts val="600"/>
              </a:spcAft>
              <a:defRPr/>
            </a:pPr>
            <a:r>
              <a:rPr lang="en-US" sz="800" kern="0">
                <a:solidFill>
                  <a:srgbClr val="505050"/>
                </a:solidFill>
                <a:cs typeface="Segoe UI Semibold" panose="020B0702040204020203" pitchFamily="34" charset="0"/>
              </a:rPr>
              <a:t>Sources: McKinsey; Accenture; Corp Strat analysis</a:t>
            </a:r>
            <a:endParaRPr lang="en-US" sz="500" kern="0">
              <a:solidFill>
                <a:srgbClr val="505050"/>
              </a:solidFill>
            </a:endParaRPr>
          </a:p>
        </p:txBody>
      </p:sp>
      <p:sp>
        <p:nvSpPr>
          <p:cNvPr id="7" name="Rectangle 6"/>
          <p:cNvSpPr/>
          <p:nvPr/>
        </p:nvSpPr>
        <p:spPr bwMode="auto">
          <a:xfrm>
            <a:off x="-2" y="4907280"/>
            <a:ext cx="12263121" cy="1950720"/>
          </a:xfrm>
          <a:prstGeom prst="rect">
            <a:avLst/>
          </a:prstGeom>
          <a:solidFill>
            <a:schemeClr val="tx2">
              <a:alpha val="64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FFFFFF"/>
              </a:solidFill>
            </a:endParaRPr>
          </a:p>
        </p:txBody>
      </p:sp>
      <p:sp>
        <p:nvSpPr>
          <p:cNvPr id="47" name="Rectangle 46"/>
          <p:cNvSpPr/>
          <p:nvPr/>
        </p:nvSpPr>
        <p:spPr>
          <a:xfrm>
            <a:off x="4003040" y="5067080"/>
            <a:ext cx="8117840" cy="1661993"/>
          </a:xfrm>
          <a:prstGeom prst="rect">
            <a:avLst/>
          </a:prstGeom>
        </p:spPr>
        <p:txBody>
          <a:bodyPr wrap="square" lIns="274320">
            <a:spAutoFit/>
          </a:bodyPr>
          <a:lstStyle/>
          <a:p>
            <a:pPr defTabSz="914225">
              <a:spcBef>
                <a:spcPts val="1200"/>
              </a:spcBef>
            </a:pPr>
            <a:r>
              <a:rPr lang="en-US">
                <a:solidFill>
                  <a:srgbClr val="FFFFFF"/>
                </a:solidFill>
              </a:rPr>
              <a:t>Platform approach</a:t>
            </a:r>
            <a:endParaRPr lang="en-US" kern="0">
              <a:solidFill>
                <a:srgbClr val="FFFFFF"/>
              </a:solidFill>
            </a:endParaRPr>
          </a:p>
          <a:p>
            <a:pPr defTabSz="914225">
              <a:spcBef>
                <a:spcPts val="1200"/>
              </a:spcBef>
            </a:pPr>
            <a:r>
              <a:rPr lang="en-US" kern="0">
                <a:solidFill>
                  <a:srgbClr val="FFFFFF"/>
                </a:solidFill>
              </a:rPr>
              <a:t>We are here to partner</a:t>
            </a:r>
          </a:p>
          <a:p>
            <a:pPr defTabSz="914225">
              <a:spcBef>
                <a:spcPts val="1200"/>
              </a:spcBef>
            </a:pPr>
            <a:r>
              <a:rPr lang="en-US" kern="0">
                <a:solidFill>
                  <a:srgbClr val="FFFFFF"/>
                </a:solidFill>
              </a:rPr>
              <a:t>80% solution, gives you flexibility to customize to your specific needs</a:t>
            </a:r>
          </a:p>
          <a:p>
            <a:pPr defTabSz="914225">
              <a:spcBef>
                <a:spcPts val="1200"/>
              </a:spcBef>
            </a:pPr>
            <a:r>
              <a:rPr lang="en-US" kern="0">
                <a:solidFill>
                  <a:srgbClr val="FFFFFF"/>
                </a:solidFill>
              </a:rPr>
              <a:t>Approach is to leverage the automotive ecosystem</a:t>
            </a:r>
            <a:endParaRPr lang="en-US" sz="1600" kern="0">
              <a:solidFill>
                <a:srgbClr val="FFFFFF"/>
              </a:solidFill>
            </a:endParaRPr>
          </a:p>
        </p:txBody>
      </p:sp>
      <p:sp>
        <p:nvSpPr>
          <p:cNvPr id="3" name="Title 2"/>
          <p:cNvSpPr>
            <a:spLocks noGrp="1"/>
          </p:cNvSpPr>
          <p:nvPr>
            <p:ph type="title"/>
          </p:nvPr>
        </p:nvSpPr>
        <p:spPr>
          <a:xfrm>
            <a:off x="-2" y="5013530"/>
            <a:ext cx="4475019" cy="899665"/>
          </a:xfrm>
        </p:spPr>
        <p:txBody>
          <a:bodyPr lIns="274320"/>
          <a:lstStyle/>
          <a:p>
            <a:r>
              <a:rPr lang="en-US" sz="4400">
                <a:solidFill>
                  <a:schemeClr val="bg1"/>
                </a:solidFill>
              </a:rPr>
              <a:t>Our approach</a:t>
            </a:r>
          </a:p>
        </p:txBody>
      </p:sp>
    </p:spTree>
    <p:extLst>
      <p:ext uri="{BB962C8B-B14F-4D97-AF65-F5344CB8AC3E}">
        <p14:creationId xmlns:p14="http://schemas.microsoft.com/office/powerpoint/2010/main" val="97048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090" y="-7993"/>
            <a:ext cx="10515600" cy="1325563"/>
          </a:xfrm>
        </p:spPr>
        <p:txBody>
          <a:bodyPr/>
          <a:lstStyle/>
          <a:p>
            <a:r>
              <a:rPr lang="en-US" dirty="0"/>
              <a:t>Connected Vehicle Reference Architecture</a:t>
            </a:r>
          </a:p>
        </p:txBody>
      </p:sp>
      <p:grpSp>
        <p:nvGrpSpPr>
          <p:cNvPr id="18" name="Group 17"/>
          <p:cNvGrpSpPr/>
          <p:nvPr/>
        </p:nvGrpSpPr>
        <p:grpSpPr>
          <a:xfrm>
            <a:off x="241733" y="1064271"/>
            <a:ext cx="11732176" cy="5530812"/>
            <a:chOff x="241733" y="1064271"/>
            <a:chExt cx="11732176" cy="5530812"/>
          </a:xfrm>
        </p:grpSpPr>
        <p:sp>
          <p:nvSpPr>
            <p:cNvPr id="35" name="Rectangle: Rounded Corners 34"/>
            <p:cNvSpPr/>
            <p:nvPr/>
          </p:nvSpPr>
          <p:spPr bwMode="auto">
            <a:xfrm>
              <a:off x="2216337" y="1064271"/>
              <a:ext cx="7889334" cy="4127200"/>
            </a:xfrm>
            <a:prstGeom prst="roundRect">
              <a:avLst>
                <a:gd name="adj" fmla="val 2828"/>
              </a:avLst>
            </a:prstGeom>
            <a:solidFill>
              <a:schemeClr val="accent1">
                <a:lumMod val="20000"/>
                <a:lumOff val="80000"/>
                <a:alpha val="50000"/>
              </a:schemeClr>
            </a:solidFill>
            <a:ln w="19050">
              <a:solidFill>
                <a:schemeClr val="accent2">
                  <a:lumMod val="40000"/>
                  <a:lumOff val="60000"/>
                </a:schemeClr>
              </a:solidFill>
              <a:prstDash val="sysDash"/>
            </a:ln>
          </p:spPr>
          <p:style>
            <a:lnRef idx="0">
              <a:scrgbClr r="0" g="0" b="0"/>
            </a:lnRef>
            <a:fillRef idx="0">
              <a:scrgbClr r="0" g="0" b="0"/>
            </a:fillRef>
            <a:effectRef idx="0">
              <a:scrgbClr r="0" g="0" b="0"/>
            </a:effectRef>
            <a:fontRef idx="minor">
              <a:schemeClr val="lt1"/>
            </a:fontRef>
          </p:style>
          <p:txBody>
            <a:bodyPr vert="vert270"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chemeClr val="accent6"/>
                </a:solidFill>
                <a:effectLst/>
                <a:uLnTx/>
                <a:uFillTx/>
              </a:endParaRPr>
            </a:p>
          </p:txBody>
        </p:sp>
        <p:sp>
          <p:nvSpPr>
            <p:cNvPr id="3" name="Rectangle: Rounded Corners 2"/>
            <p:cNvSpPr/>
            <p:nvPr/>
          </p:nvSpPr>
          <p:spPr bwMode="auto">
            <a:xfrm>
              <a:off x="3044095" y="1964081"/>
              <a:ext cx="3764984" cy="2461499"/>
            </a:xfrm>
            <a:prstGeom prst="roundRect">
              <a:avLst>
                <a:gd name="adj" fmla="val 2828"/>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vert270"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Cloud Services</a:t>
              </a:r>
            </a:p>
          </p:txBody>
        </p:sp>
        <p:sp>
          <p:nvSpPr>
            <p:cNvPr id="4" name="Rectangle: Rounded Corners 3"/>
            <p:cNvSpPr/>
            <p:nvPr/>
          </p:nvSpPr>
          <p:spPr bwMode="auto">
            <a:xfrm>
              <a:off x="3605122" y="3519898"/>
              <a:ext cx="3046730" cy="790515"/>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Vehicle Hub</a:t>
              </a:r>
            </a:p>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1" u="none" strike="noStrike" kern="0" cap="none" spc="0" normalizeH="0" baseline="0" noProof="0" dirty="0">
                  <a:ln>
                    <a:noFill/>
                  </a:ln>
                  <a:solidFill>
                    <a:srgbClr val="FFFF00"/>
                  </a:solidFill>
                  <a:effectLst/>
                  <a:uLnTx/>
                  <a:uFillTx/>
                </a:rPr>
                <a:t>Provides vehicle connectivity, messaging, &amp; device management</a:t>
              </a:r>
            </a:p>
            <a:p>
              <a:pPr marL="0" marR="0" lvl="0" indent="0" algn="ctr" defTabSz="871487" eaLnBrk="1" fontAlgn="base" latinLnBrk="0" hangingPunct="1">
                <a:lnSpc>
                  <a:spcPct val="100000"/>
                </a:lnSpc>
                <a:spcBef>
                  <a:spcPts val="0"/>
                </a:spcBef>
                <a:spcAft>
                  <a:spcPts val="0"/>
                </a:spcAft>
                <a:buClrTx/>
                <a:buSzTx/>
                <a:buFontTx/>
                <a:buNone/>
                <a:tabLst/>
                <a:defRPr/>
              </a:pPr>
              <a:endParaRPr kumimoji="0" lang="en-US" sz="1176" b="0" i="1" u="none" strike="noStrike" kern="0" cap="none" spc="0" normalizeH="0" baseline="0" noProof="0" dirty="0">
                <a:ln>
                  <a:noFill/>
                </a:ln>
                <a:solidFill>
                  <a:schemeClr val="bg1"/>
                </a:solidFill>
                <a:effectLst/>
                <a:uLnTx/>
                <a:uFillTx/>
              </a:endParaRPr>
            </a:p>
          </p:txBody>
        </p:sp>
        <p:sp>
          <p:nvSpPr>
            <p:cNvPr id="6" name="Rectangle: Rounded Corners 5"/>
            <p:cNvSpPr/>
            <p:nvPr/>
          </p:nvSpPr>
          <p:spPr bwMode="auto">
            <a:xfrm>
              <a:off x="3601213" y="2876774"/>
              <a:ext cx="3050638" cy="608305"/>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Vehicle Command Processor</a:t>
              </a:r>
            </a:p>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1" u="none" strike="noStrike" kern="0" cap="none" spc="0" normalizeH="0" baseline="0" noProof="0" dirty="0">
                  <a:ln>
                    <a:noFill/>
                  </a:ln>
                  <a:solidFill>
                    <a:srgbClr val="FFFF00"/>
                  </a:solidFill>
                  <a:effectLst/>
                  <a:uLnTx/>
                  <a:uFillTx/>
                </a:rPr>
                <a:t>Micro-services for specific functions</a:t>
              </a:r>
              <a:endParaRPr kumimoji="0" lang="en-US" sz="1176" b="0" i="1" u="none" strike="noStrike" kern="0" cap="none" spc="0" normalizeH="0" baseline="0" noProof="0" dirty="0">
                <a:ln>
                  <a:noFill/>
                </a:ln>
                <a:solidFill>
                  <a:srgbClr val="FFFF00"/>
                </a:solidFill>
                <a:effectLst/>
                <a:uLnTx/>
                <a:uFillTx/>
              </a:endParaRPr>
            </a:p>
          </p:txBody>
        </p:sp>
        <p:sp>
          <p:nvSpPr>
            <p:cNvPr id="9" name="Rectangle: Rounded Corners 8"/>
            <p:cNvSpPr/>
            <p:nvPr/>
          </p:nvSpPr>
          <p:spPr bwMode="auto">
            <a:xfrm>
              <a:off x="3591119" y="2058274"/>
              <a:ext cx="3060733" cy="774177"/>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APIs</a:t>
              </a:r>
            </a:p>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1" u="none" strike="noStrike" kern="0" cap="none" spc="0" normalizeH="0" baseline="0" noProof="0" dirty="0">
                  <a:ln>
                    <a:noFill/>
                  </a:ln>
                  <a:solidFill>
                    <a:srgbClr val="FFFF00"/>
                  </a:solidFill>
                  <a:effectLst/>
                  <a:uLnTx/>
                  <a:uFillTx/>
                </a:rPr>
                <a:t>Exposes connected car functionality to external applications</a:t>
              </a:r>
            </a:p>
          </p:txBody>
        </p:sp>
        <p:sp>
          <p:nvSpPr>
            <p:cNvPr id="10" name="Rectangle: Rounded Corners 9"/>
            <p:cNvSpPr/>
            <p:nvPr/>
          </p:nvSpPr>
          <p:spPr bwMode="auto">
            <a:xfrm>
              <a:off x="2419202" y="1237645"/>
              <a:ext cx="9505878" cy="664569"/>
            </a:xfrm>
            <a:prstGeom prst="roundRect">
              <a:avLst>
                <a:gd name="adj" fmla="val 7334"/>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vert270"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 Apps</a:t>
              </a:r>
            </a:p>
          </p:txBody>
        </p:sp>
        <p:sp>
          <p:nvSpPr>
            <p:cNvPr id="12" name="Rectangle: Rounded Corners 11"/>
            <p:cNvSpPr/>
            <p:nvPr/>
          </p:nvSpPr>
          <p:spPr bwMode="auto">
            <a:xfrm>
              <a:off x="2810283" y="1348085"/>
              <a:ext cx="1344637" cy="448212"/>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App</a:t>
              </a:r>
            </a:p>
          </p:txBody>
        </p:sp>
        <p:sp>
          <p:nvSpPr>
            <p:cNvPr id="13" name="Rectangle: Rounded Corners 12"/>
            <p:cNvSpPr/>
            <p:nvPr/>
          </p:nvSpPr>
          <p:spPr bwMode="auto">
            <a:xfrm>
              <a:off x="4233566" y="1348085"/>
              <a:ext cx="1344637" cy="448212"/>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App</a:t>
              </a:r>
            </a:p>
          </p:txBody>
        </p:sp>
        <p:sp>
          <p:nvSpPr>
            <p:cNvPr id="21" name="TextBox 20"/>
            <p:cNvSpPr txBox="1"/>
            <p:nvPr/>
          </p:nvSpPr>
          <p:spPr>
            <a:xfrm rot="16200000">
              <a:off x="5470197" y="5136270"/>
              <a:ext cx="530915" cy="258212"/>
            </a:xfrm>
            <a:prstGeom prst="rect">
              <a:avLst/>
            </a:prstGeom>
            <a:solidFill>
              <a:schemeClr val="bg1"/>
            </a:solid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ysClr val="windowText" lastClr="000000"/>
                  </a:solidFill>
                  <a:effectLst/>
                  <a:uLnTx/>
                  <a:uFillTx/>
                </a:rPr>
                <a:t>MQTT</a:t>
              </a:r>
            </a:p>
          </p:txBody>
        </p:sp>
        <p:cxnSp>
          <p:nvCxnSpPr>
            <p:cNvPr id="19" name="Straight Arrow Connector 18"/>
            <p:cNvCxnSpPr>
              <a:cxnSpLocks/>
            </p:cNvCxnSpPr>
            <p:nvPr/>
          </p:nvCxnSpPr>
          <p:spPr bwMode="auto">
            <a:xfrm>
              <a:off x="6023741" y="4363380"/>
              <a:ext cx="0" cy="1223234"/>
            </a:xfrm>
            <a:prstGeom prst="straightConnector1">
              <a:avLst/>
            </a:prstGeom>
            <a:noFill/>
            <a:ln w="57150" cap="flat" cmpd="sng" algn="ctr">
              <a:solidFill>
                <a:schemeClr val="accent1"/>
              </a:solidFill>
              <a:prstDash val="solid"/>
              <a:round/>
              <a:headEnd type="arrow" w="med" len="med"/>
              <a:tailEnd type="arrow" w="med" len="med"/>
            </a:ln>
            <a:effectLst>
              <a:outerShdw blurRad="63500" sx="102000" sy="102000" algn="ctr" rotWithShape="0">
                <a:prstClr val="black">
                  <a:alpha val="40000"/>
                </a:prstClr>
              </a:outerShdw>
            </a:effectLst>
          </p:spPr>
        </p:cxnSp>
        <p:cxnSp>
          <p:nvCxnSpPr>
            <p:cNvPr id="37" name="Straight Arrow Connector 36"/>
            <p:cNvCxnSpPr>
              <a:cxnSpLocks/>
            </p:cNvCxnSpPr>
            <p:nvPr/>
          </p:nvCxnSpPr>
          <p:spPr bwMode="auto">
            <a:xfrm flipH="1" flipV="1">
              <a:off x="11286184" y="4363380"/>
              <a:ext cx="14006" cy="1240944"/>
            </a:xfrm>
            <a:prstGeom prst="straightConnector1">
              <a:avLst/>
            </a:prstGeom>
            <a:noFill/>
            <a:ln w="57150" cap="flat" cmpd="sng" algn="ctr">
              <a:solidFill>
                <a:schemeClr val="accent1"/>
              </a:solidFill>
              <a:prstDash val="solid"/>
              <a:round/>
              <a:headEnd type="arrow" w="med" len="med"/>
              <a:tailEnd type="none" w="med" len="med"/>
            </a:ln>
            <a:effectLst>
              <a:outerShdw blurRad="63500" sx="102000" sy="102000" algn="ctr" rotWithShape="0">
                <a:prstClr val="black">
                  <a:alpha val="40000"/>
                </a:prstClr>
              </a:outerShdw>
            </a:effectLst>
          </p:spPr>
        </p:cxnSp>
        <p:sp>
          <p:nvSpPr>
            <p:cNvPr id="48" name="TextBox 47"/>
            <p:cNvSpPr txBox="1"/>
            <p:nvPr/>
          </p:nvSpPr>
          <p:spPr>
            <a:xfrm>
              <a:off x="2344515" y="4873352"/>
              <a:ext cx="577402" cy="567463"/>
            </a:xfrm>
            <a:prstGeom prst="rect">
              <a:avLst/>
            </a:prstGeom>
            <a:noFill/>
          </p:spPr>
          <p:txBody>
            <a:bodyPr wrap="none" rtlCol="0">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en-US" sz="1029" b="0" i="0" u="none" strike="noStrike" kern="0" cap="none" spc="0" normalizeH="0" baseline="0" noProof="0" dirty="0">
                  <a:ln>
                    <a:noFill/>
                  </a:ln>
                  <a:solidFill>
                    <a:sysClr val="windowText" lastClr="000000"/>
                  </a:solidFill>
                  <a:effectLst/>
                  <a:uLnTx/>
                  <a:uFillTx/>
                </a:rPr>
                <a:t>Azure</a:t>
              </a:r>
            </a:p>
            <a:p>
              <a:pPr marL="0" marR="0" lvl="0" indent="0" defTabSz="914400" eaLnBrk="1" fontAlgn="auto" latinLnBrk="0" hangingPunct="1">
                <a:lnSpc>
                  <a:spcPct val="150000"/>
                </a:lnSpc>
                <a:spcBef>
                  <a:spcPts val="0"/>
                </a:spcBef>
                <a:spcAft>
                  <a:spcPts val="0"/>
                </a:spcAft>
                <a:buClrTx/>
                <a:buSzTx/>
                <a:buFontTx/>
                <a:buNone/>
                <a:tabLst/>
                <a:defRPr/>
              </a:pPr>
              <a:r>
                <a:rPr kumimoji="0" lang="en-US" sz="1029" b="0" i="0" u="none" strike="noStrike" kern="0" cap="none" spc="0" normalizeH="0" baseline="0" noProof="0" dirty="0">
                  <a:ln>
                    <a:noFill/>
                  </a:ln>
                  <a:solidFill>
                    <a:sysClr val="windowText" lastClr="000000"/>
                  </a:solidFill>
                  <a:effectLst/>
                  <a:uLnTx/>
                  <a:uFillTx/>
                </a:rPr>
                <a:t>Vehicle</a:t>
              </a:r>
            </a:p>
          </p:txBody>
        </p:sp>
        <p:cxnSp>
          <p:nvCxnSpPr>
            <p:cNvPr id="29" name="Straight Arrow Connector 28"/>
            <p:cNvCxnSpPr>
              <a:cxnSpLocks/>
            </p:cNvCxnSpPr>
            <p:nvPr/>
          </p:nvCxnSpPr>
          <p:spPr bwMode="auto">
            <a:xfrm>
              <a:off x="4106929" y="4351881"/>
              <a:ext cx="0" cy="1224394"/>
            </a:xfrm>
            <a:prstGeom prst="straightConnector1">
              <a:avLst/>
            </a:prstGeom>
            <a:noFill/>
            <a:ln w="57150" cap="flat" cmpd="sng" algn="ctr">
              <a:solidFill>
                <a:schemeClr val="accent1"/>
              </a:solidFill>
              <a:prstDash val="solid"/>
              <a:round/>
              <a:headEnd type="arrow" w="med" len="med"/>
              <a:tailEnd type="arrow" w="med" len="med"/>
            </a:ln>
            <a:effectLst>
              <a:outerShdw blurRad="63500" sx="102000" sy="102000" algn="ctr" rotWithShape="0">
                <a:prstClr val="black">
                  <a:alpha val="40000"/>
                </a:prstClr>
              </a:outerShdw>
            </a:effectLst>
          </p:spPr>
        </p:cxnSp>
        <p:sp>
          <p:nvSpPr>
            <p:cNvPr id="38" name="Rectangle: Rounded Corners 37"/>
            <p:cNvSpPr/>
            <p:nvPr/>
          </p:nvSpPr>
          <p:spPr bwMode="auto">
            <a:xfrm>
              <a:off x="6917507" y="2636467"/>
              <a:ext cx="3065114" cy="2461771"/>
            </a:xfrm>
            <a:prstGeom prst="roundRect">
              <a:avLst>
                <a:gd name="adj" fmla="val 2828"/>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vert270"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Cloud-to-Cloud Interfaces</a:t>
              </a:r>
            </a:p>
          </p:txBody>
        </p:sp>
        <p:sp>
          <p:nvSpPr>
            <p:cNvPr id="39" name="Rectangle: Rounded Corners 38"/>
            <p:cNvSpPr/>
            <p:nvPr/>
          </p:nvSpPr>
          <p:spPr bwMode="auto">
            <a:xfrm>
              <a:off x="7376672" y="2766461"/>
              <a:ext cx="1549924" cy="814091"/>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Generic Interface</a:t>
              </a:r>
            </a:p>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1" u="none" strike="noStrike" kern="0" cap="none" spc="0" normalizeH="0" baseline="0" noProof="0" dirty="0">
                  <a:ln>
                    <a:noFill/>
                  </a:ln>
                  <a:solidFill>
                    <a:srgbClr val="FFFF00"/>
                  </a:solidFill>
                  <a:effectLst/>
                  <a:uLnTx/>
                  <a:uFillTx/>
                </a:rPr>
                <a:t>Interface for all clouds to connect</a:t>
              </a:r>
            </a:p>
            <a:p>
              <a:pPr marL="0" marR="0" lvl="0" indent="0" algn="ctr" defTabSz="871487" eaLnBrk="1" fontAlgn="base" latinLnBrk="0" hangingPunct="1">
                <a:lnSpc>
                  <a:spcPct val="100000"/>
                </a:lnSpc>
                <a:spcBef>
                  <a:spcPts val="0"/>
                </a:spcBef>
                <a:spcAft>
                  <a:spcPts val="0"/>
                </a:spcAft>
                <a:buClrTx/>
                <a:buSzTx/>
                <a:buFontTx/>
                <a:buNone/>
                <a:tabLst/>
                <a:defRPr/>
              </a:pPr>
              <a:endParaRPr kumimoji="0" lang="en-US" sz="1176" b="0" i="1" u="none" strike="noStrike" kern="0" cap="none" spc="0" normalizeH="0" baseline="0" noProof="0" dirty="0">
                <a:ln>
                  <a:noFill/>
                </a:ln>
                <a:solidFill>
                  <a:schemeClr val="bg1"/>
                </a:solidFill>
                <a:effectLst/>
                <a:uLnTx/>
                <a:uFillTx/>
              </a:endParaRPr>
            </a:p>
          </p:txBody>
        </p:sp>
        <p:sp>
          <p:nvSpPr>
            <p:cNvPr id="43" name="Rectangle: Rounded Corners 42"/>
            <p:cNvSpPr/>
            <p:nvPr/>
          </p:nvSpPr>
          <p:spPr bwMode="auto">
            <a:xfrm>
              <a:off x="7376563" y="3637818"/>
              <a:ext cx="1549924" cy="1388080"/>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MNO Interface</a:t>
              </a:r>
            </a:p>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1" u="none" strike="noStrike" kern="0" cap="none" spc="0" normalizeH="0" baseline="0" noProof="0" dirty="0">
                  <a:ln>
                    <a:noFill/>
                  </a:ln>
                  <a:solidFill>
                    <a:srgbClr val="FFFF00"/>
                  </a:solidFill>
                  <a:effectLst/>
                  <a:uLnTx/>
                  <a:uFillTx/>
                </a:rPr>
                <a:t>Specific interface for MNO integration</a:t>
              </a:r>
            </a:p>
            <a:p>
              <a:pPr marL="0" marR="0" lvl="0" indent="0" algn="ctr" defTabSz="871487" eaLnBrk="1" fontAlgn="base" latinLnBrk="0" hangingPunct="1">
                <a:lnSpc>
                  <a:spcPct val="100000"/>
                </a:lnSpc>
                <a:spcBef>
                  <a:spcPts val="0"/>
                </a:spcBef>
                <a:spcAft>
                  <a:spcPts val="0"/>
                </a:spcAft>
                <a:buClrTx/>
                <a:buSzTx/>
                <a:buFontTx/>
                <a:buNone/>
                <a:tabLst/>
                <a:defRPr/>
              </a:pPr>
              <a:endParaRPr kumimoji="0" lang="en-US" sz="1176" b="0" i="1" u="none" strike="noStrike" kern="0" cap="none" spc="0" normalizeH="0" baseline="0" noProof="0" dirty="0">
                <a:ln>
                  <a:noFill/>
                </a:ln>
                <a:solidFill>
                  <a:schemeClr val="bg1"/>
                </a:solidFill>
                <a:effectLst/>
                <a:uLnTx/>
                <a:uFillTx/>
              </a:endParaRPr>
            </a:p>
          </p:txBody>
        </p:sp>
        <p:sp>
          <p:nvSpPr>
            <p:cNvPr id="44" name="Rectangle: Rounded Corners 43"/>
            <p:cNvSpPr/>
            <p:nvPr/>
          </p:nvSpPr>
          <p:spPr bwMode="auto">
            <a:xfrm>
              <a:off x="8990993" y="4072838"/>
              <a:ext cx="829571" cy="437242"/>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Jasper</a:t>
              </a:r>
              <a:endParaRPr kumimoji="0" lang="en-US" sz="1176" b="0" i="1" u="none" strike="noStrike" kern="0" cap="none" spc="0" normalizeH="0" baseline="0" noProof="0" dirty="0">
                <a:ln>
                  <a:noFill/>
                </a:ln>
                <a:solidFill>
                  <a:schemeClr val="bg1"/>
                </a:solidFill>
                <a:effectLst/>
                <a:uLnTx/>
                <a:uFillTx/>
              </a:endParaRPr>
            </a:p>
          </p:txBody>
        </p:sp>
        <p:sp>
          <p:nvSpPr>
            <p:cNvPr id="45" name="Rectangle: Rounded Corners 44"/>
            <p:cNvSpPr/>
            <p:nvPr/>
          </p:nvSpPr>
          <p:spPr bwMode="auto">
            <a:xfrm>
              <a:off x="8982887" y="4565786"/>
              <a:ext cx="837677" cy="437242"/>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Erickson</a:t>
              </a:r>
              <a:endParaRPr kumimoji="0" lang="en-US" sz="1176" b="0" i="1" u="none" strike="noStrike" kern="0" cap="none" spc="0" normalizeH="0" baseline="0" noProof="0" dirty="0">
                <a:ln>
                  <a:noFill/>
                </a:ln>
                <a:solidFill>
                  <a:schemeClr val="bg1"/>
                </a:solidFill>
                <a:effectLst/>
                <a:uLnTx/>
                <a:uFillTx/>
              </a:endParaRPr>
            </a:p>
          </p:txBody>
        </p:sp>
        <p:cxnSp>
          <p:nvCxnSpPr>
            <p:cNvPr id="47" name="Straight Arrow Connector 46"/>
            <p:cNvCxnSpPr>
              <a:cxnSpLocks/>
            </p:cNvCxnSpPr>
            <p:nvPr/>
          </p:nvCxnSpPr>
          <p:spPr bwMode="auto">
            <a:xfrm flipH="1" flipV="1">
              <a:off x="8926488" y="3919761"/>
              <a:ext cx="1344637" cy="0"/>
            </a:xfrm>
            <a:prstGeom prst="straightConnector1">
              <a:avLst/>
            </a:prstGeom>
            <a:noFill/>
            <a:ln w="57150" cap="flat" cmpd="sng" algn="ctr">
              <a:solidFill>
                <a:schemeClr val="accent1"/>
              </a:solidFill>
              <a:prstDash val="solid"/>
              <a:round/>
              <a:headEnd type="none" w="med" len="med"/>
              <a:tailEnd type="none" w="med" len="med"/>
            </a:ln>
            <a:effectLst>
              <a:outerShdw blurRad="63500" sx="102000" sy="102000" algn="ctr" rotWithShape="0">
                <a:prstClr val="black">
                  <a:alpha val="40000"/>
                </a:prstClr>
              </a:outerShdw>
            </a:effectLst>
          </p:spPr>
        </p:cxnSp>
        <p:cxnSp>
          <p:nvCxnSpPr>
            <p:cNvPr id="50" name="Straight Arrow Connector 49"/>
            <p:cNvCxnSpPr>
              <a:cxnSpLocks/>
            </p:cNvCxnSpPr>
            <p:nvPr/>
          </p:nvCxnSpPr>
          <p:spPr bwMode="auto">
            <a:xfrm flipH="1" flipV="1">
              <a:off x="9823760" y="4303761"/>
              <a:ext cx="448212" cy="0"/>
            </a:xfrm>
            <a:prstGeom prst="straightConnector1">
              <a:avLst/>
            </a:prstGeom>
            <a:noFill/>
            <a:ln w="57150" cap="flat" cmpd="sng" algn="ctr">
              <a:solidFill>
                <a:schemeClr val="accent1"/>
              </a:solidFill>
              <a:prstDash val="solid"/>
              <a:round/>
              <a:headEnd type="none" w="med" len="med"/>
              <a:tailEnd type="none" w="med" len="med"/>
            </a:ln>
            <a:effectLst>
              <a:outerShdw blurRad="63500" sx="102000" sy="102000" algn="ctr" rotWithShape="0">
                <a:prstClr val="black">
                  <a:alpha val="40000"/>
                </a:prstClr>
              </a:outerShdw>
            </a:effectLst>
          </p:spPr>
        </p:cxnSp>
        <p:cxnSp>
          <p:nvCxnSpPr>
            <p:cNvPr id="51" name="Straight Arrow Connector 50"/>
            <p:cNvCxnSpPr>
              <a:cxnSpLocks/>
            </p:cNvCxnSpPr>
            <p:nvPr/>
          </p:nvCxnSpPr>
          <p:spPr bwMode="auto">
            <a:xfrm flipH="1" flipV="1">
              <a:off x="9823760" y="4780462"/>
              <a:ext cx="448212" cy="0"/>
            </a:xfrm>
            <a:prstGeom prst="straightConnector1">
              <a:avLst/>
            </a:prstGeom>
            <a:noFill/>
            <a:ln w="57150" cap="flat" cmpd="sng" algn="ctr">
              <a:solidFill>
                <a:schemeClr val="accent1"/>
              </a:solidFill>
              <a:prstDash val="solid"/>
              <a:round/>
              <a:headEnd type="none" w="med" len="med"/>
              <a:tailEnd type="none" w="med" len="med"/>
            </a:ln>
            <a:effectLst>
              <a:outerShdw blurRad="63500" sx="102000" sy="102000" algn="ctr" rotWithShape="0">
                <a:prstClr val="black">
                  <a:alpha val="40000"/>
                </a:prstClr>
              </a:outerShdw>
            </a:effectLst>
          </p:spPr>
        </p:cxnSp>
        <p:grpSp>
          <p:nvGrpSpPr>
            <p:cNvPr id="66" name="Group 65"/>
            <p:cNvGrpSpPr/>
            <p:nvPr/>
          </p:nvGrpSpPr>
          <p:grpSpPr>
            <a:xfrm>
              <a:off x="241733" y="5555120"/>
              <a:ext cx="11732176" cy="1039963"/>
              <a:chOff x="196772" y="5654820"/>
              <a:chExt cx="11967431" cy="1060816"/>
            </a:xfrm>
          </p:grpSpPr>
          <p:sp>
            <p:nvSpPr>
              <p:cNvPr id="14" name="Rectangle: Rounded Corners 13"/>
              <p:cNvSpPr/>
              <p:nvPr/>
            </p:nvSpPr>
            <p:spPr bwMode="auto">
              <a:xfrm>
                <a:off x="196772" y="5680871"/>
                <a:ext cx="11967431" cy="1034765"/>
              </a:xfrm>
              <a:prstGeom prst="roundRect">
                <a:avLst>
                  <a:gd name="adj" fmla="val 7334"/>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vert270"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 Car</a:t>
                </a:r>
              </a:p>
            </p:txBody>
          </p:sp>
          <p:cxnSp>
            <p:nvCxnSpPr>
              <p:cNvPr id="57" name="Straight Connector 56"/>
              <p:cNvCxnSpPr>
                <a:cxnSpLocks/>
              </p:cNvCxnSpPr>
              <p:nvPr/>
            </p:nvCxnSpPr>
            <p:spPr bwMode="auto">
              <a:xfrm flipV="1">
                <a:off x="2077376" y="6057886"/>
                <a:ext cx="6858000" cy="0"/>
              </a:xfrm>
              <a:prstGeom prst="line">
                <a:avLst/>
              </a:prstGeom>
              <a:noFill/>
              <a:ln w="38100" cap="flat" cmpd="sng" algn="ctr">
                <a:solidFill>
                  <a:schemeClr val="bg1"/>
                </a:solidFill>
                <a:prstDash val="solid"/>
                <a:round/>
                <a:headEnd type="none" w="med" len="med"/>
                <a:tailEnd type="none" w="med" len="med"/>
              </a:ln>
              <a:effectLst/>
            </p:spPr>
          </p:cxnSp>
          <p:sp>
            <p:nvSpPr>
              <p:cNvPr id="15" name="Rectangle: Rounded Corners 14"/>
              <p:cNvSpPr/>
              <p:nvPr/>
            </p:nvSpPr>
            <p:spPr bwMode="auto">
              <a:xfrm>
                <a:off x="1982789" y="5807827"/>
                <a:ext cx="1394758" cy="777825"/>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Infotainment/Head Unit</a:t>
                </a:r>
              </a:p>
            </p:txBody>
          </p:sp>
          <p:sp>
            <p:nvSpPr>
              <p:cNvPr id="16" name="Rectangle: Rounded Corners 15"/>
              <p:cNvSpPr/>
              <p:nvPr/>
            </p:nvSpPr>
            <p:spPr bwMode="auto">
              <a:xfrm>
                <a:off x="4010106" y="5807828"/>
                <a:ext cx="1394757" cy="777825"/>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Telematics Control Unit</a:t>
                </a:r>
              </a:p>
            </p:txBody>
          </p:sp>
          <p:cxnSp>
            <p:nvCxnSpPr>
              <p:cNvPr id="59" name="Straight Connector 58"/>
              <p:cNvCxnSpPr>
                <a:cxnSpLocks/>
              </p:cNvCxnSpPr>
              <p:nvPr/>
            </p:nvCxnSpPr>
            <p:spPr bwMode="auto">
              <a:xfrm flipV="1">
                <a:off x="6428393" y="6065208"/>
                <a:ext cx="0" cy="229316"/>
              </a:xfrm>
              <a:prstGeom prst="line">
                <a:avLst/>
              </a:prstGeom>
              <a:noFill/>
              <a:ln w="38100" cap="flat" cmpd="sng" algn="ctr">
                <a:solidFill>
                  <a:schemeClr val="bg1"/>
                </a:solidFill>
                <a:prstDash val="solid"/>
                <a:round/>
                <a:headEnd type="none" w="med" len="med"/>
                <a:tailEnd type="none" w="med" len="med"/>
              </a:ln>
              <a:effectLst/>
            </p:spPr>
          </p:cxnSp>
          <p:cxnSp>
            <p:nvCxnSpPr>
              <p:cNvPr id="62" name="Straight Connector 61"/>
              <p:cNvCxnSpPr>
                <a:cxnSpLocks/>
              </p:cNvCxnSpPr>
              <p:nvPr/>
            </p:nvCxnSpPr>
            <p:spPr bwMode="auto">
              <a:xfrm flipV="1">
                <a:off x="7175555" y="6065208"/>
                <a:ext cx="0" cy="229316"/>
              </a:xfrm>
              <a:prstGeom prst="line">
                <a:avLst/>
              </a:prstGeom>
              <a:noFill/>
              <a:ln w="38100" cap="flat" cmpd="sng" algn="ctr">
                <a:solidFill>
                  <a:schemeClr val="bg1"/>
                </a:solidFill>
                <a:prstDash val="solid"/>
                <a:round/>
                <a:headEnd type="none" w="med" len="med"/>
                <a:tailEnd type="none" w="med" len="med"/>
              </a:ln>
              <a:effectLst/>
            </p:spPr>
          </p:cxnSp>
          <p:cxnSp>
            <p:nvCxnSpPr>
              <p:cNvPr id="63" name="Straight Connector 62"/>
              <p:cNvCxnSpPr>
                <a:cxnSpLocks/>
              </p:cNvCxnSpPr>
              <p:nvPr/>
            </p:nvCxnSpPr>
            <p:spPr bwMode="auto">
              <a:xfrm flipV="1">
                <a:off x="7920278" y="6065208"/>
                <a:ext cx="0" cy="229316"/>
              </a:xfrm>
              <a:prstGeom prst="line">
                <a:avLst/>
              </a:prstGeom>
              <a:noFill/>
              <a:ln w="38100" cap="flat" cmpd="sng" algn="ctr">
                <a:solidFill>
                  <a:schemeClr val="bg1"/>
                </a:solidFill>
                <a:prstDash val="solid"/>
                <a:round/>
                <a:headEnd type="none" w="med" len="med"/>
                <a:tailEnd type="none" w="med" len="med"/>
              </a:ln>
              <a:effectLst/>
            </p:spPr>
          </p:cxnSp>
          <p:cxnSp>
            <p:nvCxnSpPr>
              <p:cNvPr id="64" name="Straight Connector 63"/>
              <p:cNvCxnSpPr>
                <a:cxnSpLocks/>
              </p:cNvCxnSpPr>
              <p:nvPr/>
            </p:nvCxnSpPr>
            <p:spPr bwMode="auto">
              <a:xfrm flipV="1">
                <a:off x="8684800" y="6065208"/>
                <a:ext cx="0" cy="229316"/>
              </a:xfrm>
              <a:prstGeom prst="line">
                <a:avLst/>
              </a:prstGeom>
              <a:noFill/>
              <a:ln w="38100" cap="flat" cmpd="sng" algn="ctr">
                <a:solidFill>
                  <a:schemeClr val="bg1"/>
                </a:solidFill>
                <a:prstDash val="solid"/>
                <a:round/>
                <a:headEnd type="none" w="med" len="med"/>
                <a:tailEnd type="none" w="med" len="med"/>
              </a:ln>
              <a:effectLst/>
            </p:spPr>
          </p:cxnSp>
          <p:sp>
            <p:nvSpPr>
              <p:cNvPr id="65" name="TextBox 64"/>
              <p:cNvSpPr txBox="1"/>
              <p:nvPr/>
            </p:nvSpPr>
            <p:spPr>
              <a:xfrm>
                <a:off x="7056217" y="5654820"/>
                <a:ext cx="894752" cy="34030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CAN Bus</a:t>
                </a:r>
              </a:p>
            </p:txBody>
          </p:sp>
          <p:sp>
            <p:nvSpPr>
              <p:cNvPr id="17" name="Rectangle: Rounded Corners 16"/>
              <p:cNvSpPr/>
              <p:nvPr/>
            </p:nvSpPr>
            <p:spPr bwMode="auto">
              <a:xfrm>
                <a:off x="6140126" y="6196866"/>
                <a:ext cx="576534" cy="388786"/>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ECU</a:t>
                </a:r>
              </a:p>
            </p:txBody>
          </p:sp>
          <p:sp>
            <p:nvSpPr>
              <p:cNvPr id="53" name="Rectangle: Rounded Corners 52"/>
              <p:cNvSpPr/>
              <p:nvPr/>
            </p:nvSpPr>
            <p:spPr bwMode="auto">
              <a:xfrm>
                <a:off x="6875971" y="6196866"/>
                <a:ext cx="576534" cy="388786"/>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ECU</a:t>
                </a:r>
              </a:p>
            </p:txBody>
          </p:sp>
          <p:sp>
            <p:nvSpPr>
              <p:cNvPr id="54" name="Rectangle: Rounded Corners 53"/>
              <p:cNvSpPr/>
              <p:nvPr/>
            </p:nvSpPr>
            <p:spPr bwMode="auto">
              <a:xfrm>
                <a:off x="7611816" y="6196866"/>
                <a:ext cx="576534" cy="388786"/>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ECU</a:t>
                </a:r>
              </a:p>
            </p:txBody>
          </p:sp>
          <p:sp>
            <p:nvSpPr>
              <p:cNvPr id="55" name="Rectangle: Rounded Corners 54"/>
              <p:cNvSpPr/>
              <p:nvPr/>
            </p:nvSpPr>
            <p:spPr bwMode="auto">
              <a:xfrm>
                <a:off x="8347662" y="6196866"/>
                <a:ext cx="576534" cy="388786"/>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ECU</a:t>
                </a:r>
              </a:p>
            </p:txBody>
          </p:sp>
        </p:grpSp>
        <p:sp>
          <p:nvSpPr>
            <p:cNvPr id="70" name="Rectangle: Rounded Corners 69"/>
            <p:cNvSpPr/>
            <p:nvPr/>
          </p:nvSpPr>
          <p:spPr bwMode="auto">
            <a:xfrm>
              <a:off x="5656849" y="1348085"/>
              <a:ext cx="1344637" cy="448212"/>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App</a:t>
              </a:r>
            </a:p>
          </p:txBody>
        </p:sp>
        <p:sp>
          <p:nvSpPr>
            <p:cNvPr id="71" name="Rectangle: Rounded Corners 70"/>
            <p:cNvSpPr/>
            <p:nvPr/>
          </p:nvSpPr>
          <p:spPr bwMode="auto">
            <a:xfrm>
              <a:off x="8503416" y="1347942"/>
              <a:ext cx="1344637" cy="448212"/>
            </a:xfrm>
            <a:prstGeom prst="roundRect">
              <a:avLst>
                <a:gd name="adj" fmla="val 7334"/>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App</a:t>
              </a:r>
            </a:p>
          </p:txBody>
        </p:sp>
        <p:sp>
          <p:nvSpPr>
            <p:cNvPr id="75" name="Rectangle: Rounded Corners 74"/>
            <p:cNvSpPr/>
            <p:nvPr/>
          </p:nvSpPr>
          <p:spPr bwMode="auto">
            <a:xfrm>
              <a:off x="10271972" y="1342196"/>
              <a:ext cx="1344637" cy="448212"/>
            </a:xfrm>
            <a:prstGeom prst="roundRect">
              <a:avLst>
                <a:gd name="adj" fmla="val 7334"/>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App</a:t>
              </a:r>
            </a:p>
          </p:txBody>
        </p:sp>
        <p:sp>
          <p:nvSpPr>
            <p:cNvPr id="76" name="Rectangle: Rounded Corners 75"/>
            <p:cNvSpPr/>
            <p:nvPr/>
          </p:nvSpPr>
          <p:spPr bwMode="auto">
            <a:xfrm>
              <a:off x="7080132" y="1347942"/>
              <a:ext cx="1344637" cy="448212"/>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App</a:t>
              </a:r>
            </a:p>
          </p:txBody>
        </p:sp>
        <p:sp>
          <p:nvSpPr>
            <p:cNvPr id="68" name="Rectangle: Rounded Corners 67"/>
            <p:cNvSpPr/>
            <p:nvPr/>
          </p:nvSpPr>
          <p:spPr bwMode="auto">
            <a:xfrm>
              <a:off x="2419203" y="1963809"/>
              <a:ext cx="557118" cy="2461771"/>
            </a:xfrm>
            <a:prstGeom prst="roundRect">
              <a:avLst>
                <a:gd name="adj" fmla="val 2828"/>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vert270"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Service Provider Proxy</a:t>
              </a:r>
            </a:p>
          </p:txBody>
        </p:sp>
        <p:sp>
          <p:nvSpPr>
            <p:cNvPr id="80" name="Rectangle: Rounded Corners 79"/>
            <p:cNvSpPr/>
            <p:nvPr/>
          </p:nvSpPr>
          <p:spPr bwMode="auto">
            <a:xfrm>
              <a:off x="269241" y="1064271"/>
              <a:ext cx="1703207" cy="4416874"/>
            </a:xfrm>
            <a:prstGeom prst="roundRect">
              <a:avLst>
                <a:gd name="adj" fmla="val 7334"/>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vert270"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Extensions \ 3</a:t>
              </a:r>
              <a:r>
                <a:rPr kumimoji="0" lang="en-US" sz="1372" b="0" i="0" u="none" strike="noStrike" kern="0" cap="none" spc="0" normalizeH="0" baseline="30000" noProof="0" dirty="0">
                  <a:ln>
                    <a:noFill/>
                  </a:ln>
                  <a:solidFill>
                    <a:schemeClr val="bg1"/>
                  </a:solidFill>
                  <a:effectLst/>
                  <a:uLnTx/>
                  <a:uFillTx/>
                </a:rPr>
                <a:t>rd</a:t>
              </a:r>
              <a:r>
                <a:rPr kumimoji="0" lang="en-US" sz="1372" b="0" i="0" u="none" strike="noStrike" kern="0" cap="none" spc="0" normalizeH="0" baseline="0" noProof="0" dirty="0">
                  <a:ln>
                    <a:noFill/>
                  </a:ln>
                  <a:solidFill>
                    <a:schemeClr val="bg1"/>
                  </a:solidFill>
                  <a:effectLst/>
                  <a:uLnTx/>
                  <a:uFillTx/>
                </a:rPr>
                <a:t> Party Integrations \ OEM Systems</a:t>
              </a:r>
            </a:p>
          </p:txBody>
        </p:sp>
        <p:sp>
          <p:nvSpPr>
            <p:cNvPr id="81" name="Rectangle: Rounded Corners 80"/>
            <p:cNvSpPr/>
            <p:nvPr/>
          </p:nvSpPr>
          <p:spPr bwMode="auto">
            <a:xfrm>
              <a:off x="642843" y="1175767"/>
              <a:ext cx="1209862" cy="761641"/>
            </a:xfrm>
            <a:prstGeom prst="roundRect">
              <a:avLst>
                <a:gd name="adj" fmla="val 7334"/>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89642" tIns="89642" rIns="89642" bIns="89642" numCol="1" rtlCol="0" anchor="ctr"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rPr>
                <a:t>Service Management</a:t>
              </a:r>
            </a:p>
          </p:txBody>
        </p:sp>
        <p:cxnSp>
          <p:nvCxnSpPr>
            <p:cNvPr id="82" name="Straight Arrow Connector 81"/>
            <p:cNvCxnSpPr>
              <a:cxnSpLocks/>
            </p:cNvCxnSpPr>
            <p:nvPr/>
          </p:nvCxnSpPr>
          <p:spPr bwMode="auto">
            <a:xfrm flipH="1" flipV="1">
              <a:off x="1972448" y="3813219"/>
              <a:ext cx="448212" cy="0"/>
            </a:xfrm>
            <a:prstGeom prst="straightConnector1">
              <a:avLst/>
            </a:prstGeom>
            <a:noFill/>
            <a:ln w="57150" cap="flat" cmpd="sng" algn="ctr">
              <a:solidFill>
                <a:schemeClr val="accent1"/>
              </a:solidFill>
              <a:prstDash val="solid"/>
              <a:round/>
              <a:headEnd type="none" w="med" len="med"/>
              <a:tailEnd type="none" w="med" len="med"/>
            </a:ln>
            <a:effectLst>
              <a:outerShdw blurRad="63500" sx="102000" sy="102000" algn="ctr" rotWithShape="0">
                <a:prstClr val="black">
                  <a:alpha val="40000"/>
                </a:prstClr>
              </a:outerShdw>
            </a:effectLst>
          </p:spPr>
        </p:cxnSp>
        <p:sp>
          <p:nvSpPr>
            <p:cNvPr id="31" name="Rectangle: Rounded Corners 30"/>
            <p:cNvSpPr/>
            <p:nvPr/>
          </p:nvSpPr>
          <p:spPr bwMode="auto">
            <a:xfrm>
              <a:off x="10221873" y="3788445"/>
              <a:ext cx="1703207" cy="1226701"/>
            </a:xfrm>
            <a:prstGeom prst="roundRect">
              <a:avLst>
                <a:gd name="adj" fmla="val 7334"/>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vert270"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MNO</a:t>
              </a:r>
            </a:p>
          </p:txBody>
        </p:sp>
        <p:sp>
          <p:nvSpPr>
            <p:cNvPr id="32" name="Rectangle: Rounded Corners 31"/>
            <p:cNvSpPr/>
            <p:nvPr/>
          </p:nvSpPr>
          <p:spPr bwMode="auto">
            <a:xfrm>
              <a:off x="10616981" y="3914502"/>
              <a:ext cx="1209862" cy="950319"/>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SMS</a:t>
              </a:r>
            </a:p>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1" u="none" strike="noStrike" kern="0" cap="none" spc="0" normalizeH="0" baseline="0" noProof="0" dirty="0">
                  <a:ln>
                    <a:noFill/>
                  </a:ln>
                  <a:solidFill>
                    <a:srgbClr val="FFFF00"/>
                  </a:solidFill>
                  <a:effectLst/>
                  <a:uLnTx/>
                  <a:uFillTx/>
                </a:rPr>
                <a:t>Carrier Level Wake Up</a:t>
              </a:r>
            </a:p>
          </p:txBody>
        </p:sp>
        <p:sp>
          <p:nvSpPr>
            <p:cNvPr id="49" name="Rectangle: Rounded Corners 48"/>
            <p:cNvSpPr/>
            <p:nvPr/>
          </p:nvSpPr>
          <p:spPr bwMode="auto">
            <a:xfrm>
              <a:off x="8974423" y="2766461"/>
              <a:ext cx="926322" cy="814091"/>
            </a:xfrm>
            <a:prstGeom prst="roundRect">
              <a:avLst>
                <a:gd name="adj" fmla="val 7334"/>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Device Management</a:t>
              </a:r>
            </a:p>
          </p:txBody>
        </p:sp>
        <p:sp>
          <p:nvSpPr>
            <p:cNvPr id="52" name="Rectangle: Rounded Corners 51"/>
            <p:cNvSpPr/>
            <p:nvPr/>
          </p:nvSpPr>
          <p:spPr bwMode="auto">
            <a:xfrm>
              <a:off x="10349559" y="2730932"/>
              <a:ext cx="1477283" cy="814091"/>
            </a:xfrm>
            <a:prstGeom prst="roundRect">
              <a:avLst>
                <a:gd name="adj" fmla="val 7334"/>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Device Management</a:t>
              </a:r>
            </a:p>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srgbClr val="FFFF00"/>
                  </a:solidFill>
                  <a:effectLst/>
                  <a:uLnTx/>
                  <a:uFillTx/>
                </a:rPr>
                <a:t>Third Party / Legacy</a:t>
              </a:r>
              <a:endParaRPr kumimoji="0" lang="en-US" sz="1200" b="0" i="0" u="none" strike="noStrike" kern="0" cap="none" spc="0" normalizeH="0" baseline="0" noProof="0" dirty="0">
                <a:ln>
                  <a:noFill/>
                </a:ln>
                <a:solidFill>
                  <a:schemeClr val="bg1"/>
                </a:solidFill>
                <a:effectLst/>
                <a:uLnTx/>
                <a:uFillTx/>
              </a:endParaRPr>
            </a:p>
          </p:txBody>
        </p:sp>
        <p:cxnSp>
          <p:nvCxnSpPr>
            <p:cNvPr id="56" name="Straight Arrow Connector 55"/>
            <p:cNvCxnSpPr>
              <a:cxnSpLocks/>
              <a:stCxn id="52" idx="1"/>
            </p:cNvCxnSpPr>
            <p:nvPr/>
          </p:nvCxnSpPr>
          <p:spPr bwMode="auto">
            <a:xfrm flipH="1" flipV="1">
              <a:off x="9982621" y="3132079"/>
              <a:ext cx="366938" cy="5899"/>
            </a:xfrm>
            <a:prstGeom prst="straightConnector1">
              <a:avLst/>
            </a:prstGeom>
            <a:noFill/>
            <a:ln w="57150" cap="flat" cmpd="sng" algn="ctr">
              <a:solidFill>
                <a:schemeClr val="accent1"/>
              </a:solidFill>
              <a:prstDash val="solid"/>
              <a:round/>
              <a:headEnd type="none" w="med" len="med"/>
              <a:tailEnd type="none" w="med" len="med"/>
            </a:ln>
            <a:effectLst>
              <a:outerShdw blurRad="63500" sx="102000" sy="102000" algn="ctr" rotWithShape="0">
                <a:prstClr val="black">
                  <a:alpha val="40000"/>
                </a:prstClr>
              </a:outerShdw>
            </a:effectLst>
          </p:spPr>
        </p:cxnSp>
        <p:sp>
          <p:nvSpPr>
            <p:cNvPr id="58" name="Rectangle: Rounded Corners 57"/>
            <p:cNvSpPr/>
            <p:nvPr/>
          </p:nvSpPr>
          <p:spPr bwMode="auto">
            <a:xfrm>
              <a:off x="659261" y="2077721"/>
              <a:ext cx="1209862" cy="761641"/>
            </a:xfrm>
            <a:prstGeom prst="roundRect">
              <a:avLst>
                <a:gd name="adj" fmla="val 7334"/>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89642" tIns="89642" rIns="89642" bIns="89642" numCol="1" rtlCol="0" anchor="ctr" anchorCtr="0" compatLnSpc="1">
              <a:prstTxWarp prst="textNoShape">
                <a:avLst/>
              </a:prstTxWarp>
              <a:noAutofit/>
            </a:bodyPr>
            <a:lstStyle/>
            <a:p>
              <a:pPr algn="ctr" defTabSz="871487" fontAlgn="base">
                <a:defRPr/>
              </a:pPr>
              <a:r>
                <a:rPr lang="en-US" sz="1200" kern="0" dirty="0">
                  <a:solidFill>
                    <a:schemeClr val="bg1"/>
                  </a:solidFill>
                </a:rPr>
                <a:t>Content Management</a:t>
              </a:r>
            </a:p>
          </p:txBody>
        </p:sp>
        <p:sp>
          <p:nvSpPr>
            <p:cNvPr id="60" name="Rectangle: Rounded Corners 59"/>
            <p:cNvSpPr/>
            <p:nvPr/>
          </p:nvSpPr>
          <p:spPr bwMode="auto">
            <a:xfrm>
              <a:off x="632877" y="2960379"/>
              <a:ext cx="1209862" cy="849620"/>
            </a:xfrm>
            <a:prstGeom prst="roundRect">
              <a:avLst>
                <a:gd name="adj" fmla="val 7334"/>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89642" tIns="89642" rIns="89642" bIns="89642" numCol="1" rtlCol="0" anchor="t" anchorCtr="0" compatLnSpc="1">
              <a:prstTxWarp prst="textNoShape">
                <a:avLst/>
              </a:prstTxWarp>
              <a:noAutofit/>
            </a:bodyPr>
            <a:lstStyle/>
            <a:p>
              <a:pPr marR="0" lvl="0" indent="0" algn="ctr" defTabSz="871487" fontAlgn="base">
                <a:lnSpc>
                  <a:spcPct val="100000"/>
                </a:lnSpc>
                <a:spcBef>
                  <a:spcPts val="0"/>
                </a:spcBef>
                <a:spcAft>
                  <a:spcPts val="0"/>
                </a:spcAft>
                <a:buClrTx/>
                <a:buSzTx/>
                <a:buFontTx/>
                <a:buNone/>
                <a:tabLst/>
                <a:defRPr/>
              </a:pPr>
              <a:r>
                <a:rPr lang="en-US" sz="1200" kern="0" dirty="0">
                  <a:solidFill>
                    <a:schemeClr val="bg1"/>
                  </a:solidFill>
                </a:rPr>
                <a:t>Vehicle Lifecycle Management</a:t>
              </a:r>
            </a:p>
          </p:txBody>
        </p:sp>
        <p:sp>
          <p:nvSpPr>
            <p:cNvPr id="61" name="Rectangle: Rounded Corners 60"/>
            <p:cNvSpPr/>
            <p:nvPr/>
          </p:nvSpPr>
          <p:spPr bwMode="auto">
            <a:xfrm>
              <a:off x="632877" y="3948735"/>
              <a:ext cx="1209862" cy="627106"/>
            </a:xfrm>
            <a:prstGeom prst="roundRect">
              <a:avLst>
                <a:gd name="adj" fmla="val 7334"/>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89642" tIns="89642" rIns="89642" bIns="89642" numCol="1" rtlCol="0" anchor="t" anchorCtr="0" compatLnSpc="1">
              <a:prstTxWarp prst="textNoShape">
                <a:avLst/>
              </a:prstTxWarp>
              <a:noAutofit/>
            </a:bodyPr>
            <a:lstStyle/>
            <a:p>
              <a:pPr algn="ctr" defTabSz="871487" fontAlgn="base">
                <a:defRPr/>
              </a:pPr>
              <a:r>
                <a:rPr lang="en-US" sz="1200" kern="0" dirty="0">
                  <a:solidFill>
                    <a:schemeClr val="bg1"/>
                  </a:solidFill>
                </a:rPr>
                <a:t>Custom SIM Management</a:t>
              </a:r>
            </a:p>
          </p:txBody>
        </p:sp>
        <p:sp>
          <p:nvSpPr>
            <p:cNvPr id="67" name="Rectangle: Rounded Corners 66"/>
            <p:cNvSpPr/>
            <p:nvPr/>
          </p:nvSpPr>
          <p:spPr bwMode="auto">
            <a:xfrm>
              <a:off x="628443" y="4723907"/>
              <a:ext cx="1209862" cy="627106"/>
            </a:xfrm>
            <a:prstGeom prst="roundRect">
              <a:avLst>
                <a:gd name="adj" fmla="val 7334"/>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89642" tIns="89642" rIns="89642" bIns="89642" numCol="1" rtlCol="0" anchor="t" anchorCtr="0" compatLnSpc="1">
              <a:prstTxWarp prst="textNoShape">
                <a:avLst/>
              </a:prstTxWarp>
              <a:noAutofit/>
            </a:bodyPr>
            <a:lstStyle/>
            <a:p>
              <a:pPr marR="0" lvl="0" indent="0" algn="ctr" defTabSz="871487" fontAlgn="base">
                <a:lnSpc>
                  <a:spcPct val="100000"/>
                </a:lnSpc>
                <a:spcBef>
                  <a:spcPts val="0"/>
                </a:spcBef>
                <a:spcAft>
                  <a:spcPts val="0"/>
                </a:spcAft>
                <a:buClrTx/>
                <a:buSzTx/>
                <a:buFontTx/>
                <a:buNone/>
                <a:tabLst/>
                <a:defRPr/>
              </a:pPr>
              <a:r>
                <a:rPr lang="en-US" sz="1200" kern="0" dirty="0">
                  <a:solidFill>
                    <a:schemeClr val="bg1"/>
                  </a:solidFill>
                </a:rPr>
                <a:t>Notification Management</a:t>
              </a:r>
            </a:p>
          </p:txBody>
        </p:sp>
        <p:sp>
          <p:nvSpPr>
            <p:cNvPr id="72" name="Rectangle: Rounded Corners 71"/>
            <p:cNvSpPr/>
            <p:nvPr/>
          </p:nvSpPr>
          <p:spPr bwMode="auto">
            <a:xfrm>
              <a:off x="3268640" y="4680017"/>
              <a:ext cx="1747651" cy="406215"/>
            </a:xfrm>
            <a:prstGeom prst="roundRect">
              <a:avLst>
                <a:gd name="adj" fmla="val 7334"/>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Protocol Gateway</a:t>
              </a:r>
            </a:p>
          </p:txBody>
        </p:sp>
        <p:sp>
          <p:nvSpPr>
            <p:cNvPr id="74" name="Rectangle: Rounded Corners 73"/>
            <p:cNvSpPr/>
            <p:nvPr/>
          </p:nvSpPr>
          <p:spPr bwMode="auto">
            <a:xfrm>
              <a:off x="6917508" y="1965850"/>
              <a:ext cx="3065114" cy="600695"/>
            </a:xfrm>
            <a:prstGeom prst="roundRect">
              <a:avLst>
                <a:gd name="adj" fmla="val 7334"/>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89642" tIns="89642" rIns="89642" bIns="89642" numCol="1" rtlCol="0" anchor="t" anchorCtr="0" compatLnSpc="1">
              <a:prstTxWarp prst="textNoShape">
                <a:avLst/>
              </a:prstTxWarp>
              <a:noAutofit/>
            </a:bodyPr>
            <a:lstStyle/>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bg1"/>
                  </a:solidFill>
                  <a:effectLst/>
                  <a:uLnTx/>
                  <a:uFillTx/>
                </a:rPr>
                <a:t>Data</a:t>
              </a:r>
            </a:p>
            <a:p>
              <a:pPr marL="0" marR="0" lvl="0" indent="0" algn="ctr" defTabSz="871487" eaLnBrk="1" fontAlgn="base" latinLnBrk="0" hangingPunct="1">
                <a:lnSpc>
                  <a:spcPct val="100000"/>
                </a:lnSpc>
                <a:spcBef>
                  <a:spcPts val="0"/>
                </a:spcBef>
                <a:spcAft>
                  <a:spcPts val="0"/>
                </a:spcAft>
                <a:buClrTx/>
                <a:buSzTx/>
                <a:buFontTx/>
                <a:buNone/>
                <a:tabLst/>
                <a:defRPr/>
              </a:pPr>
              <a:r>
                <a:rPr kumimoji="0" lang="en-US" sz="1372" b="0" i="1" u="none" strike="noStrike" kern="0" cap="none" spc="0" normalizeH="0" baseline="0" noProof="0" dirty="0">
                  <a:ln>
                    <a:noFill/>
                  </a:ln>
                  <a:solidFill>
                    <a:srgbClr val="FFFF00"/>
                  </a:solidFill>
                  <a:effectLst/>
                  <a:uLnTx/>
                  <a:uFillTx/>
                </a:rPr>
                <a:t>Data Lakes / Storage / Big Data / ML</a:t>
              </a:r>
            </a:p>
          </p:txBody>
        </p:sp>
      </p:grpSp>
      <p:sp>
        <p:nvSpPr>
          <p:cNvPr id="69" name="Rectangle 68"/>
          <p:cNvSpPr/>
          <p:nvPr/>
        </p:nvSpPr>
        <p:spPr bwMode="auto">
          <a:xfrm>
            <a:off x="280423" y="1055984"/>
            <a:ext cx="1913927" cy="4376888"/>
          </a:xfrm>
          <a:prstGeom prst="rect">
            <a:avLst/>
          </a:prstGeom>
          <a:solidFill>
            <a:srgbClr val="7030A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GB" sz="176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dern Apps</a:t>
            </a:r>
          </a:p>
        </p:txBody>
      </p:sp>
      <p:sp>
        <p:nvSpPr>
          <p:cNvPr id="73" name="Rectangle 72"/>
          <p:cNvSpPr/>
          <p:nvPr/>
        </p:nvSpPr>
        <p:spPr bwMode="auto">
          <a:xfrm>
            <a:off x="2309297" y="1197574"/>
            <a:ext cx="9664612" cy="711010"/>
          </a:xfrm>
          <a:prstGeom prst="rect">
            <a:avLst/>
          </a:prstGeom>
          <a:solidFill>
            <a:srgbClr val="7030A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GB" sz="176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dern Apps</a:t>
            </a:r>
          </a:p>
        </p:txBody>
      </p:sp>
      <p:sp>
        <p:nvSpPr>
          <p:cNvPr id="77" name="Rectangle 76"/>
          <p:cNvSpPr/>
          <p:nvPr/>
        </p:nvSpPr>
        <p:spPr bwMode="auto">
          <a:xfrm>
            <a:off x="2786882" y="1934124"/>
            <a:ext cx="4074225" cy="2889403"/>
          </a:xfrm>
          <a:prstGeom prst="rect">
            <a:avLst/>
          </a:prstGeom>
          <a:solidFill>
            <a:srgbClr val="7030A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GB" sz="176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dern Apps</a:t>
            </a:r>
          </a:p>
        </p:txBody>
      </p:sp>
      <p:sp>
        <p:nvSpPr>
          <p:cNvPr id="78" name="Rectangle 77"/>
          <p:cNvSpPr/>
          <p:nvPr/>
        </p:nvSpPr>
        <p:spPr bwMode="auto">
          <a:xfrm>
            <a:off x="6885695" y="1947128"/>
            <a:ext cx="3219976" cy="649222"/>
          </a:xfrm>
          <a:prstGeom prst="rect">
            <a:avLst/>
          </a:prstGeom>
          <a:solidFill>
            <a:srgbClr val="EC6C01">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GB"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ata Insights</a:t>
            </a:r>
          </a:p>
        </p:txBody>
      </p:sp>
      <p:sp>
        <p:nvSpPr>
          <p:cNvPr id="79" name="Rectangle 78"/>
          <p:cNvSpPr/>
          <p:nvPr/>
        </p:nvSpPr>
        <p:spPr bwMode="auto">
          <a:xfrm>
            <a:off x="171441" y="847403"/>
            <a:ext cx="11802468" cy="314014"/>
          </a:xfrm>
          <a:prstGeom prst="rect">
            <a:avLst/>
          </a:prstGeom>
          <a:solidFill>
            <a:schemeClr val="tx1">
              <a:lumMod val="65000"/>
              <a:lumOff val="3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GB" sz="3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DSA</a:t>
            </a:r>
            <a:endParaRPr kumimoji="0" lang="en-GB" sz="6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3" name="Rectangle 82"/>
          <p:cNvSpPr/>
          <p:nvPr/>
        </p:nvSpPr>
        <p:spPr bwMode="auto">
          <a:xfrm>
            <a:off x="2763967" y="4856316"/>
            <a:ext cx="4097140" cy="438376"/>
          </a:xfrm>
          <a:prstGeom prst="rect">
            <a:avLst/>
          </a:prstGeom>
          <a:solidFill>
            <a:schemeClr val="accent6">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GB"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cure Infrastructure</a:t>
            </a:r>
          </a:p>
        </p:txBody>
      </p:sp>
      <p:sp>
        <p:nvSpPr>
          <p:cNvPr id="84" name="Rectangle 83"/>
          <p:cNvSpPr/>
          <p:nvPr/>
        </p:nvSpPr>
        <p:spPr bwMode="auto">
          <a:xfrm rot="5400000">
            <a:off x="867854" y="3398580"/>
            <a:ext cx="3353849" cy="438376"/>
          </a:xfrm>
          <a:prstGeom prst="rect">
            <a:avLst/>
          </a:prstGeom>
          <a:solidFill>
            <a:schemeClr val="accent6">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GB"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cure Infrastructure</a:t>
            </a:r>
          </a:p>
        </p:txBody>
      </p:sp>
      <p:sp>
        <p:nvSpPr>
          <p:cNvPr id="85" name="Rectangle 84"/>
          <p:cNvSpPr/>
          <p:nvPr/>
        </p:nvSpPr>
        <p:spPr bwMode="auto">
          <a:xfrm>
            <a:off x="6884023" y="2602798"/>
            <a:ext cx="5138460" cy="1559518"/>
          </a:xfrm>
          <a:prstGeom prst="rect">
            <a:avLst/>
          </a:prstGeom>
          <a:solidFill>
            <a:schemeClr val="accent6">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GB"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cure Infrastructure</a:t>
            </a:r>
          </a:p>
        </p:txBody>
      </p:sp>
      <p:sp>
        <p:nvSpPr>
          <p:cNvPr id="86" name="Rectangle 85"/>
          <p:cNvSpPr/>
          <p:nvPr/>
        </p:nvSpPr>
        <p:spPr bwMode="auto">
          <a:xfrm>
            <a:off x="6889374" y="4185243"/>
            <a:ext cx="5133108" cy="1101660"/>
          </a:xfrm>
          <a:prstGeom prst="rect">
            <a:avLst/>
          </a:prstGeom>
          <a:solidFill>
            <a:srgbClr val="7030A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GB" sz="176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dern Apps</a:t>
            </a:r>
          </a:p>
        </p:txBody>
      </p:sp>
    </p:spTree>
    <p:extLst>
      <p:ext uri="{BB962C8B-B14F-4D97-AF65-F5344CB8AC3E}">
        <p14:creationId xmlns:p14="http://schemas.microsoft.com/office/powerpoint/2010/main" val="90476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3" grpId="0" animBg="1"/>
      <p:bldP spid="77" grpId="0" animBg="1"/>
      <p:bldP spid="78" grpId="0" animBg="1"/>
      <p:bldP spid="79" grpId="0" animBg="1"/>
      <p:bldP spid="83" grpId="0" animBg="1"/>
      <p:bldP spid="84" grpId="0" animBg="1"/>
      <p:bldP spid="85" grpId="0" animBg="1"/>
      <p:bldP spid="8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68" y="487"/>
            <a:ext cx="12236936" cy="8126089"/>
          </a:xfrm>
          <a:prstGeom prst="rect">
            <a:avLst/>
          </a:prstGeom>
        </p:spPr>
      </p:pic>
      <p:sp>
        <p:nvSpPr>
          <p:cNvPr id="4" name="Rectangle 3"/>
          <p:cNvSpPr/>
          <p:nvPr/>
        </p:nvSpPr>
        <p:spPr bwMode="auto">
          <a:xfrm>
            <a:off x="865" y="486"/>
            <a:ext cx="12351792" cy="7085595"/>
          </a:xfrm>
          <a:prstGeom prst="rect">
            <a:avLst/>
          </a:prstGeom>
          <a:solidFill>
            <a:srgbClr val="002060">
              <a:alpha val="8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fr-FR"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 name="Picture 1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921391" y="2754291"/>
            <a:ext cx="3565877" cy="1311344"/>
          </a:xfrm>
          <a:prstGeom prst="rect">
            <a:avLst/>
          </a:prstGeom>
        </p:spPr>
      </p:pic>
      <p:cxnSp>
        <p:nvCxnSpPr>
          <p:cNvPr id="6" name="Connecteur droit 5"/>
          <p:cNvCxnSpPr/>
          <p:nvPr/>
        </p:nvCxnSpPr>
        <p:spPr>
          <a:xfrm>
            <a:off x="6096000" y="2854405"/>
            <a:ext cx="0" cy="359949"/>
          </a:xfrm>
          <a:prstGeom prst="line">
            <a:avLst/>
          </a:prstGeom>
          <a:ln w="19050">
            <a:solidFill>
              <a:schemeClr val="bg1">
                <a:alpha val="26000"/>
              </a:schemeClr>
            </a:solidFill>
          </a:ln>
        </p:spPr>
        <p:style>
          <a:lnRef idx="1">
            <a:schemeClr val="accent1"/>
          </a:lnRef>
          <a:fillRef idx="0">
            <a:schemeClr val="accent1"/>
          </a:fillRef>
          <a:effectRef idx="0">
            <a:schemeClr val="accent1"/>
          </a:effectRef>
          <a:fontRef idx="minor">
            <a:schemeClr val="tx1"/>
          </a:fontRef>
        </p:style>
      </p:cxnSp>
      <p:sp>
        <p:nvSpPr>
          <p:cNvPr id="7" name="ZoneTexte 6"/>
          <p:cNvSpPr txBox="1"/>
          <p:nvPr/>
        </p:nvSpPr>
        <p:spPr>
          <a:xfrm>
            <a:off x="5642674" y="3258053"/>
            <a:ext cx="906652" cy="343443"/>
          </a:xfrm>
          <a:prstGeom prst="rect">
            <a:avLst/>
          </a:prstGeom>
          <a:noFill/>
        </p:spPr>
        <p:txBody>
          <a:bodyPr wrap="square" rtlCol="0">
            <a:spAutoFit/>
          </a:bodyPr>
          <a:lstStyle/>
          <a:p>
            <a:pPr algn="ctr" defTabSz="914225">
              <a:defRPr/>
            </a:pPr>
            <a:r>
              <a:rPr lang="fr-FR" sz="1600" kern="0">
                <a:solidFill>
                  <a:prstClr val="white">
                    <a:alpha val="80000"/>
                  </a:prstClr>
                </a:solidFill>
                <a:latin typeface="Segoe UI Semilight"/>
              </a:rPr>
              <a:t>&amp;</a:t>
            </a:r>
          </a:p>
        </p:txBody>
      </p:sp>
      <p:cxnSp>
        <p:nvCxnSpPr>
          <p:cNvPr id="8" name="Connecteur droit 7"/>
          <p:cNvCxnSpPr/>
          <p:nvPr/>
        </p:nvCxnSpPr>
        <p:spPr>
          <a:xfrm>
            <a:off x="6096000" y="3634400"/>
            <a:ext cx="0" cy="359949"/>
          </a:xfrm>
          <a:prstGeom prst="line">
            <a:avLst/>
          </a:prstGeom>
          <a:ln w="19050">
            <a:solidFill>
              <a:schemeClr val="bg1">
                <a:alpha val="26000"/>
              </a:schemeClr>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87633" y="2754291"/>
            <a:ext cx="3089126" cy="842270"/>
          </a:xfrm>
          <a:prstGeom prst="rect">
            <a:avLst/>
          </a:prstGeom>
        </p:spPr>
      </p:pic>
    </p:spTree>
    <p:extLst>
      <p:ext uri="{BB962C8B-B14F-4D97-AF65-F5344CB8AC3E}">
        <p14:creationId xmlns:p14="http://schemas.microsoft.com/office/powerpoint/2010/main" val="21329344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4"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down)">
                                      <p:cBhvr>
                                        <p:cTn id="10" dur="500"/>
                                        <p:tgtEl>
                                          <p:spTgt spid="6"/>
                                        </p:tgtEl>
                                      </p:cBhvr>
                                    </p:animEffect>
                                  </p:childTnLst>
                                </p:cTn>
                              </p:par>
                            </p:childTnLst>
                          </p:cTn>
                        </p:par>
                        <p:par>
                          <p:cTn id="11" fill="hold">
                            <p:stCondLst>
                              <p:cond delay="500"/>
                            </p:stCondLst>
                            <p:childTnLst>
                              <p:par>
                                <p:cTn id="12" presetID="22" presetClass="entr" presetSubtype="1"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10"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cNvSpPr/>
          <p:nvPr>
            <p:custDataLst>
              <p:custData r:id="rId1"/>
            </p:custDataLst>
          </p:nvPr>
        </p:nvSpPr>
        <p:spPr>
          <a:xfrm>
            <a:off x="3406726" y="516976"/>
            <a:ext cx="8163277" cy="802426"/>
          </a:xfrm>
          <a:prstGeom prst="rect">
            <a:avLst/>
          </a:prstGeom>
          <a:solidFill>
            <a:schemeClr val="bg1">
              <a:lumMod val="75000"/>
            </a:schemeClr>
          </a:solidFill>
          <a:ln w="762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rgbClr val="4F81BD">
              <a:shade val="50000"/>
            </a:srgbClr>
          </a:lnRef>
          <a:fillRef idx="1">
            <a:srgbClr val="4F81BD"/>
          </a:fillRef>
          <a:effectRef idx="0">
            <a:srgbClr val="4F81BD"/>
          </a:effectRef>
          <a:fontRef idx="minor">
            <a:srgbClr val="000000"/>
          </a:fontRef>
        </p:style>
        <p:txBody>
          <a:bodyPr lIns="44821" tIns="26893" rIns="0" bIns="0" rtlCol="0" anchor="ctr" anchorCtr="0"/>
          <a:lstStyle/>
          <a:p>
            <a:pPr marL="457183" lvl="1" defTabSz="914367"/>
            <a:r>
              <a:rPr lang="en-US" sz="1961">
                <a:latin typeface="Segoe UI" pitchFamily="34" charset="0"/>
                <a:cs typeface="Segoe UI" pitchFamily="34" charset="0"/>
              </a:rPr>
              <a:t>AvNext: Microsoft provides next generation Connected Car platform to Renault-Nissan Alliance</a:t>
            </a:r>
          </a:p>
        </p:txBody>
      </p:sp>
      <p:sp>
        <p:nvSpPr>
          <p:cNvPr id="3" name="Content"/>
          <p:cNvSpPr/>
          <p:nvPr>
            <p:custDataLst>
              <p:custData r:id="rId2"/>
            </p:custDataLst>
          </p:nvPr>
        </p:nvSpPr>
        <p:spPr>
          <a:xfrm>
            <a:off x="642750" y="1542274"/>
            <a:ext cx="5233930" cy="3137487"/>
          </a:xfrm>
          <a:prstGeom prst="rect">
            <a:avLst/>
          </a:prstGeom>
          <a:solidFill>
            <a:schemeClr val="accent6">
              <a:lumMod val="60000"/>
              <a:lumOff val="40000"/>
            </a:schemeClr>
          </a:solidFill>
          <a:ln/>
          <a:scene3d>
            <a:camera prst="orthographicFront"/>
            <a:lightRig rig="threePt" dir="t"/>
          </a:scene3d>
          <a:sp3d>
            <a:bevelT prst="relaxedInset"/>
          </a:sp3d>
        </p:spPr>
        <p:style>
          <a:lnRef idx="3">
            <a:schemeClr val="lt1"/>
          </a:lnRef>
          <a:fillRef idx="1">
            <a:schemeClr val="accent6"/>
          </a:fillRef>
          <a:effectRef idx="1">
            <a:schemeClr val="accent6"/>
          </a:effectRef>
          <a:fontRef idx="minor">
            <a:schemeClr val="lt1"/>
          </a:fontRef>
        </p:style>
        <p:txBody>
          <a:bodyPr lIns="44821" tIns="26893" rIns="0" bIns="0" rtlCol="0" anchor="ctr" anchorCtr="0"/>
          <a:lstStyle/>
          <a:p>
            <a:pPr defTabSz="914367"/>
            <a:endParaRPr lang="en-US" sz="980">
              <a:solidFill>
                <a:srgbClr val="FFFFFF"/>
              </a:solidFill>
              <a:latin typeface="Segoe UI Semilight"/>
            </a:endParaRPr>
          </a:p>
        </p:txBody>
      </p:sp>
      <p:sp>
        <p:nvSpPr>
          <p:cNvPr id="4" name="Content"/>
          <p:cNvSpPr/>
          <p:nvPr>
            <p:custDataLst>
              <p:custData r:id="rId3"/>
            </p:custDataLst>
          </p:nvPr>
        </p:nvSpPr>
        <p:spPr>
          <a:xfrm>
            <a:off x="6157241" y="1542275"/>
            <a:ext cx="5412762" cy="3166154"/>
          </a:xfrm>
          <a:prstGeom prst="rect">
            <a:avLst/>
          </a:prstGeom>
          <a:solidFill>
            <a:sysClr val="window" lastClr="FFFFFF"/>
          </a:solidFill>
          <a:ln w="762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rgbClr val="4F81BD">
              <a:shade val="50000"/>
            </a:srgbClr>
          </a:lnRef>
          <a:fillRef idx="1">
            <a:srgbClr val="4F81BD"/>
          </a:fillRef>
          <a:effectRef idx="0">
            <a:srgbClr val="4F81BD"/>
          </a:effectRef>
          <a:fontRef idx="minor">
            <a:srgbClr val="000000"/>
          </a:fontRef>
        </p:style>
        <p:txBody>
          <a:bodyPr lIns="44821" tIns="26893" rIns="0" bIns="0" rtlCol="0" anchor="ctr" anchorCtr="0"/>
          <a:lstStyle/>
          <a:p>
            <a:pPr algn="ctr" defTabSz="914367"/>
            <a:endParaRPr lang="en-US" sz="1961">
              <a:latin typeface="Segoe UI" pitchFamily="34" charset="0"/>
              <a:cs typeface="Segoe UI" pitchFamily="34" charset="0"/>
            </a:endParaRPr>
          </a:p>
        </p:txBody>
      </p:sp>
      <p:sp>
        <p:nvSpPr>
          <p:cNvPr id="5" name="Content"/>
          <p:cNvSpPr/>
          <p:nvPr>
            <p:custDataLst>
              <p:custData r:id="rId4"/>
            </p:custDataLst>
          </p:nvPr>
        </p:nvSpPr>
        <p:spPr>
          <a:xfrm>
            <a:off x="642749" y="4985067"/>
            <a:ext cx="5233931" cy="1656122"/>
          </a:xfrm>
          <a:prstGeom prst="rect">
            <a:avLst/>
          </a:prstGeom>
          <a:solidFill>
            <a:schemeClr val="bg1">
              <a:lumMod val="75000"/>
            </a:schemeClr>
          </a:solidFill>
          <a:ln w="762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rgbClr val="4F81BD">
              <a:shade val="50000"/>
            </a:srgbClr>
          </a:lnRef>
          <a:fillRef idx="1">
            <a:srgbClr val="4F81BD"/>
          </a:fillRef>
          <a:effectRef idx="0">
            <a:srgbClr val="4F81BD"/>
          </a:effectRef>
          <a:fontRef idx="minor">
            <a:srgbClr val="000000"/>
          </a:fontRef>
        </p:style>
        <p:txBody>
          <a:bodyPr lIns="44821" tIns="26893" rIns="0" bIns="0" rtlCol="0" anchor="t" anchorCtr="0"/>
          <a:lstStyle/>
          <a:p>
            <a:pPr marL="2743101" lvl="6" defTabSz="914367"/>
            <a:r>
              <a:rPr lang="en-US" sz="1765">
                <a:latin typeface="Segoe UI" pitchFamily="34" charset="0"/>
                <a:cs typeface="Segoe UI" pitchFamily="34" charset="0"/>
              </a:rPr>
              <a:t>Project Team Locations</a:t>
            </a:r>
          </a:p>
          <a:p>
            <a:pPr marL="2743101" lvl="6" defTabSz="914367"/>
            <a:endParaRPr lang="en-US" sz="588">
              <a:latin typeface="Segoe UI" pitchFamily="34" charset="0"/>
              <a:cs typeface="Segoe UI" pitchFamily="34" charset="0"/>
            </a:endParaRPr>
          </a:p>
          <a:p>
            <a:pPr marL="3025304" lvl="6" indent="-336145" defTabSz="914367">
              <a:buFont typeface="Arial" panose="020B0604020202020204" pitchFamily="34" charset="0"/>
              <a:buChar char="•"/>
            </a:pPr>
            <a:r>
              <a:rPr lang="en-US" sz="1568">
                <a:latin typeface="Segoe UI" pitchFamily="34" charset="0"/>
                <a:cs typeface="Segoe UI" pitchFamily="34" charset="0"/>
              </a:rPr>
              <a:t>USA</a:t>
            </a:r>
          </a:p>
          <a:p>
            <a:pPr marL="3025304" lvl="6" indent="-336145" defTabSz="914367">
              <a:buFont typeface="Arial" panose="020B0604020202020204" pitchFamily="34" charset="0"/>
              <a:buChar char="•"/>
            </a:pPr>
            <a:r>
              <a:rPr lang="en-US" sz="1568">
                <a:latin typeface="Segoe UI" pitchFamily="34" charset="0"/>
                <a:cs typeface="Segoe UI" pitchFamily="34" charset="0"/>
              </a:rPr>
              <a:t>France</a:t>
            </a:r>
          </a:p>
          <a:p>
            <a:pPr marL="3025304" lvl="6" indent="-336145" defTabSz="914367">
              <a:buFont typeface="Arial" panose="020B0604020202020204" pitchFamily="34" charset="0"/>
              <a:buChar char="•"/>
            </a:pPr>
            <a:r>
              <a:rPr lang="en-US" sz="1568">
                <a:latin typeface="Segoe UI" pitchFamily="34" charset="0"/>
                <a:cs typeface="Segoe UI" pitchFamily="34" charset="0"/>
              </a:rPr>
              <a:t>India</a:t>
            </a:r>
          </a:p>
          <a:p>
            <a:pPr marL="3025304" lvl="6" indent="-336145" defTabSz="914367">
              <a:buFont typeface="Arial" panose="020B0604020202020204" pitchFamily="34" charset="0"/>
              <a:buChar char="•"/>
            </a:pPr>
            <a:r>
              <a:rPr lang="en-US" sz="1568">
                <a:latin typeface="Segoe UI" pitchFamily="34" charset="0"/>
                <a:cs typeface="Segoe UI" pitchFamily="34" charset="0"/>
              </a:rPr>
              <a:t>Japan</a:t>
            </a:r>
          </a:p>
          <a:p>
            <a:pPr marL="3025304" lvl="6" indent="-336145" defTabSz="914367">
              <a:buFont typeface="Arial" panose="020B0604020202020204" pitchFamily="34" charset="0"/>
              <a:buChar char="•"/>
            </a:pPr>
            <a:r>
              <a:rPr lang="en-US" sz="1568">
                <a:latin typeface="Segoe UI" pitchFamily="34" charset="0"/>
                <a:cs typeface="Segoe UI" pitchFamily="34" charset="0"/>
              </a:rPr>
              <a:t>China</a:t>
            </a:r>
          </a:p>
        </p:txBody>
      </p:sp>
      <p:sp>
        <p:nvSpPr>
          <p:cNvPr id="6" name="Content"/>
          <p:cNvSpPr/>
          <p:nvPr>
            <p:custDataLst>
              <p:custData r:id="rId5"/>
            </p:custDataLst>
          </p:nvPr>
        </p:nvSpPr>
        <p:spPr>
          <a:xfrm>
            <a:off x="6157241" y="4956399"/>
            <a:ext cx="5412762" cy="1684790"/>
          </a:xfrm>
          <a:prstGeom prst="rect">
            <a:avLst/>
          </a:prstGeom>
          <a:solidFill>
            <a:schemeClr val="accent5">
              <a:lumMod val="40000"/>
              <a:lumOff val="60000"/>
            </a:schemeClr>
          </a:solidFill>
          <a:ln w="762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rgbClr val="4F81BD">
              <a:shade val="50000"/>
            </a:srgbClr>
          </a:lnRef>
          <a:fillRef idx="1">
            <a:srgbClr val="4F81BD"/>
          </a:fillRef>
          <a:effectRef idx="0">
            <a:srgbClr val="4F81BD"/>
          </a:effectRef>
          <a:fontRef idx="minor">
            <a:srgbClr val="000000"/>
          </a:fontRef>
        </p:style>
        <p:txBody>
          <a:bodyPr lIns="44821" tIns="26893" rIns="0" bIns="0" rtlCol="0" anchor="t" anchorCtr="0"/>
          <a:lstStyle/>
          <a:p>
            <a:pPr marL="168072" indent="-168072" defTabSz="914367">
              <a:buFont typeface="Arial" panose="020B0604020202020204" pitchFamily="34" charset="0"/>
              <a:buChar char="•"/>
            </a:pPr>
            <a:r>
              <a:rPr lang="en-US" sz="100">
                <a:latin typeface="Segoe UI" pitchFamily="34" charset="0"/>
                <a:cs typeface="Segoe UI" pitchFamily="34" charset="0"/>
              </a:rPr>
              <a:t> </a:t>
            </a:r>
            <a:endParaRPr lang="en-US" sz="1765">
              <a:latin typeface="Segoe UI" pitchFamily="34" charset="0"/>
              <a:cs typeface="Segoe UI" pitchFamily="34" charset="0"/>
            </a:endParaRPr>
          </a:p>
          <a:p>
            <a:pPr marL="369759" indent="-280121" defTabSz="914367">
              <a:spcBef>
                <a:spcPts val="588"/>
              </a:spcBef>
              <a:buFont typeface="Arial" panose="020B0604020202020204" pitchFamily="34" charset="0"/>
              <a:buChar char="•"/>
            </a:pPr>
            <a:endParaRPr lang="en-US" sz="1568">
              <a:latin typeface="Segoe UI" pitchFamily="34" charset="0"/>
              <a:cs typeface="Segoe UI" pitchFamily="34" charset="0"/>
            </a:endParaRPr>
          </a:p>
          <a:p>
            <a:pPr marL="369759" indent="-280121" defTabSz="914367">
              <a:spcBef>
                <a:spcPts val="588"/>
              </a:spcBef>
              <a:buFont typeface="Arial" panose="020B0604020202020204" pitchFamily="34" charset="0"/>
              <a:buChar char="•"/>
            </a:pPr>
            <a:endParaRPr lang="en-US" sz="1568">
              <a:latin typeface="Segoe UI" pitchFamily="34" charset="0"/>
              <a:cs typeface="Segoe UI" pitchFamily="34" charset="0"/>
            </a:endParaRPr>
          </a:p>
        </p:txBody>
      </p:sp>
      <p:pic>
        <p:nvPicPr>
          <p:cNvPr id="8" name="Picture 7" descr="File:GURPS Reign of Steel world map.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5023" y="5129605"/>
            <a:ext cx="2223955" cy="1362180"/>
          </a:xfrm>
          <a:prstGeom prst="rect">
            <a:avLst/>
          </a:prstGeom>
        </p:spPr>
      </p:pic>
      <p:grpSp>
        <p:nvGrpSpPr>
          <p:cNvPr id="9" name="Group 8"/>
          <p:cNvGrpSpPr/>
          <p:nvPr/>
        </p:nvGrpSpPr>
        <p:grpSpPr>
          <a:xfrm>
            <a:off x="6376216" y="1746681"/>
            <a:ext cx="4982496" cy="2762059"/>
            <a:chOff x="1718304" y="2257439"/>
            <a:chExt cx="9103575" cy="4447810"/>
          </a:xfrm>
        </p:grpSpPr>
        <p:sp>
          <p:nvSpPr>
            <p:cNvPr id="10" name="Rectangle 9"/>
            <p:cNvSpPr/>
            <p:nvPr/>
          </p:nvSpPr>
          <p:spPr>
            <a:xfrm>
              <a:off x="1718306" y="2257439"/>
              <a:ext cx="9103573" cy="1407828"/>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7"/>
              <a:r>
                <a:rPr lang="fr-FR" sz="1568">
                  <a:solidFill>
                    <a:srgbClr val="FFFFFF"/>
                  </a:solidFill>
                  <a:latin typeface="Segoe UI" panose="020B0502040204020203" pitchFamily="34" charset="0"/>
                  <a:cs typeface="Segoe UI" panose="020B0502040204020203" pitchFamily="34" charset="0"/>
                </a:rPr>
                <a:t>Services Layer</a:t>
              </a:r>
            </a:p>
          </p:txBody>
        </p:sp>
        <p:sp>
          <p:nvSpPr>
            <p:cNvPr id="11" name="Rectangle 10"/>
            <p:cNvSpPr/>
            <p:nvPr/>
          </p:nvSpPr>
          <p:spPr>
            <a:xfrm>
              <a:off x="1718304" y="3778166"/>
              <a:ext cx="9103575" cy="2927083"/>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7"/>
              <a:r>
                <a:rPr lang="en-US" sz="1568">
                  <a:solidFill>
                    <a:srgbClr val="FFFFFF"/>
                  </a:solidFill>
                  <a:latin typeface="Segoe UI" panose="020B0502040204020203" pitchFamily="34" charset="0"/>
                  <a:cs typeface="Segoe UI" panose="020B0502040204020203" pitchFamily="34" charset="0"/>
                </a:rPr>
                <a:t>Core Features</a:t>
              </a:r>
            </a:p>
          </p:txBody>
        </p:sp>
        <p:sp>
          <p:nvSpPr>
            <p:cNvPr id="12" name="TextBox 11"/>
            <p:cNvSpPr txBox="1"/>
            <p:nvPr/>
          </p:nvSpPr>
          <p:spPr>
            <a:xfrm>
              <a:off x="2358312" y="4404206"/>
              <a:ext cx="1677839" cy="2165684"/>
            </a:xfrm>
            <a:prstGeom prst="rect">
              <a:avLst/>
            </a:prstGeom>
            <a:solidFill>
              <a:srgbClr val="00162E"/>
            </a:solidFill>
          </p:spPr>
          <p:txBody>
            <a:bodyPr wrap="square" rtlCol="0" anchor="ctr">
              <a:noAutofit/>
            </a:bodyPr>
            <a:lstStyle/>
            <a:p>
              <a:pPr algn="ctr" defTabSz="896354">
                <a:defRPr/>
              </a:pPr>
              <a:r>
                <a:rPr lang="en-US" sz="1568" kern="0">
                  <a:solidFill>
                    <a:prstClr val="white"/>
                  </a:solidFill>
                  <a:latin typeface="Segoe UI Light" panose="020B0502040204020203" pitchFamily="34" charset="0"/>
                  <a:cs typeface="Segoe UI Light" panose="020B0502040204020203" pitchFamily="34" charset="0"/>
                </a:rPr>
                <a:t>Device Gateway</a:t>
              </a:r>
              <a:endParaRPr lang="en-US" sz="1765" kern="0">
                <a:solidFill>
                  <a:prstClr val="white"/>
                </a:solidFill>
                <a:latin typeface="Segoe UI Light" panose="020B0502040204020203" pitchFamily="34" charset="0"/>
                <a:cs typeface="Segoe UI Light" panose="020B0502040204020203" pitchFamily="34" charset="0"/>
              </a:endParaRPr>
            </a:p>
          </p:txBody>
        </p:sp>
        <p:sp>
          <p:nvSpPr>
            <p:cNvPr id="13" name="TextBox 12"/>
            <p:cNvSpPr txBox="1"/>
            <p:nvPr/>
          </p:nvSpPr>
          <p:spPr>
            <a:xfrm>
              <a:off x="7850297" y="4404206"/>
              <a:ext cx="1739574" cy="2165682"/>
            </a:xfrm>
            <a:prstGeom prst="rect">
              <a:avLst/>
            </a:prstGeom>
            <a:solidFill>
              <a:srgbClr val="00162E"/>
            </a:solidFill>
          </p:spPr>
          <p:txBody>
            <a:bodyPr wrap="square" rtlCol="0" anchor="ctr">
              <a:noAutofit/>
            </a:bodyPr>
            <a:lstStyle/>
            <a:p>
              <a:pPr algn="ctr" defTabSz="896354">
                <a:defRPr/>
              </a:pPr>
              <a:r>
                <a:rPr lang="en-US" sz="1765" kern="0">
                  <a:solidFill>
                    <a:prstClr val="white"/>
                  </a:solidFill>
                  <a:latin typeface="Segoe UI Light" panose="020B0502040204020203" pitchFamily="34" charset="0"/>
                  <a:cs typeface="Segoe UI Light" panose="020B0502040204020203" pitchFamily="34" charset="0"/>
                </a:rPr>
                <a:t>M2M / Proxy</a:t>
              </a:r>
              <a:endParaRPr lang="en-US" sz="1961" kern="0">
                <a:solidFill>
                  <a:prstClr val="white"/>
                </a:solidFill>
                <a:latin typeface="Segoe UI Light" panose="020B0502040204020203" pitchFamily="34" charset="0"/>
                <a:cs typeface="Segoe UI Light" panose="020B0502040204020203" pitchFamily="34" charset="0"/>
              </a:endParaRPr>
            </a:p>
          </p:txBody>
        </p:sp>
        <p:sp>
          <p:nvSpPr>
            <p:cNvPr id="14" name="TextBox 13"/>
            <p:cNvSpPr txBox="1"/>
            <p:nvPr/>
          </p:nvSpPr>
          <p:spPr>
            <a:xfrm>
              <a:off x="4106659" y="4404206"/>
              <a:ext cx="1862136" cy="2165681"/>
            </a:xfrm>
            <a:prstGeom prst="rect">
              <a:avLst/>
            </a:prstGeom>
            <a:solidFill>
              <a:srgbClr val="00162E"/>
            </a:solidFill>
          </p:spPr>
          <p:txBody>
            <a:bodyPr wrap="square" rtlCol="0" anchor="ctr">
              <a:noAutofit/>
            </a:bodyPr>
            <a:lstStyle/>
            <a:p>
              <a:pPr algn="ctr" defTabSz="896354">
                <a:defRPr/>
              </a:pPr>
              <a:r>
                <a:rPr lang="en-US" sz="1568" kern="0">
                  <a:solidFill>
                    <a:prstClr val="white"/>
                  </a:solidFill>
                  <a:latin typeface="Segoe UI Light" panose="020B0502040204020203" pitchFamily="34" charset="0"/>
                  <a:cs typeface="Segoe UI Light" panose="020B0502040204020203" pitchFamily="34" charset="0"/>
                </a:rPr>
                <a:t>Data Management</a:t>
              </a:r>
              <a:endParaRPr lang="en-US" sz="1765" kern="0">
                <a:solidFill>
                  <a:prstClr val="white"/>
                </a:solidFill>
                <a:latin typeface="Segoe UI Light" panose="020B0502040204020203" pitchFamily="34" charset="0"/>
                <a:cs typeface="Segoe UI Light" panose="020B0502040204020203" pitchFamily="34" charset="0"/>
              </a:endParaRPr>
            </a:p>
          </p:txBody>
        </p:sp>
        <p:sp>
          <p:nvSpPr>
            <p:cNvPr id="15" name="TextBox 14"/>
            <p:cNvSpPr txBox="1"/>
            <p:nvPr/>
          </p:nvSpPr>
          <p:spPr>
            <a:xfrm>
              <a:off x="6020361" y="4404206"/>
              <a:ext cx="1739574" cy="2165679"/>
            </a:xfrm>
            <a:prstGeom prst="rect">
              <a:avLst/>
            </a:prstGeom>
            <a:solidFill>
              <a:srgbClr val="00162E"/>
            </a:solidFill>
          </p:spPr>
          <p:txBody>
            <a:bodyPr wrap="square" rtlCol="0" anchor="ctr">
              <a:noAutofit/>
            </a:bodyPr>
            <a:lstStyle/>
            <a:p>
              <a:pPr algn="ctr" defTabSz="896354">
                <a:defRPr/>
              </a:pPr>
              <a:r>
                <a:rPr lang="en-US" sz="1568" kern="0">
                  <a:solidFill>
                    <a:prstClr val="white"/>
                  </a:solidFill>
                  <a:latin typeface="Segoe UI Light" panose="020B0502040204020203" pitchFamily="34" charset="0"/>
                  <a:cs typeface="Segoe UI Light" panose="020B0502040204020203" pitchFamily="34" charset="0"/>
                </a:rPr>
                <a:t>Device Management</a:t>
              </a:r>
              <a:endParaRPr lang="en-US" sz="1765" kern="0">
                <a:solidFill>
                  <a:prstClr val="white"/>
                </a:solidFill>
                <a:latin typeface="Segoe UI Light" panose="020B0502040204020203" pitchFamily="34" charset="0"/>
                <a:cs typeface="Segoe UI Light" panose="020B0502040204020203" pitchFamily="34" charset="0"/>
              </a:endParaRPr>
            </a:p>
          </p:txBody>
        </p:sp>
        <p:sp>
          <p:nvSpPr>
            <p:cNvPr id="16" name="TextBox 15"/>
            <p:cNvSpPr txBox="1"/>
            <p:nvPr/>
          </p:nvSpPr>
          <p:spPr>
            <a:xfrm>
              <a:off x="10267098" y="2720974"/>
              <a:ext cx="452934" cy="3848914"/>
            </a:xfrm>
            <a:prstGeom prst="rect">
              <a:avLst/>
            </a:prstGeom>
            <a:solidFill>
              <a:schemeClr val="bg1">
                <a:lumMod val="75000"/>
              </a:schemeClr>
            </a:solidFill>
          </p:spPr>
          <p:style>
            <a:lnRef idx="0">
              <a:schemeClr val="accent4"/>
            </a:lnRef>
            <a:fillRef idx="3">
              <a:schemeClr val="accent4"/>
            </a:fillRef>
            <a:effectRef idx="3">
              <a:schemeClr val="accent4"/>
            </a:effectRef>
            <a:fontRef idx="minor">
              <a:schemeClr val="lt1"/>
            </a:fontRef>
          </p:style>
          <p:txBody>
            <a:bodyPr vert="vert270" wrap="square" rtlCol="0" anchor="ctr">
              <a:noAutofit/>
            </a:bodyPr>
            <a:lstStyle/>
            <a:p>
              <a:pPr algn="ctr" defTabSz="896354">
                <a:defRPr/>
              </a:pPr>
              <a:r>
                <a:rPr lang="en-US" sz="1765" kern="0">
                  <a:solidFill>
                    <a:srgbClr val="353535"/>
                  </a:solidFill>
                  <a:latin typeface="Segoe UI Light"/>
                </a:rPr>
                <a:t>API Management</a:t>
              </a:r>
            </a:p>
          </p:txBody>
        </p:sp>
        <p:sp>
          <p:nvSpPr>
            <p:cNvPr id="17" name="TextBox 16"/>
            <p:cNvSpPr txBox="1"/>
            <p:nvPr/>
          </p:nvSpPr>
          <p:spPr>
            <a:xfrm>
              <a:off x="2319515" y="2742713"/>
              <a:ext cx="1188720" cy="809942"/>
            </a:xfrm>
            <a:prstGeom prst="rect">
              <a:avLst/>
            </a:prstGeom>
          </p:spPr>
          <p:style>
            <a:lnRef idx="3">
              <a:schemeClr val="lt1"/>
            </a:lnRef>
            <a:fillRef idx="1">
              <a:schemeClr val="accent2"/>
            </a:fillRef>
            <a:effectRef idx="1">
              <a:schemeClr val="accent2"/>
            </a:effectRef>
            <a:fontRef idx="minor">
              <a:schemeClr val="lt1"/>
            </a:fontRef>
          </p:style>
          <p:txBody>
            <a:bodyPr wrap="square" rtlCol="0" anchor="ctr">
              <a:noAutofit/>
            </a:bodyPr>
            <a:lstStyle/>
            <a:p>
              <a:pPr algn="ctr" defTabSz="896354">
                <a:defRPr/>
              </a:pPr>
              <a:r>
                <a:rPr lang="en-US" sz="1176" kern="0">
                  <a:solidFill>
                    <a:prstClr val="white"/>
                  </a:solidFill>
                  <a:latin typeface="Segoe UI Light"/>
                </a:rPr>
                <a:t>Service 1</a:t>
              </a:r>
            </a:p>
          </p:txBody>
        </p:sp>
        <p:sp>
          <p:nvSpPr>
            <p:cNvPr id="18" name="TextBox 17"/>
            <p:cNvSpPr txBox="1"/>
            <p:nvPr/>
          </p:nvSpPr>
          <p:spPr>
            <a:xfrm>
              <a:off x="3643949" y="2742713"/>
              <a:ext cx="1188720" cy="809942"/>
            </a:xfrm>
            <a:prstGeom prst="rect">
              <a:avLst/>
            </a:prstGeom>
          </p:spPr>
          <p:style>
            <a:lnRef idx="3">
              <a:schemeClr val="lt1"/>
            </a:lnRef>
            <a:fillRef idx="1">
              <a:schemeClr val="accent2"/>
            </a:fillRef>
            <a:effectRef idx="1">
              <a:schemeClr val="accent2"/>
            </a:effectRef>
            <a:fontRef idx="minor">
              <a:schemeClr val="lt1"/>
            </a:fontRef>
          </p:style>
          <p:txBody>
            <a:bodyPr wrap="square" rtlCol="0" anchor="ctr">
              <a:noAutofit/>
            </a:bodyPr>
            <a:lstStyle/>
            <a:p>
              <a:pPr algn="ctr" defTabSz="896354">
                <a:defRPr/>
              </a:pPr>
              <a:r>
                <a:rPr lang="en-US" sz="1176" kern="0">
                  <a:solidFill>
                    <a:prstClr val="white"/>
                  </a:solidFill>
                  <a:latin typeface="Segoe UI Light"/>
                </a:rPr>
                <a:t>Service 2</a:t>
              </a:r>
            </a:p>
          </p:txBody>
        </p:sp>
        <p:sp>
          <p:nvSpPr>
            <p:cNvPr id="19" name="TextBox 18"/>
            <p:cNvSpPr txBox="1"/>
            <p:nvPr/>
          </p:nvSpPr>
          <p:spPr>
            <a:xfrm>
              <a:off x="4968383" y="2738924"/>
              <a:ext cx="1188720" cy="809942"/>
            </a:xfrm>
            <a:prstGeom prst="rect">
              <a:avLst/>
            </a:prstGeom>
          </p:spPr>
          <p:style>
            <a:lnRef idx="3">
              <a:schemeClr val="lt1"/>
            </a:lnRef>
            <a:fillRef idx="1">
              <a:schemeClr val="accent2"/>
            </a:fillRef>
            <a:effectRef idx="1">
              <a:schemeClr val="accent2"/>
            </a:effectRef>
            <a:fontRef idx="minor">
              <a:schemeClr val="lt1"/>
            </a:fontRef>
          </p:style>
          <p:txBody>
            <a:bodyPr wrap="square" rtlCol="0" anchor="ctr">
              <a:noAutofit/>
            </a:bodyPr>
            <a:lstStyle/>
            <a:p>
              <a:pPr algn="ctr" defTabSz="896354">
                <a:defRPr/>
              </a:pPr>
              <a:r>
                <a:rPr lang="en-US" sz="1176" kern="0">
                  <a:solidFill>
                    <a:prstClr val="white"/>
                  </a:solidFill>
                  <a:latin typeface="Segoe UI Light"/>
                </a:rPr>
                <a:t>Service 3</a:t>
              </a:r>
            </a:p>
          </p:txBody>
        </p:sp>
        <p:sp>
          <p:nvSpPr>
            <p:cNvPr id="20" name="TextBox 19"/>
            <p:cNvSpPr txBox="1"/>
            <p:nvPr/>
          </p:nvSpPr>
          <p:spPr>
            <a:xfrm>
              <a:off x="8401149" y="2738924"/>
              <a:ext cx="1188720" cy="809942"/>
            </a:xfrm>
            <a:prstGeom prst="rect">
              <a:avLst/>
            </a:prstGeom>
          </p:spPr>
          <p:style>
            <a:lnRef idx="3">
              <a:schemeClr val="lt1"/>
            </a:lnRef>
            <a:fillRef idx="1">
              <a:schemeClr val="accent2"/>
            </a:fillRef>
            <a:effectRef idx="1">
              <a:schemeClr val="accent2"/>
            </a:effectRef>
            <a:fontRef idx="minor">
              <a:schemeClr val="lt1"/>
            </a:fontRef>
          </p:style>
          <p:txBody>
            <a:bodyPr wrap="square" rtlCol="0" anchor="ctr">
              <a:noAutofit/>
            </a:bodyPr>
            <a:lstStyle/>
            <a:p>
              <a:pPr algn="ctr" defTabSz="896354">
                <a:defRPr/>
              </a:pPr>
              <a:r>
                <a:rPr lang="en-US" sz="1176" kern="0">
                  <a:solidFill>
                    <a:prstClr val="white"/>
                  </a:solidFill>
                  <a:latin typeface="Segoe UI Light"/>
                </a:rPr>
                <a:t>Service N</a:t>
              </a:r>
            </a:p>
          </p:txBody>
        </p:sp>
        <p:sp>
          <p:nvSpPr>
            <p:cNvPr id="21" name="TextBox 20"/>
            <p:cNvSpPr txBox="1"/>
            <p:nvPr/>
          </p:nvSpPr>
          <p:spPr>
            <a:xfrm>
              <a:off x="6292816" y="2738924"/>
              <a:ext cx="1941547" cy="820109"/>
            </a:xfrm>
            <a:prstGeom prst="rect">
              <a:avLst/>
            </a:prstGeom>
            <a:solidFill>
              <a:srgbClr val="00162E"/>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2" name="TextBox 21"/>
            <p:cNvSpPr txBox="1"/>
            <p:nvPr/>
          </p:nvSpPr>
          <p:spPr>
            <a:xfrm>
              <a:off x="6417203" y="2738924"/>
              <a:ext cx="133137" cy="820109"/>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3" name="TextBox 22"/>
            <p:cNvSpPr txBox="1"/>
            <p:nvPr/>
          </p:nvSpPr>
          <p:spPr>
            <a:xfrm>
              <a:off x="6674727" y="2738924"/>
              <a:ext cx="133137" cy="820109"/>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4" name="TextBox 23"/>
            <p:cNvSpPr txBox="1"/>
            <p:nvPr/>
          </p:nvSpPr>
          <p:spPr>
            <a:xfrm>
              <a:off x="6932251" y="2720975"/>
              <a:ext cx="133137" cy="838058"/>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5" name="TextBox 24"/>
            <p:cNvSpPr txBox="1"/>
            <p:nvPr/>
          </p:nvSpPr>
          <p:spPr>
            <a:xfrm>
              <a:off x="7202517" y="2738924"/>
              <a:ext cx="133137" cy="820109"/>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6" name="TextBox 25"/>
            <p:cNvSpPr txBox="1"/>
            <p:nvPr/>
          </p:nvSpPr>
          <p:spPr>
            <a:xfrm>
              <a:off x="7459636" y="2738924"/>
              <a:ext cx="133137" cy="820109"/>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7" name="TextBox 26"/>
            <p:cNvSpPr txBox="1"/>
            <p:nvPr/>
          </p:nvSpPr>
          <p:spPr>
            <a:xfrm>
              <a:off x="7717160" y="2739217"/>
              <a:ext cx="133137" cy="820109"/>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8" name="TextBox 27"/>
            <p:cNvSpPr txBox="1"/>
            <p:nvPr/>
          </p:nvSpPr>
          <p:spPr>
            <a:xfrm>
              <a:off x="7974279" y="2738924"/>
              <a:ext cx="133137" cy="820109"/>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9" name="TextBox 28"/>
            <p:cNvSpPr txBox="1"/>
            <p:nvPr/>
          </p:nvSpPr>
          <p:spPr>
            <a:xfrm>
              <a:off x="9743655" y="2720974"/>
              <a:ext cx="452934" cy="3848913"/>
            </a:xfrm>
            <a:prstGeom prst="rect">
              <a:avLst/>
            </a:prstGeom>
          </p:spPr>
          <p:style>
            <a:lnRef idx="1">
              <a:schemeClr val="accent6"/>
            </a:lnRef>
            <a:fillRef idx="3">
              <a:schemeClr val="accent6"/>
            </a:fillRef>
            <a:effectRef idx="2">
              <a:schemeClr val="accent6"/>
            </a:effectRef>
            <a:fontRef idx="minor">
              <a:schemeClr val="lt1"/>
            </a:fontRef>
          </p:style>
          <p:txBody>
            <a:bodyPr vert="vert270" wrap="square" rtlCol="0" anchor="ctr">
              <a:noAutofit/>
            </a:bodyPr>
            <a:lstStyle/>
            <a:p>
              <a:pPr algn="ctr" defTabSz="896354">
                <a:defRPr/>
              </a:pPr>
              <a:r>
                <a:rPr lang="en-US" sz="1765" kern="0">
                  <a:solidFill>
                    <a:prstClr val="white"/>
                  </a:solidFill>
                  <a:latin typeface="Segoe UI Light"/>
                </a:rPr>
                <a:t>Services Management</a:t>
              </a:r>
            </a:p>
          </p:txBody>
        </p:sp>
      </p:grpSp>
      <p:sp>
        <p:nvSpPr>
          <p:cNvPr id="30" name="TextBox 29"/>
          <p:cNvSpPr txBox="1"/>
          <p:nvPr/>
        </p:nvSpPr>
        <p:spPr>
          <a:xfrm>
            <a:off x="724377" y="1570942"/>
            <a:ext cx="5176069" cy="2836228"/>
          </a:xfrm>
          <a:prstGeom prst="rect">
            <a:avLst/>
          </a:prstGeom>
          <a:noFill/>
        </p:spPr>
        <p:txBody>
          <a:bodyPr wrap="square" rtlCol="0">
            <a:spAutoFit/>
          </a:bodyPr>
          <a:lstStyle/>
          <a:p>
            <a:pPr defTabSz="914367"/>
            <a:r>
              <a:rPr lang="en-US" sz="1372">
                <a:solidFill>
                  <a:srgbClr val="353535"/>
                </a:solidFill>
                <a:latin typeface="Segoe UI Semilight"/>
              </a:rPr>
              <a:t>An automotive platform providing automotive services to the Alliance and its partners. The solution architecture is decomposed in two main sub-systems:</a:t>
            </a:r>
          </a:p>
          <a:p>
            <a:pPr defTabSz="914367"/>
            <a:endParaRPr lang="en-US" sz="1372" b="1">
              <a:solidFill>
                <a:srgbClr val="353535"/>
              </a:solidFill>
              <a:latin typeface="Segoe UI Semilight"/>
            </a:endParaRPr>
          </a:p>
          <a:p>
            <a:pPr defTabSz="914367"/>
            <a:r>
              <a:rPr lang="en-US" sz="1372" b="1">
                <a:solidFill>
                  <a:srgbClr val="353535"/>
                </a:solidFill>
                <a:latin typeface="Segoe UI Semilight"/>
              </a:rPr>
              <a:t>Core Features (CVP)</a:t>
            </a:r>
            <a:endParaRPr lang="en-US" sz="1372">
              <a:solidFill>
                <a:srgbClr val="353535"/>
              </a:solidFill>
              <a:latin typeface="Segoe UI Semilight"/>
            </a:endParaRPr>
          </a:p>
          <a:p>
            <a:pPr defTabSz="914367"/>
            <a:r>
              <a:rPr lang="en-US" sz="1372">
                <a:solidFill>
                  <a:srgbClr val="353535"/>
                </a:solidFill>
                <a:latin typeface="Segoe UI Semilight"/>
              </a:rPr>
              <a:t>Contains the «low-level» building blocks of the solution. Exposes features which are common across a set of services.</a:t>
            </a:r>
          </a:p>
          <a:p>
            <a:pPr defTabSz="914367"/>
            <a:endParaRPr lang="en-US" sz="1372" b="1">
              <a:solidFill>
                <a:srgbClr val="353535"/>
              </a:solidFill>
              <a:latin typeface="Segoe UI Semilight"/>
            </a:endParaRPr>
          </a:p>
          <a:p>
            <a:pPr defTabSz="914367"/>
            <a:r>
              <a:rPr lang="en-US" sz="1372" b="1">
                <a:solidFill>
                  <a:srgbClr val="353535"/>
                </a:solidFill>
                <a:latin typeface="Segoe UI Semilight"/>
              </a:rPr>
              <a:t>Services Layer</a:t>
            </a:r>
            <a:endParaRPr lang="en-US" sz="1372">
              <a:solidFill>
                <a:srgbClr val="353535"/>
              </a:solidFill>
              <a:latin typeface="Segoe UI Semilight"/>
            </a:endParaRPr>
          </a:p>
          <a:p>
            <a:pPr defTabSz="914367"/>
            <a:r>
              <a:rPr lang="en-US" sz="1372">
                <a:solidFill>
                  <a:srgbClr val="353535"/>
                </a:solidFill>
                <a:latin typeface="Segoe UI Semilight"/>
              </a:rPr>
              <a:t>Independent services built as a composition of core features + additional business logic is consumed by Alliance regional systems and Commerce systems</a:t>
            </a:r>
          </a:p>
          <a:p>
            <a:pPr defTabSz="914367"/>
            <a:endParaRPr lang="en-US" sz="1372">
              <a:solidFill>
                <a:srgbClr val="353535"/>
              </a:solidFill>
              <a:latin typeface="Segoe UI Semilight"/>
            </a:endParaRPr>
          </a:p>
        </p:txBody>
      </p:sp>
      <p:pic>
        <p:nvPicPr>
          <p:cNvPr id="31" name="Picture 30"/>
          <p:cNvPicPr>
            <a:picLocks noChangeAspect="1"/>
          </p:cNvPicPr>
          <p:nvPr/>
        </p:nvPicPr>
        <p:blipFill>
          <a:blip r:embed="rId9"/>
          <a:stretch>
            <a:fillRect/>
          </a:stretch>
        </p:blipFill>
        <p:spPr>
          <a:xfrm rot="5400000">
            <a:off x="8674370" y="769989"/>
            <a:ext cx="487611" cy="1393993"/>
          </a:xfrm>
          <a:prstGeom prst="rect">
            <a:avLst/>
          </a:prstGeom>
        </p:spPr>
        <p:style>
          <a:lnRef idx="2">
            <a:schemeClr val="accent1"/>
          </a:lnRef>
          <a:fillRef idx="1">
            <a:schemeClr val="lt1"/>
          </a:fillRef>
          <a:effectRef idx="0">
            <a:schemeClr val="accent1"/>
          </a:effectRef>
          <a:fontRef idx="minor">
            <a:schemeClr val="dk1"/>
          </a:fontRef>
        </p:style>
      </p:pic>
      <p:sp>
        <p:nvSpPr>
          <p:cNvPr id="34" name="TextBox 33"/>
          <p:cNvSpPr txBox="1"/>
          <p:nvPr/>
        </p:nvSpPr>
        <p:spPr>
          <a:xfrm>
            <a:off x="6320107" y="5221849"/>
            <a:ext cx="5079741" cy="392245"/>
          </a:xfrm>
          <a:prstGeom prst="rect">
            <a:avLst/>
          </a:prstGeom>
          <a:noFill/>
          <a:ln>
            <a:noFill/>
          </a:ln>
          <a:effectLst/>
          <a:scene3d>
            <a:camera prst="orthographicFront">
              <a:rot lat="0" lon="0" rev="0"/>
            </a:camera>
            <a:lightRig rig="chilly" dir="t">
              <a:rot lat="0" lon="0" rev="18480000"/>
            </a:lightRig>
          </a:scene3d>
          <a:sp3d prstMaterial="clear">
            <a:bevelT h="63500"/>
          </a:sp3d>
        </p:spPr>
        <p:txBody>
          <a:bodyPr wrap="square" rtlCol="0">
            <a:spAutoFit/>
          </a:bodyPr>
          <a:lstStyle/>
          <a:p>
            <a:pPr algn="ctr" defTabSz="914367"/>
            <a:r>
              <a:rPr lang="en-US" sz="1961" b="1" dirty="0">
                <a:solidFill>
                  <a:srgbClr val="0078D7">
                    <a:lumMod val="75000"/>
                  </a:srgbClr>
                </a:solidFill>
                <a:latin typeface="Segoe UI Semilight"/>
              </a:rPr>
              <a:t>Build Phase = 80 resources over 18 months</a:t>
            </a:r>
          </a:p>
        </p:txBody>
      </p:sp>
      <p:sp>
        <p:nvSpPr>
          <p:cNvPr id="35" name="TextBox 34"/>
          <p:cNvSpPr txBox="1"/>
          <p:nvPr/>
        </p:nvSpPr>
        <p:spPr>
          <a:xfrm>
            <a:off x="6320107" y="6043572"/>
            <a:ext cx="5079741" cy="362072"/>
          </a:xfrm>
          <a:prstGeom prst="rect">
            <a:avLst/>
          </a:prstGeom>
          <a:noFill/>
          <a:ln>
            <a:noFill/>
          </a:ln>
          <a:effectLst/>
          <a:scene3d>
            <a:camera prst="orthographicFront">
              <a:rot lat="0" lon="0" rev="0"/>
            </a:camera>
            <a:lightRig rig="chilly" dir="t">
              <a:rot lat="0" lon="0" rev="18480000"/>
            </a:lightRig>
          </a:scene3d>
          <a:sp3d prstMaterial="clear">
            <a:bevelT h="63500"/>
          </a:sp3d>
        </p:spPr>
        <p:txBody>
          <a:bodyPr wrap="square" rtlCol="0">
            <a:spAutoFit/>
          </a:bodyPr>
          <a:lstStyle/>
          <a:p>
            <a:pPr algn="ctr" defTabSz="914367"/>
            <a:r>
              <a:rPr lang="en-US" sz="1765" b="1">
                <a:solidFill>
                  <a:srgbClr val="0078D7">
                    <a:lumMod val="75000"/>
                  </a:srgbClr>
                </a:solidFill>
                <a:latin typeface="Segoe UI Semilight"/>
              </a:rPr>
              <a:t>Run Phase = Azure + Managed Services</a:t>
            </a:r>
          </a:p>
        </p:txBody>
      </p:sp>
      <p:pic>
        <p:nvPicPr>
          <p:cNvPr id="37" name="Image 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2749" y="516977"/>
            <a:ext cx="2699032" cy="802426"/>
          </a:xfrm>
          <a:prstGeom prst="rect">
            <a:avLst/>
          </a:prstGeom>
          <a:solidFill>
            <a:schemeClr val="bg1">
              <a:lumMod val="75000"/>
            </a:schemeClr>
          </a:solidFill>
        </p:spPr>
      </p:pic>
    </p:spTree>
    <p:extLst>
      <p:ext uri="{BB962C8B-B14F-4D97-AF65-F5344CB8AC3E}">
        <p14:creationId xmlns:p14="http://schemas.microsoft.com/office/powerpoint/2010/main" val="33391927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946" y="149460"/>
            <a:ext cx="10514108" cy="1325375"/>
          </a:xfrm>
        </p:spPr>
        <p:txBody>
          <a:bodyPr/>
          <a:lstStyle/>
          <a:p>
            <a:r>
              <a:rPr lang="en-US">
                <a:solidFill>
                  <a:schemeClr val="tx1"/>
                </a:solidFill>
              </a:rPr>
              <a:t>Current Status</a:t>
            </a:r>
          </a:p>
        </p:txBody>
      </p:sp>
      <p:pic>
        <p:nvPicPr>
          <p:cNvPr id="4" name="Picture 3"/>
          <p:cNvPicPr>
            <a:picLocks noChangeAspect="1"/>
          </p:cNvPicPr>
          <p:nvPr/>
        </p:nvPicPr>
        <p:blipFill>
          <a:blip r:embed="rId3"/>
          <a:stretch>
            <a:fillRect/>
          </a:stretch>
        </p:blipFill>
        <p:spPr>
          <a:xfrm>
            <a:off x="941558" y="928588"/>
            <a:ext cx="10308885" cy="5264388"/>
          </a:xfrm>
          <a:prstGeom prst="rect">
            <a:avLst/>
          </a:prstGeom>
        </p:spPr>
      </p:pic>
      <p:cxnSp>
        <p:nvCxnSpPr>
          <p:cNvPr id="5" name="Straight Connector 4"/>
          <p:cNvCxnSpPr/>
          <p:nvPr/>
        </p:nvCxnSpPr>
        <p:spPr>
          <a:xfrm>
            <a:off x="8038254" y="515619"/>
            <a:ext cx="0" cy="6050868"/>
          </a:xfrm>
          <a:prstGeom prst="line">
            <a:avLst/>
          </a:prstGeom>
          <a:ln w="25400">
            <a:solidFill>
              <a:srgbClr val="00B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888850" y="172111"/>
            <a:ext cx="1124559"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353535"/>
                    </a:gs>
                    <a:gs pos="30000">
                      <a:srgbClr val="353535"/>
                    </a:gs>
                  </a:gsLst>
                  <a:lin ang="5400000" scaled="0"/>
                </a:gradFill>
                <a:latin typeface="Segoe UI Semilight"/>
              </a:rPr>
              <a:t>Today</a:t>
            </a:r>
          </a:p>
        </p:txBody>
      </p:sp>
    </p:spTree>
    <p:extLst>
      <p:ext uri="{BB962C8B-B14F-4D97-AF65-F5344CB8AC3E}">
        <p14:creationId xmlns:p14="http://schemas.microsoft.com/office/powerpoint/2010/main" val="3613639174"/>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95 Car Services Into Various Categorizations</a:t>
            </a:r>
          </a:p>
        </p:txBody>
      </p:sp>
      <p:grpSp>
        <p:nvGrpSpPr>
          <p:cNvPr id="4" name="Group 3"/>
          <p:cNvGrpSpPr/>
          <p:nvPr/>
        </p:nvGrpSpPr>
        <p:grpSpPr>
          <a:xfrm>
            <a:off x="2275452" y="4491102"/>
            <a:ext cx="2646849" cy="542024"/>
            <a:chOff x="2321079" y="4580661"/>
            <a:chExt cx="2699924" cy="552893"/>
          </a:xfrm>
        </p:grpSpPr>
        <p:sp>
          <p:nvSpPr>
            <p:cNvPr id="5" name="Rectangle 4"/>
            <p:cNvSpPr/>
            <p:nvPr/>
          </p:nvSpPr>
          <p:spPr>
            <a:xfrm>
              <a:off x="2321079" y="458066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Online Content</a:t>
              </a:r>
            </a:p>
          </p:txBody>
        </p:sp>
        <p:sp>
          <p:nvSpPr>
            <p:cNvPr id="6" name="Rectangle 5"/>
            <p:cNvSpPr/>
            <p:nvPr/>
          </p:nvSpPr>
          <p:spPr>
            <a:xfrm>
              <a:off x="3716743" y="458066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Communication Application</a:t>
              </a:r>
            </a:p>
          </p:txBody>
        </p:sp>
      </p:grpSp>
      <p:grpSp>
        <p:nvGrpSpPr>
          <p:cNvPr id="7" name="Group 6"/>
          <p:cNvGrpSpPr/>
          <p:nvPr/>
        </p:nvGrpSpPr>
        <p:grpSpPr>
          <a:xfrm>
            <a:off x="2275452" y="3827890"/>
            <a:ext cx="4015077" cy="542025"/>
            <a:chOff x="2321079" y="3904150"/>
            <a:chExt cx="4095588" cy="552894"/>
          </a:xfrm>
        </p:grpSpPr>
        <p:sp>
          <p:nvSpPr>
            <p:cNvPr id="8" name="Rectangle 7"/>
            <p:cNvSpPr/>
            <p:nvPr/>
          </p:nvSpPr>
          <p:spPr>
            <a:xfrm>
              <a:off x="2321079" y="390415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Cloud Car Sharing</a:t>
              </a:r>
            </a:p>
          </p:txBody>
        </p:sp>
        <p:sp>
          <p:nvSpPr>
            <p:cNvPr id="9" name="Rectangle 8"/>
            <p:cNvSpPr/>
            <p:nvPr/>
          </p:nvSpPr>
          <p:spPr>
            <a:xfrm>
              <a:off x="3716743" y="3904150"/>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Community Dashboard</a:t>
              </a:r>
            </a:p>
          </p:txBody>
        </p:sp>
        <p:sp>
          <p:nvSpPr>
            <p:cNvPr id="10" name="Rectangle 9"/>
            <p:cNvSpPr/>
            <p:nvPr/>
          </p:nvSpPr>
          <p:spPr>
            <a:xfrm>
              <a:off x="5112407" y="3904150"/>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Lend my car (remote lock/unlock)</a:t>
              </a:r>
            </a:p>
          </p:txBody>
        </p:sp>
      </p:grpSp>
      <p:grpSp>
        <p:nvGrpSpPr>
          <p:cNvPr id="11" name="Group 10"/>
          <p:cNvGrpSpPr/>
          <p:nvPr/>
        </p:nvGrpSpPr>
        <p:grpSpPr>
          <a:xfrm>
            <a:off x="2275452" y="1838254"/>
            <a:ext cx="8133441" cy="542027"/>
            <a:chOff x="2321079" y="1874618"/>
            <a:chExt cx="8296533" cy="552896"/>
          </a:xfrm>
        </p:grpSpPr>
        <p:sp>
          <p:nvSpPr>
            <p:cNvPr id="12" name="Rectangle 11"/>
            <p:cNvSpPr/>
            <p:nvPr/>
          </p:nvSpPr>
          <p:spPr>
            <a:xfrm>
              <a:off x="2321079" y="187462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Remote Charging Control</a:t>
              </a:r>
            </a:p>
          </p:txBody>
        </p:sp>
        <p:sp>
          <p:nvSpPr>
            <p:cNvPr id="13" name="Rectangle 12"/>
            <p:cNvSpPr/>
            <p:nvPr/>
          </p:nvSpPr>
          <p:spPr>
            <a:xfrm>
              <a:off x="3716743" y="187462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Remote Vehicle Settings</a:t>
              </a:r>
            </a:p>
          </p:txBody>
        </p:sp>
        <p:sp>
          <p:nvSpPr>
            <p:cNvPr id="14" name="Rectangle 13"/>
            <p:cNvSpPr/>
            <p:nvPr/>
          </p:nvSpPr>
          <p:spPr>
            <a:xfrm>
              <a:off x="5112407" y="187462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Remote Profile Management</a:t>
              </a:r>
            </a:p>
          </p:txBody>
        </p:sp>
        <p:sp>
          <p:nvSpPr>
            <p:cNvPr id="15" name="Rectangle 14"/>
            <p:cNvSpPr/>
            <p:nvPr/>
          </p:nvSpPr>
          <p:spPr>
            <a:xfrm>
              <a:off x="6508071" y="1874620"/>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Remote pre-conditioning</a:t>
              </a:r>
            </a:p>
          </p:txBody>
        </p:sp>
        <p:sp>
          <p:nvSpPr>
            <p:cNvPr id="16" name="Rectangle 15"/>
            <p:cNvSpPr/>
            <p:nvPr/>
          </p:nvSpPr>
          <p:spPr>
            <a:xfrm>
              <a:off x="7903735" y="1874619"/>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Remote lock/unlock</a:t>
              </a:r>
            </a:p>
          </p:txBody>
        </p:sp>
        <p:sp>
          <p:nvSpPr>
            <p:cNvPr id="18" name="Rectangle 17"/>
            <p:cNvSpPr/>
            <p:nvPr/>
          </p:nvSpPr>
          <p:spPr>
            <a:xfrm>
              <a:off x="9313352" y="1874618"/>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Remote Horn &amp; Lights</a:t>
              </a:r>
            </a:p>
          </p:txBody>
        </p:sp>
      </p:grpSp>
      <p:grpSp>
        <p:nvGrpSpPr>
          <p:cNvPr id="19" name="Group 18"/>
          <p:cNvGrpSpPr/>
          <p:nvPr/>
        </p:nvGrpSpPr>
        <p:grpSpPr>
          <a:xfrm>
            <a:off x="2275452" y="5154312"/>
            <a:ext cx="8133441" cy="542025"/>
            <a:chOff x="2321079" y="5257170"/>
            <a:chExt cx="8296533" cy="552894"/>
          </a:xfrm>
        </p:grpSpPr>
        <p:sp>
          <p:nvSpPr>
            <p:cNvPr id="20" name="Rectangle 19"/>
            <p:cNvSpPr/>
            <p:nvPr/>
          </p:nvSpPr>
          <p:spPr>
            <a:xfrm>
              <a:off x="2321079" y="525717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Concierge Call</a:t>
              </a:r>
            </a:p>
          </p:txBody>
        </p:sp>
        <p:sp>
          <p:nvSpPr>
            <p:cNvPr id="21" name="Rectangle 20"/>
            <p:cNvSpPr/>
            <p:nvPr/>
          </p:nvSpPr>
          <p:spPr>
            <a:xfrm>
              <a:off x="3716743" y="525717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On-board message</a:t>
              </a:r>
            </a:p>
          </p:txBody>
        </p:sp>
        <p:sp>
          <p:nvSpPr>
            <p:cNvPr id="22" name="Rectangle 21"/>
            <p:cNvSpPr/>
            <p:nvPr/>
          </p:nvSpPr>
          <p:spPr>
            <a:xfrm>
              <a:off x="5112407" y="525717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Emergency call</a:t>
              </a:r>
            </a:p>
          </p:txBody>
        </p:sp>
        <p:sp>
          <p:nvSpPr>
            <p:cNvPr id="23" name="Rectangle 22"/>
            <p:cNvSpPr/>
            <p:nvPr/>
          </p:nvSpPr>
          <p:spPr>
            <a:xfrm>
              <a:off x="6508071" y="525717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Helpdesk call</a:t>
              </a:r>
            </a:p>
          </p:txBody>
        </p:sp>
        <p:sp>
          <p:nvSpPr>
            <p:cNvPr id="24" name="Rectangle 23"/>
            <p:cNvSpPr/>
            <p:nvPr/>
          </p:nvSpPr>
          <p:spPr>
            <a:xfrm>
              <a:off x="7903735" y="5257170"/>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Assistance call or breakdown call with diag</a:t>
              </a:r>
            </a:p>
          </p:txBody>
        </p:sp>
        <p:sp>
          <p:nvSpPr>
            <p:cNvPr id="25" name="Rectangle 24"/>
            <p:cNvSpPr/>
            <p:nvPr/>
          </p:nvSpPr>
          <p:spPr>
            <a:xfrm>
              <a:off x="9313352" y="5257170"/>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Automatic collision notification</a:t>
              </a:r>
            </a:p>
          </p:txBody>
        </p:sp>
      </p:grpSp>
      <p:grpSp>
        <p:nvGrpSpPr>
          <p:cNvPr id="26" name="Group 25"/>
          <p:cNvGrpSpPr/>
          <p:nvPr/>
        </p:nvGrpSpPr>
        <p:grpSpPr>
          <a:xfrm>
            <a:off x="2275452" y="5817524"/>
            <a:ext cx="8133441" cy="555840"/>
            <a:chOff x="2321079" y="5933681"/>
            <a:chExt cx="8296533" cy="566986"/>
          </a:xfrm>
        </p:grpSpPr>
        <p:sp>
          <p:nvSpPr>
            <p:cNvPr id="27" name="Rectangle 26"/>
            <p:cNvSpPr/>
            <p:nvPr/>
          </p:nvSpPr>
          <p:spPr>
            <a:xfrm>
              <a:off x="2321079" y="593368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Digital Dealer</a:t>
              </a:r>
            </a:p>
          </p:txBody>
        </p:sp>
        <p:sp>
          <p:nvSpPr>
            <p:cNvPr id="28" name="Rectangle 27"/>
            <p:cNvSpPr/>
            <p:nvPr/>
          </p:nvSpPr>
          <p:spPr>
            <a:xfrm>
              <a:off x="3716743" y="593368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Customer Profile</a:t>
              </a:r>
            </a:p>
          </p:txBody>
        </p:sp>
        <p:sp>
          <p:nvSpPr>
            <p:cNvPr id="29" name="Rectangle 28"/>
            <p:cNvSpPr/>
            <p:nvPr/>
          </p:nvSpPr>
          <p:spPr>
            <a:xfrm>
              <a:off x="5112407" y="5947774"/>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Data for PAYD / PHYD</a:t>
              </a:r>
            </a:p>
          </p:txBody>
        </p:sp>
        <p:sp>
          <p:nvSpPr>
            <p:cNvPr id="30" name="Rectangle 29"/>
            <p:cNvSpPr/>
            <p:nvPr/>
          </p:nvSpPr>
          <p:spPr>
            <a:xfrm>
              <a:off x="6508071" y="5947774"/>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Remote Vehicle diagnostics</a:t>
              </a:r>
            </a:p>
          </p:txBody>
        </p:sp>
        <p:sp>
          <p:nvSpPr>
            <p:cNvPr id="31" name="Rectangle 30"/>
            <p:cNvSpPr/>
            <p:nvPr/>
          </p:nvSpPr>
          <p:spPr>
            <a:xfrm>
              <a:off x="7903735" y="5947774"/>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Data for external use</a:t>
              </a:r>
            </a:p>
          </p:txBody>
        </p:sp>
        <p:sp>
          <p:nvSpPr>
            <p:cNvPr id="32" name="Rectangle 31"/>
            <p:cNvSpPr/>
            <p:nvPr/>
          </p:nvSpPr>
          <p:spPr>
            <a:xfrm>
              <a:off x="9313352" y="5947774"/>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Update over the air</a:t>
              </a:r>
            </a:p>
          </p:txBody>
        </p:sp>
      </p:grpSp>
      <p:grpSp>
        <p:nvGrpSpPr>
          <p:cNvPr id="33" name="Group 32"/>
          <p:cNvGrpSpPr/>
          <p:nvPr/>
        </p:nvGrpSpPr>
        <p:grpSpPr>
          <a:xfrm>
            <a:off x="2275452" y="2501464"/>
            <a:ext cx="9515347" cy="549373"/>
            <a:chOff x="2321079" y="2551127"/>
            <a:chExt cx="9706150" cy="560389"/>
          </a:xfrm>
        </p:grpSpPr>
        <p:sp>
          <p:nvSpPr>
            <p:cNvPr id="34" name="Rectangle 33"/>
            <p:cNvSpPr/>
            <p:nvPr/>
          </p:nvSpPr>
          <p:spPr>
            <a:xfrm>
              <a:off x="2321079" y="255113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Remote Car Dashboard</a:t>
              </a:r>
            </a:p>
          </p:txBody>
        </p:sp>
        <p:sp>
          <p:nvSpPr>
            <p:cNvPr id="35" name="Rectangle 34"/>
            <p:cNvSpPr/>
            <p:nvPr/>
          </p:nvSpPr>
          <p:spPr>
            <a:xfrm>
              <a:off x="3716743" y="255113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Charging Dashboard</a:t>
              </a:r>
            </a:p>
          </p:txBody>
        </p:sp>
        <p:sp>
          <p:nvSpPr>
            <p:cNvPr id="36" name="Rectangle 35"/>
            <p:cNvSpPr/>
            <p:nvPr/>
          </p:nvSpPr>
          <p:spPr>
            <a:xfrm>
              <a:off x="5112407" y="2551130"/>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Fleet Asset Management</a:t>
              </a:r>
            </a:p>
          </p:txBody>
        </p:sp>
        <p:sp>
          <p:nvSpPr>
            <p:cNvPr id="37" name="Rectangle 36"/>
            <p:cNvSpPr/>
            <p:nvPr/>
          </p:nvSpPr>
          <p:spPr>
            <a:xfrm>
              <a:off x="6508071" y="2558623"/>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Fleet Activity Management</a:t>
              </a:r>
            </a:p>
          </p:txBody>
        </p:sp>
        <p:sp>
          <p:nvSpPr>
            <p:cNvPr id="38" name="Rectangle 37"/>
            <p:cNvSpPr/>
            <p:nvPr/>
          </p:nvSpPr>
          <p:spPr>
            <a:xfrm>
              <a:off x="7903735" y="2551127"/>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Stolen Vehicle Tracking</a:t>
              </a:r>
            </a:p>
          </p:txBody>
        </p:sp>
        <p:sp>
          <p:nvSpPr>
            <p:cNvPr id="39" name="Rectangle 38"/>
            <p:cNvSpPr/>
            <p:nvPr/>
          </p:nvSpPr>
          <p:spPr>
            <a:xfrm>
              <a:off x="9313352" y="2558623"/>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Theft Burglar notification</a:t>
              </a:r>
            </a:p>
          </p:txBody>
        </p:sp>
        <p:sp>
          <p:nvSpPr>
            <p:cNvPr id="40" name="Rectangle 39"/>
            <p:cNvSpPr/>
            <p:nvPr/>
          </p:nvSpPr>
          <p:spPr>
            <a:xfrm>
              <a:off x="10722969" y="2558623"/>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Geo-fencing</a:t>
              </a:r>
            </a:p>
          </p:txBody>
        </p:sp>
      </p:grpSp>
      <p:grpSp>
        <p:nvGrpSpPr>
          <p:cNvPr id="41" name="Group 40"/>
          <p:cNvGrpSpPr/>
          <p:nvPr/>
        </p:nvGrpSpPr>
        <p:grpSpPr>
          <a:xfrm>
            <a:off x="2275452" y="3164676"/>
            <a:ext cx="9515347" cy="542027"/>
            <a:chOff x="2321079" y="3227638"/>
            <a:chExt cx="9706150" cy="552896"/>
          </a:xfrm>
        </p:grpSpPr>
        <p:sp>
          <p:nvSpPr>
            <p:cNvPr id="42" name="Rectangle 41"/>
            <p:cNvSpPr/>
            <p:nvPr/>
          </p:nvSpPr>
          <p:spPr>
            <a:xfrm>
              <a:off x="2321079" y="322764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Traffic Information</a:t>
              </a:r>
            </a:p>
          </p:txBody>
        </p:sp>
        <p:sp>
          <p:nvSpPr>
            <p:cNvPr id="43" name="Rectangle 42"/>
            <p:cNvSpPr/>
            <p:nvPr/>
          </p:nvSpPr>
          <p:spPr>
            <a:xfrm>
              <a:off x="3716743" y="322764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a:solidFill>
                    <a:srgbClr val="FFFFFF"/>
                  </a:solidFill>
                  <a:latin typeface="Segoe UI" panose="020B0502040204020203" pitchFamily="34" charset="0"/>
                  <a:cs typeface="Segoe UI" panose="020B0502040204020203" pitchFamily="34" charset="0"/>
                </a:rPr>
                <a:t>Advanced Navigation Enriched Content</a:t>
              </a:r>
            </a:p>
          </p:txBody>
        </p:sp>
        <p:sp>
          <p:nvSpPr>
            <p:cNvPr id="44" name="Rectangle 43"/>
            <p:cNvSpPr/>
            <p:nvPr/>
          </p:nvSpPr>
          <p:spPr>
            <a:xfrm>
              <a:off x="5112407" y="3227641"/>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882">
                  <a:solidFill>
                    <a:srgbClr val="FFFFFF"/>
                  </a:solidFill>
                  <a:latin typeface="Segoe UI" panose="020B0502040204020203" pitchFamily="34" charset="0"/>
                  <a:cs typeface="Segoe UI" panose="020B0502040204020203" pitchFamily="34" charset="0"/>
                </a:rPr>
                <a:t>Advanced Navigation Engine predictive calculation</a:t>
              </a:r>
            </a:p>
          </p:txBody>
        </p:sp>
        <p:sp>
          <p:nvSpPr>
            <p:cNvPr id="45" name="Rectangle 44"/>
            <p:cNvSpPr/>
            <p:nvPr/>
          </p:nvSpPr>
          <p:spPr>
            <a:xfrm>
              <a:off x="6508071" y="3227640"/>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Road Alert</a:t>
              </a:r>
            </a:p>
          </p:txBody>
        </p:sp>
        <p:sp>
          <p:nvSpPr>
            <p:cNvPr id="46" name="Rectangle 45"/>
            <p:cNvSpPr/>
            <p:nvPr/>
          </p:nvSpPr>
          <p:spPr>
            <a:xfrm>
              <a:off x="7903735" y="3227640"/>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Location-based information</a:t>
              </a:r>
            </a:p>
          </p:txBody>
        </p:sp>
        <p:sp>
          <p:nvSpPr>
            <p:cNvPr id="47" name="Rectangle 46"/>
            <p:cNvSpPr/>
            <p:nvPr/>
          </p:nvSpPr>
          <p:spPr>
            <a:xfrm>
              <a:off x="9313352" y="3227639"/>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End-to-end navigation</a:t>
              </a:r>
            </a:p>
          </p:txBody>
        </p:sp>
        <p:sp>
          <p:nvSpPr>
            <p:cNvPr id="48" name="Rectangle 47"/>
            <p:cNvSpPr/>
            <p:nvPr/>
          </p:nvSpPr>
          <p:spPr>
            <a:xfrm>
              <a:off x="10722969" y="3227638"/>
              <a:ext cx="1304260" cy="55289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a:solidFill>
                    <a:srgbClr val="FFFFFF"/>
                  </a:solidFill>
                  <a:latin typeface="Segoe UI" panose="020B0502040204020203" pitchFamily="34" charset="0"/>
                  <a:cs typeface="Segoe UI" panose="020B0502040204020203" pitchFamily="34" charset="0"/>
                </a:rPr>
                <a:t>Online automatic payment</a:t>
              </a:r>
            </a:p>
          </p:txBody>
        </p:sp>
      </p:grpSp>
      <p:sp>
        <p:nvSpPr>
          <p:cNvPr id="49" name="TextBox 48"/>
          <p:cNvSpPr txBox="1"/>
          <p:nvPr/>
        </p:nvSpPr>
        <p:spPr>
          <a:xfrm>
            <a:off x="132805" y="1792453"/>
            <a:ext cx="1922110" cy="633625"/>
          </a:xfrm>
          <a:prstGeom prst="rect">
            <a:avLst/>
          </a:prstGeom>
          <a:noFill/>
        </p:spPr>
        <p:txBody>
          <a:bodyPr wrap="square" rtlCol="0">
            <a:spAutoFit/>
          </a:bodyPr>
          <a:lstStyle/>
          <a:p>
            <a:pPr algn="ctr" defTabSz="914367"/>
            <a:r>
              <a:rPr lang="en-US" sz="1765" dirty="0">
                <a:solidFill>
                  <a:srgbClr val="353535"/>
                </a:solidFill>
                <a:latin typeface="Segoe UI Light" panose="020B0502040204020203" pitchFamily="34" charset="0"/>
                <a:cs typeface="Segoe UI Light" panose="020B0502040204020203" pitchFamily="34" charset="0"/>
              </a:rPr>
              <a:t>Always More Control</a:t>
            </a:r>
          </a:p>
        </p:txBody>
      </p:sp>
      <p:sp>
        <p:nvSpPr>
          <p:cNvPr id="50" name="TextBox 49"/>
          <p:cNvSpPr txBox="1"/>
          <p:nvPr/>
        </p:nvSpPr>
        <p:spPr>
          <a:xfrm>
            <a:off x="132805" y="2426078"/>
            <a:ext cx="1922110" cy="633625"/>
          </a:xfrm>
          <a:prstGeom prst="rect">
            <a:avLst/>
          </a:prstGeom>
          <a:noFill/>
        </p:spPr>
        <p:txBody>
          <a:bodyPr wrap="square" rtlCol="0">
            <a:spAutoFit/>
          </a:bodyPr>
          <a:lstStyle/>
          <a:p>
            <a:pPr algn="ctr" defTabSz="914367"/>
            <a:r>
              <a:rPr lang="en-US" sz="1765">
                <a:solidFill>
                  <a:srgbClr val="353535"/>
                </a:solidFill>
                <a:latin typeface="Segoe UI Light" panose="020B0502040204020203" pitchFamily="34" charset="0"/>
                <a:cs typeface="Segoe UI Light" panose="020B0502040204020203" pitchFamily="34" charset="0"/>
              </a:rPr>
              <a:t>Pro-active Monitoring</a:t>
            </a:r>
          </a:p>
        </p:txBody>
      </p:sp>
      <p:sp>
        <p:nvSpPr>
          <p:cNvPr id="51" name="TextBox 50"/>
          <p:cNvSpPr txBox="1"/>
          <p:nvPr/>
        </p:nvSpPr>
        <p:spPr>
          <a:xfrm>
            <a:off x="128596" y="3118875"/>
            <a:ext cx="1922110" cy="633625"/>
          </a:xfrm>
          <a:prstGeom prst="rect">
            <a:avLst/>
          </a:prstGeom>
          <a:noFill/>
        </p:spPr>
        <p:txBody>
          <a:bodyPr wrap="square" rtlCol="0">
            <a:spAutoFit/>
          </a:bodyPr>
          <a:lstStyle/>
          <a:p>
            <a:pPr algn="ctr" defTabSz="914367"/>
            <a:r>
              <a:rPr lang="en-US" sz="1765">
                <a:solidFill>
                  <a:srgbClr val="353535"/>
                </a:solidFill>
                <a:latin typeface="Segoe UI Light" panose="020B0502040204020203" pitchFamily="34" charset="0"/>
                <a:cs typeface="Segoe UI Light" panose="020B0502040204020203" pitchFamily="34" charset="0"/>
              </a:rPr>
              <a:t>Smarter &amp; Pro-active Moves</a:t>
            </a:r>
          </a:p>
        </p:txBody>
      </p:sp>
      <p:sp>
        <p:nvSpPr>
          <p:cNvPr id="52" name="TextBox 51"/>
          <p:cNvSpPr txBox="1"/>
          <p:nvPr/>
        </p:nvSpPr>
        <p:spPr>
          <a:xfrm>
            <a:off x="128596" y="3782089"/>
            <a:ext cx="1922110" cy="633625"/>
          </a:xfrm>
          <a:prstGeom prst="rect">
            <a:avLst/>
          </a:prstGeom>
          <a:noFill/>
        </p:spPr>
        <p:txBody>
          <a:bodyPr wrap="square" rtlCol="0">
            <a:spAutoFit/>
          </a:bodyPr>
          <a:lstStyle/>
          <a:p>
            <a:pPr algn="ctr" defTabSz="914367"/>
            <a:r>
              <a:rPr lang="en-US" sz="1765">
                <a:solidFill>
                  <a:srgbClr val="353535"/>
                </a:solidFill>
                <a:latin typeface="Segoe UI Light" panose="020B0502040204020203" pitchFamily="34" charset="0"/>
                <a:cs typeface="Segoe UI Light" panose="020B0502040204020203" pitchFamily="34" charset="0"/>
              </a:rPr>
              <a:t>Sharing &amp; Interacting</a:t>
            </a:r>
          </a:p>
        </p:txBody>
      </p:sp>
      <p:sp>
        <p:nvSpPr>
          <p:cNvPr id="53" name="TextBox 52"/>
          <p:cNvSpPr txBox="1"/>
          <p:nvPr/>
        </p:nvSpPr>
        <p:spPr>
          <a:xfrm>
            <a:off x="128596" y="4445301"/>
            <a:ext cx="1922110" cy="633625"/>
          </a:xfrm>
          <a:prstGeom prst="rect">
            <a:avLst/>
          </a:prstGeom>
          <a:noFill/>
        </p:spPr>
        <p:txBody>
          <a:bodyPr wrap="square" rtlCol="0">
            <a:spAutoFit/>
          </a:bodyPr>
          <a:lstStyle/>
          <a:p>
            <a:pPr algn="ctr" defTabSz="914367"/>
            <a:r>
              <a:rPr lang="en-US" sz="1765">
                <a:solidFill>
                  <a:srgbClr val="353535"/>
                </a:solidFill>
                <a:latin typeface="Segoe UI Light" panose="020B0502040204020203" pitchFamily="34" charset="0"/>
                <a:cs typeface="Segoe UI Light" panose="020B0502040204020203" pitchFamily="34" charset="0"/>
              </a:rPr>
              <a:t>Integration with my digital life</a:t>
            </a:r>
          </a:p>
        </p:txBody>
      </p:sp>
      <p:sp>
        <p:nvSpPr>
          <p:cNvPr id="54" name="TextBox 53"/>
          <p:cNvSpPr txBox="1"/>
          <p:nvPr/>
        </p:nvSpPr>
        <p:spPr>
          <a:xfrm>
            <a:off x="140049" y="5108513"/>
            <a:ext cx="1922110" cy="633625"/>
          </a:xfrm>
          <a:prstGeom prst="rect">
            <a:avLst/>
          </a:prstGeom>
          <a:noFill/>
        </p:spPr>
        <p:txBody>
          <a:bodyPr wrap="square" rtlCol="0">
            <a:spAutoFit/>
          </a:bodyPr>
          <a:lstStyle/>
          <a:p>
            <a:pPr algn="ctr" defTabSz="914367"/>
            <a:r>
              <a:rPr lang="en-US" sz="1765">
                <a:solidFill>
                  <a:srgbClr val="353535"/>
                </a:solidFill>
                <a:latin typeface="Segoe UI Light" panose="020B0502040204020203" pitchFamily="34" charset="0"/>
                <a:cs typeface="Segoe UI Light" panose="020B0502040204020203" pitchFamily="34" charset="0"/>
              </a:rPr>
              <a:t>Connected Assistance</a:t>
            </a:r>
          </a:p>
        </p:txBody>
      </p:sp>
      <p:sp>
        <p:nvSpPr>
          <p:cNvPr id="55" name="TextBox 54"/>
          <p:cNvSpPr txBox="1"/>
          <p:nvPr/>
        </p:nvSpPr>
        <p:spPr>
          <a:xfrm>
            <a:off x="106206" y="5771724"/>
            <a:ext cx="1922110" cy="635559"/>
          </a:xfrm>
          <a:prstGeom prst="rect">
            <a:avLst/>
          </a:prstGeom>
          <a:noFill/>
        </p:spPr>
        <p:txBody>
          <a:bodyPr wrap="square" rtlCol="0">
            <a:spAutoFit/>
          </a:bodyPr>
          <a:lstStyle/>
          <a:p>
            <a:pPr algn="ctr" defTabSz="914367"/>
            <a:r>
              <a:rPr lang="en-US" sz="1765">
                <a:solidFill>
                  <a:srgbClr val="353535"/>
                </a:solidFill>
                <a:latin typeface="Segoe UI Light" panose="020B0502040204020203" pitchFamily="34" charset="0"/>
                <a:cs typeface="Segoe UI Light" panose="020B0502040204020203" pitchFamily="34" charset="0"/>
              </a:rPr>
              <a:t>Tailored-fit services</a:t>
            </a:r>
          </a:p>
        </p:txBody>
      </p:sp>
    </p:spTree>
    <p:extLst>
      <p:ext uri="{BB962C8B-B14F-4D97-AF65-F5344CB8AC3E}">
        <p14:creationId xmlns:p14="http://schemas.microsoft.com/office/powerpoint/2010/main" val="92808059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3608" y="365125"/>
            <a:ext cx="10515600" cy="1325563"/>
          </a:xfrm>
        </p:spPr>
        <p:txBody>
          <a:bodyPr/>
          <a:lstStyle/>
          <a:p>
            <a:r>
              <a:rPr lang="en-US" sz="4705" b="1" spc="-100">
                <a:ln w="3175">
                  <a:noFill/>
                </a:ln>
                <a:gradFill>
                  <a:gsLst>
                    <a:gs pos="1250">
                      <a:srgbClr val="505050"/>
                    </a:gs>
                    <a:gs pos="100000">
                      <a:srgbClr val="505050"/>
                    </a:gs>
                  </a:gsLst>
                  <a:lin ang="5400000" scaled="0"/>
                </a:gradFill>
                <a:latin typeface="Segoe UI Light"/>
                <a:cs typeface="Segoe UI" pitchFamily="34" charset="0"/>
              </a:rPr>
              <a:t>Introducing our speakers</a:t>
            </a:r>
            <a:endParaRPr lang="en-US"/>
          </a:p>
        </p:txBody>
      </p:sp>
      <p:sp>
        <p:nvSpPr>
          <p:cNvPr id="5" name="Content Placeholder 4"/>
          <p:cNvSpPr>
            <a:spLocks noGrp="1"/>
          </p:cNvSpPr>
          <p:nvPr>
            <p:ph sz="half" idx="1"/>
          </p:nvPr>
        </p:nvSpPr>
        <p:spPr>
          <a:xfrm>
            <a:off x="2464904" y="1757087"/>
            <a:ext cx="3796748" cy="4783897"/>
          </a:xfrm>
        </p:spPr>
        <p:txBody>
          <a:bodyPr/>
          <a:lstStyle/>
          <a:p>
            <a:r>
              <a:rPr lang="en-US" sz="3200">
                <a:gradFill>
                  <a:gsLst>
                    <a:gs pos="1250">
                      <a:srgbClr val="0078D7"/>
                    </a:gs>
                    <a:gs pos="99000">
                      <a:srgbClr val="0078D7"/>
                    </a:gs>
                  </a:gsLst>
                  <a:lin ang="5400000" scaled="0"/>
                </a:gradFill>
                <a:latin typeface="Segoe UI Light"/>
              </a:rPr>
              <a:t>David Peterson</a:t>
            </a:r>
          </a:p>
          <a:p>
            <a:pPr>
              <a:spcBef>
                <a:spcPts val="0"/>
              </a:spcBef>
            </a:pPr>
            <a:r>
              <a:rPr lang="en-US" sz="2000">
                <a:gradFill>
                  <a:gsLst>
                    <a:gs pos="1250">
                      <a:srgbClr val="505050"/>
                    </a:gs>
                    <a:gs pos="100000">
                      <a:srgbClr val="505050"/>
                    </a:gs>
                  </a:gsLst>
                  <a:lin ang="5400000" scaled="0"/>
                </a:gradFill>
                <a:latin typeface="Segoe UI"/>
              </a:rPr>
              <a:t>Chief Architect</a:t>
            </a:r>
          </a:p>
          <a:p>
            <a:pPr>
              <a:spcBef>
                <a:spcPts val="0"/>
              </a:spcBef>
            </a:pPr>
            <a:r>
              <a:rPr lang="en-US" sz="2000">
                <a:gradFill>
                  <a:gsLst>
                    <a:gs pos="1250">
                      <a:srgbClr val="505050"/>
                    </a:gs>
                    <a:gs pos="100000">
                      <a:srgbClr val="505050"/>
                    </a:gs>
                  </a:gsLst>
                  <a:lin ang="5400000" scaled="0"/>
                </a:gradFill>
                <a:latin typeface="Segoe UI"/>
              </a:rPr>
              <a:t>CDSA </a:t>
            </a:r>
          </a:p>
          <a:p>
            <a:pPr>
              <a:spcBef>
                <a:spcPts val="0"/>
              </a:spcBef>
            </a:pPr>
            <a:endParaRPr lang="en-US" sz="2000">
              <a:gradFill>
                <a:gsLst>
                  <a:gs pos="1250">
                    <a:srgbClr val="505050"/>
                  </a:gs>
                  <a:gs pos="100000">
                    <a:srgbClr val="505050"/>
                  </a:gs>
                </a:gsLst>
                <a:lin ang="5400000" scaled="0"/>
              </a:gradFill>
              <a:latin typeface="Segoe UI"/>
            </a:endParaRPr>
          </a:p>
          <a:p>
            <a:pPr marL="285750" indent="-285750">
              <a:buFont typeface="Wingdings" panose="05000000000000000000" pitchFamily="2" charset="2"/>
              <a:buChar char="Ø"/>
            </a:pPr>
            <a:r>
              <a:rPr lang="en-US" sz="1800">
                <a:gradFill>
                  <a:gsLst>
                    <a:gs pos="1250">
                      <a:srgbClr val="505050"/>
                    </a:gs>
                    <a:gs pos="100000">
                      <a:srgbClr val="505050"/>
                    </a:gs>
                  </a:gsLst>
                  <a:lin ang="5400000" scaled="0"/>
                </a:gradFill>
                <a:latin typeface="Segoe UI"/>
              </a:rPr>
              <a:t>16 Years @ Microsoft – All in Microsoft Services in Canada</a:t>
            </a:r>
          </a:p>
          <a:p>
            <a:pPr marL="285750" indent="-285750">
              <a:buFont typeface="Wingdings" panose="05000000000000000000" pitchFamily="2" charset="2"/>
              <a:buChar char="Ø"/>
            </a:pPr>
            <a:r>
              <a:rPr lang="en-US" sz="1800">
                <a:gradFill>
                  <a:gsLst>
                    <a:gs pos="1250">
                      <a:srgbClr val="505050"/>
                    </a:gs>
                    <a:gs pos="100000">
                      <a:srgbClr val="505050"/>
                    </a:gs>
                  </a:gsLst>
                  <a:lin ang="5400000" scaled="0"/>
                </a:gradFill>
                <a:latin typeface="Segoe UI"/>
              </a:rPr>
              <a:t>Services CTO Microsoft Canada for 3 years before joining CDSA</a:t>
            </a:r>
          </a:p>
          <a:p>
            <a:pPr marL="285750" indent="-285750">
              <a:buFont typeface="Wingdings" panose="05000000000000000000" pitchFamily="2" charset="2"/>
              <a:buChar char="Ø"/>
            </a:pPr>
            <a:r>
              <a:rPr lang="en-US" sz="1800">
                <a:gradFill>
                  <a:gsLst>
                    <a:gs pos="1250">
                      <a:srgbClr val="505050"/>
                    </a:gs>
                    <a:gs pos="100000">
                      <a:srgbClr val="505050"/>
                    </a:gs>
                  </a:gsLst>
                  <a:lin ang="5400000" scaled="0"/>
                </a:gradFill>
                <a:latin typeface="Segoe UI"/>
              </a:rPr>
              <a:t>Live in Toronto with my wife and step-daughter.  </a:t>
            </a:r>
          </a:p>
          <a:p>
            <a:pPr marL="285750" indent="-285750">
              <a:buFont typeface="Wingdings" panose="05000000000000000000" pitchFamily="2" charset="2"/>
              <a:buChar char="Ø"/>
            </a:pPr>
            <a:r>
              <a:rPr lang="en-US" sz="1800">
                <a:gradFill>
                  <a:gsLst>
                    <a:gs pos="1250">
                      <a:srgbClr val="505050"/>
                    </a:gs>
                    <a:gs pos="100000">
                      <a:srgbClr val="505050"/>
                    </a:gs>
                  </a:gsLst>
                  <a:lin ang="5400000" scaled="0"/>
                </a:gradFill>
                <a:latin typeface="Segoe UI"/>
              </a:rPr>
              <a:t>Travel and food – my 2 </a:t>
            </a:r>
            <a:r>
              <a:rPr lang="en-US" sz="1800" err="1">
                <a:gradFill>
                  <a:gsLst>
                    <a:gs pos="1250">
                      <a:srgbClr val="505050"/>
                    </a:gs>
                    <a:gs pos="100000">
                      <a:srgbClr val="505050"/>
                    </a:gs>
                  </a:gsLst>
                  <a:lin ang="5400000" scaled="0"/>
                </a:gradFill>
                <a:latin typeface="Segoe UI"/>
              </a:rPr>
              <a:t>favourite</a:t>
            </a:r>
            <a:r>
              <a:rPr lang="en-US" sz="1800">
                <a:gradFill>
                  <a:gsLst>
                    <a:gs pos="1250">
                      <a:srgbClr val="505050"/>
                    </a:gs>
                    <a:gs pos="100000">
                      <a:srgbClr val="505050"/>
                    </a:gs>
                  </a:gsLst>
                  <a:lin ang="5400000" scaled="0"/>
                </a:gradFill>
                <a:latin typeface="Segoe UI"/>
              </a:rPr>
              <a:t> things!</a:t>
            </a:r>
          </a:p>
          <a:p>
            <a:pPr marL="457189" lvl="1" indent="0">
              <a:buNone/>
            </a:pPr>
            <a:endParaRPr lang="en-US" sz="2000">
              <a:gradFill>
                <a:gsLst>
                  <a:gs pos="1250">
                    <a:srgbClr val="505050"/>
                  </a:gs>
                  <a:gs pos="100000">
                    <a:srgbClr val="505050"/>
                  </a:gs>
                </a:gsLst>
                <a:lin ang="5400000" scaled="0"/>
              </a:gradFill>
              <a:latin typeface="Segoe UI"/>
            </a:endParaRPr>
          </a:p>
        </p:txBody>
      </p:sp>
      <p:pic>
        <p:nvPicPr>
          <p:cNvPr id="4" name="Picture 3"/>
          <p:cNvPicPr>
            <a:picLocks noChangeAspect="1"/>
          </p:cNvPicPr>
          <p:nvPr/>
        </p:nvPicPr>
        <p:blipFill>
          <a:blip r:embed="rId2"/>
          <a:stretch>
            <a:fillRect/>
          </a:stretch>
        </p:blipFill>
        <p:spPr>
          <a:xfrm>
            <a:off x="838200" y="1825625"/>
            <a:ext cx="1335952" cy="1444692"/>
          </a:xfrm>
          <a:prstGeom prst="rect">
            <a:avLst/>
          </a:prstGeom>
        </p:spPr>
      </p:pic>
      <p:sp>
        <p:nvSpPr>
          <p:cNvPr id="10" name="Content Placeholder 4"/>
          <p:cNvSpPr>
            <a:spLocks noGrp="1"/>
          </p:cNvSpPr>
          <p:nvPr>
            <p:ph sz="half" idx="1"/>
          </p:nvPr>
        </p:nvSpPr>
        <p:spPr>
          <a:xfrm>
            <a:off x="7931424" y="1690688"/>
            <a:ext cx="4260575" cy="4783897"/>
          </a:xfrm>
        </p:spPr>
        <p:txBody>
          <a:bodyPr/>
          <a:lstStyle/>
          <a:p>
            <a:r>
              <a:rPr lang="en-US" sz="3200" dirty="0">
                <a:gradFill>
                  <a:gsLst>
                    <a:gs pos="1250">
                      <a:srgbClr val="0078D7"/>
                    </a:gs>
                    <a:gs pos="99000">
                      <a:srgbClr val="0078D7"/>
                    </a:gs>
                  </a:gsLst>
                  <a:lin ang="5400000" scaled="0"/>
                </a:gradFill>
                <a:latin typeface="Segoe UI Light"/>
              </a:rPr>
              <a:t>Akihito Hayashi</a:t>
            </a:r>
          </a:p>
          <a:p>
            <a:pPr>
              <a:spcBef>
                <a:spcPts val="0"/>
              </a:spcBef>
            </a:pPr>
            <a:r>
              <a:rPr lang="en-US" sz="2000" dirty="0">
                <a:gradFill>
                  <a:gsLst>
                    <a:gs pos="1250">
                      <a:srgbClr val="505050"/>
                    </a:gs>
                    <a:gs pos="100000">
                      <a:srgbClr val="505050"/>
                    </a:gs>
                  </a:gsLst>
                  <a:lin ang="5400000" scaled="0"/>
                </a:gradFill>
                <a:latin typeface="Segoe UI"/>
              </a:rPr>
              <a:t>Architect</a:t>
            </a:r>
          </a:p>
          <a:p>
            <a:pPr>
              <a:spcBef>
                <a:spcPts val="0"/>
              </a:spcBef>
            </a:pPr>
            <a:r>
              <a:rPr lang="en-US" sz="2000" dirty="0">
                <a:gradFill>
                  <a:gsLst>
                    <a:gs pos="1250">
                      <a:srgbClr val="505050"/>
                    </a:gs>
                    <a:gs pos="100000">
                      <a:srgbClr val="505050"/>
                    </a:gs>
                  </a:gsLst>
                  <a:lin ang="5400000" scaled="0"/>
                </a:gradFill>
                <a:latin typeface="Segoe UI"/>
              </a:rPr>
              <a:t>CDSA(Asia)</a:t>
            </a:r>
          </a:p>
          <a:p>
            <a:pPr>
              <a:spcBef>
                <a:spcPts val="0"/>
              </a:spcBef>
            </a:pPr>
            <a:endParaRPr lang="en-US" sz="2000" dirty="0">
              <a:gradFill>
                <a:gsLst>
                  <a:gs pos="1250">
                    <a:srgbClr val="505050"/>
                  </a:gs>
                  <a:gs pos="100000">
                    <a:srgbClr val="505050"/>
                  </a:gs>
                </a:gsLst>
                <a:lin ang="5400000" scaled="0"/>
              </a:gradFill>
              <a:latin typeface="Segoe UI"/>
            </a:endParaRPr>
          </a:p>
          <a:p>
            <a:pPr marL="285750" indent="-285750">
              <a:buFont typeface="Wingdings" panose="05000000000000000000" pitchFamily="2" charset="2"/>
              <a:buChar char="Ø"/>
            </a:pPr>
            <a:r>
              <a:rPr lang="en-US" sz="1800" dirty="0">
                <a:gradFill>
                  <a:gsLst>
                    <a:gs pos="1250">
                      <a:srgbClr val="505050"/>
                    </a:gs>
                    <a:gs pos="100000">
                      <a:srgbClr val="505050"/>
                    </a:gs>
                  </a:gsLst>
                  <a:lin ang="5400000" scaled="0"/>
                </a:gradFill>
                <a:latin typeface="Segoe UI"/>
              </a:rPr>
              <a:t>3 months @ Microsoft Service Japan </a:t>
            </a:r>
          </a:p>
          <a:p>
            <a:pPr marL="285750" indent="-285750">
              <a:buFont typeface="Wingdings" panose="05000000000000000000" pitchFamily="2" charset="2"/>
              <a:buChar char="Ø"/>
            </a:pPr>
            <a:r>
              <a:rPr lang="en-US" sz="1800" dirty="0">
                <a:gradFill>
                  <a:gsLst>
                    <a:gs pos="1250">
                      <a:srgbClr val="505050"/>
                    </a:gs>
                    <a:gs pos="100000">
                      <a:srgbClr val="505050"/>
                    </a:gs>
                  </a:gsLst>
                  <a:lin ang="5400000" scaled="0"/>
                </a:gradFill>
                <a:latin typeface="Segoe UI"/>
              </a:rPr>
              <a:t>13yrs @ multinational electricity company in JP and SG</a:t>
            </a:r>
          </a:p>
          <a:p>
            <a:pPr marL="285750" indent="-285750">
              <a:buFont typeface="Wingdings" panose="05000000000000000000" pitchFamily="2" charset="2"/>
              <a:buChar char="Ø"/>
            </a:pPr>
            <a:r>
              <a:rPr lang="en-US" sz="1800" dirty="0" err="1">
                <a:gradFill>
                  <a:gsLst>
                    <a:gs pos="1250">
                      <a:srgbClr val="505050"/>
                    </a:gs>
                    <a:gs pos="100000">
                      <a:srgbClr val="505050"/>
                    </a:gs>
                  </a:gsLst>
                  <a:lin ang="5400000" scaled="0"/>
                </a:gradFill>
                <a:latin typeface="Segoe UI"/>
              </a:rPr>
              <a:t>IoT</a:t>
            </a:r>
            <a:r>
              <a:rPr lang="en-US" sz="1800" dirty="0">
                <a:gradFill>
                  <a:gsLst>
                    <a:gs pos="1250">
                      <a:srgbClr val="505050"/>
                    </a:gs>
                    <a:gs pos="100000">
                      <a:srgbClr val="505050"/>
                    </a:gs>
                  </a:gsLst>
                  <a:lin ang="5400000" scaled="0"/>
                </a:gradFill>
                <a:latin typeface="Segoe UI"/>
              </a:rPr>
              <a:t> experience w/ home and </a:t>
            </a:r>
            <a:r>
              <a:rPr lang="en-US" sz="1800" dirty="0" err="1">
                <a:gradFill>
                  <a:gsLst>
                    <a:gs pos="1250">
                      <a:srgbClr val="505050"/>
                    </a:gs>
                    <a:gs pos="100000">
                      <a:srgbClr val="505050"/>
                    </a:gs>
                  </a:gsLst>
                  <a:lin ang="5400000" scaled="0"/>
                </a:gradFill>
                <a:latin typeface="Segoe UI"/>
              </a:rPr>
              <a:t>industory</a:t>
            </a:r>
            <a:r>
              <a:rPr lang="en-US" sz="1800" dirty="0">
                <a:gradFill>
                  <a:gsLst>
                    <a:gs pos="1250">
                      <a:srgbClr val="505050"/>
                    </a:gs>
                    <a:gs pos="100000">
                      <a:srgbClr val="505050"/>
                    </a:gs>
                  </a:gsLst>
                  <a:lin ang="5400000" scaled="0"/>
                </a:gradFill>
                <a:latin typeface="Segoe UI"/>
              </a:rPr>
              <a:t> A/C, Storage Battery </a:t>
            </a:r>
            <a:r>
              <a:rPr lang="en-US" sz="1800" dirty="0" err="1">
                <a:gradFill>
                  <a:gsLst>
                    <a:gs pos="1250">
                      <a:srgbClr val="505050"/>
                    </a:gs>
                    <a:gs pos="100000">
                      <a:srgbClr val="505050"/>
                    </a:gs>
                  </a:gsLst>
                  <a:lin ang="5400000" scaled="0"/>
                </a:gradFill>
                <a:latin typeface="Segoe UI"/>
              </a:rPr>
              <a:t>etc</a:t>
            </a:r>
            <a:endParaRPr lang="en-US" sz="1800" dirty="0">
              <a:gradFill>
                <a:gsLst>
                  <a:gs pos="1250">
                    <a:srgbClr val="505050"/>
                  </a:gs>
                  <a:gs pos="100000">
                    <a:srgbClr val="505050"/>
                  </a:gs>
                </a:gsLst>
                <a:lin ang="5400000" scaled="0"/>
              </a:gradFill>
              <a:latin typeface="Segoe UI"/>
            </a:endParaRPr>
          </a:p>
          <a:p>
            <a:pPr marL="285750" indent="-285750">
              <a:buFont typeface="Wingdings" panose="05000000000000000000" pitchFamily="2" charset="2"/>
              <a:buChar char="Ø"/>
            </a:pPr>
            <a:r>
              <a:rPr lang="en-US" sz="1800" dirty="0">
                <a:gradFill>
                  <a:gsLst>
                    <a:gs pos="1250">
                      <a:srgbClr val="505050"/>
                    </a:gs>
                    <a:gs pos="100000">
                      <a:srgbClr val="505050"/>
                    </a:gs>
                  </a:gsLst>
                  <a:lin ang="5400000" scaled="0"/>
                </a:gradFill>
                <a:latin typeface="Segoe UI"/>
              </a:rPr>
              <a:t>Tennis, Road bike </a:t>
            </a:r>
            <a:r>
              <a:rPr lang="en-US" sz="1800" dirty="0" err="1">
                <a:gradFill>
                  <a:gsLst>
                    <a:gs pos="1250">
                      <a:srgbClr val="505050"/>
                    </a:gs>
                    <a:gs pos="100000">
                      <a:srgbClr val="505050"/>
                    </a:gs>
                  </a:gsLst>
                  <a:lin ang="5400000" scaled="0"/>
                </a:gradFill>
                <a:latin typeface="Segoe UI"/>
              </a:rPr>
              <a:t>etc</a:t>
            </a:r>
            <a:r>
              <a:rPr lang="en-US" sz="1800" dirty="0">
                <a:gradFill>
                  <a:gsLst>
                    <a:gs pos="1250">
                      <a:srgbClr val="505050"/>
                    </a:gs>
                    <a:gs pos="100000">
                      <a:srgbClr val="505050"/>
                    </a:gs>
                  </a:gsLst>
                  <a:lin ang="5400000" scaled="0"/>
                </a:gradFill>
                <a:latin typeface="Segoe UI"/>
              </a:rPr>
              <a:t> …</a:t>
            </a:r>
            <a:br>
              <a:rPr lang="en-US" sz="1800" dirty="0">
                <a:gradFill>
                  <a:gsLst>
                    <a:gs pos="1250">
                      <a:srgbClr val="505050"/>
                    </a:gs>
                    <a:gs pos="100000">
                      <a:srgbClr val="505050"/>
                    </a:gs>
                  </a:gsLst>
                  <a:lin ang="5400000" scaled="0"/>
                </a:gradFill>
                <a:latin typeface="Segoe UI"/>
              </a:rPr>
            </a:br>
            <a:endParaRPr lang="en-US" sz="1800" dirty="0">
              <a:gradFill>
                <a:gsLst>
                  <a:gs pos="1250">
                    <a:srgbClr val="505050"/>
                  </a:gs>
                  <a:gs pos="100000">
                    <a:srgbClr val="505050"/>
                  </a:gs>
                </a:gsLst>
                <a:lin ang="5400000" scaled="0"/>
              </a:gradFill>
              <a:latin typeface="Segoe UI"/>
            </a:endParaRPr>
          </a:p>
          <a:p>
            <a:pPr marL="457189" lvl="1" indent="0">
              <a:buNone/>
            </a:pPr>
            <a:endParaRPr lang="en-US" sz="2000" dirty="0">
              <a:gradFill>
                <a:gsLst>
                  <a:gs pos="1250">
                    <a:srgbClr val="505050"/>
                  </a:gs>
                  <a:gs pos="100000">
                    <a:srgbClr val="505050"/>
                  </a:gs>
                </a:gsLst>
                <a:lin ang="5400000" scaled="0"/>
              </a:gradFill>
              <a:latin typeface="Segoe UI"/>
            </a:endParaRPr>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428561" y="1825625"/>
            <a:ext cx="1335953" cy="1444692"/>
          </a:xfrm>
          <a:prstGeom prst="rect">
            <a:avLst/>
          </a:prstGeom>
        </p:spPr>
      </p:pic>
    </p:spTree>
    <p:extLst>
      <p:ext uri="{BB962C8B-B14F-4D97-AF65-F5344CB8AC3E}">
        <p14:creationId xmlns:p14="http://schemas.microsoft.com/office/powerpoint/2010/main" val="654610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946" y="149460"/>
            <a:ext cx="10514108" cy="1325375"/>
          </a:xfrm>
        </p:spPr>
        <p:txBody>
          <a:bodyPr/>
          <a:lstStyle/>
          <a:p>
            <a:r>
              <a:rPr lang="en-US">
                <a:solidFill>
                  <a:schemeClr val="tx1"/>
                </a:solidFill>
              </a:rPr>
              <a:t>Lessons Learned</a:t>
            </a:r>
          </a:p>
        </p:txBody>
      </p:sp>
      <p:sp>
        <p:nvSpPr>
          <p:cNvPr id="3" name="Content Placeholder 2"/>
          <p:cNvSpPr>
            <a:spLocks noGrp="1"/>
          </p:cNvSpPr>
          <p:nvPr>
            <p:ph idx="1"/>
          </p:nvPr>
        </p:nvSpPr>
        <p:spPr>
          <a:xfrm>
            <a:off x="838946" y="1571371"/>
            <a:ext cx="10514108" cy="4972416"/>
          </a:xfrm>
        </p:spPr>
        <p:txBody>
          <a:bodyPr>
            <a:normAutofit/>
          </a:bodyPr>
          <a:lstStyle/>
          <a:p>
            <a:r>
              <a:rPr lang="en-US" sz="3137"/>
              <a:t>Patterns are key to enabling services</a:t>
            </a:r>
          </a:p>
          <a:p>
            <a:r>
              <a:rPr lang="en-US" sz="3137"/>
              <a:t>Onboard software/hardware implementation process extremely non-agile </a:t>
            </a:r>
          </a:p>
          <a:p>
            <a:r>
              <a:rPr lang="en-US" sz="3137"/>
              <a:t>Balancing next-gen architecture with legacy systems</a:t>
            </a:r>
          </a:p>
          <a:p>
            <a:r>
              <a:rPr lang="en-US" sz="3137">
                <a:solidFill>
                  <a:schemeClr val="tx1"/>
                </a:solidFill>
                <a:latin typeface="Segoe UI Light" panose="020B0502040204020203" pitchFamily="34" charset="0"/>
                <a:cs typeface="Segoe UI Light" panose="020B0502040204020203" pitchFamily="34" charset="0"/>
              </a:rPr>
              <a:t>Given millions of cars, every technical choice impacts resources and cost</a:t>
            </a:r>
          </a:p>
          <a:p>
            <a:r>
              <a:rPr lang="en-US" sz="3137">
                <a:solidFill>
                  <a:schemeClr val="tx1"/>
                </a:solidFill>
                <a:latin typeface="Segoe UI Light" panose="020B0502040204020203" pitchFamily="34" charset="0"/>
                <a:cs typeface="Segoe UI Light" panose="020B0502040204020203" pitchFamily="34" charset="0"/>
              </a:rPr>
              <a:t>Aligning deliverables timeline to engineering schedule is often non-trivial </a:t>
            </a:r>
          </a:p>
        </p:txBody>
      </p:sp>
    </p:spTree>
    <p:extLst>
      <p:ext uri="{BB962C8B-B14F-4D97-AF65-F5344CB8AC3E}">
        <p14:creationId xmlns:p14="http://schemas.microsoft.com/office/powerpoint/2010/main" val="25294633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a:t>Global Project Delivery – Diverse Cultures</a:t>
            </a:r>
          </a:p>
        </p:txBody>
      </p:sp>
      <p:pic>
        <p:nvPicPr>
          <p:cNvPr id="4" name="Picture 3"/>
          <p:cNvPicPr>
            <a:picLocks noChangeAspect="1"/>
          </p:cNvPicPr>
          <p:nvPr/>
        </p:nvPicPr>
        <p:blipFill>
          <a:blip r:embed="rId3"/>
          <a:stretch>
            <a:fillRect/>
          </a:stretch>
        </p:blipFill>
        <p:spPr>
          <a:xfrm>
            <a:off x="657616" y="2570952"/>
            <a:ext cx="1242120" cy="1256547"/>
          </a:xfrm>
          <a:prstGeom prst="rect">
            <a:avLst/>
          </a:prstGeom>
        </p:spPr>
      </p:pic>
      <p:pic>
        <p:nvPicPr>
          <p:cNvPr id="5" name="Picture 4"/>
          <p:cNvPicPr>
            <a:picLocks noChangeAspect="1"/>
          </p:cNvPicPr>
          <p:nvPr/>
        </p:nvPicPr>
        <p:blipFill>
          <a:blip r:embed="rId4"/>
          <a:stretch>
            <a:fillRect/>
          </a:stretch>
        </p:blipFill>
        <p:spPr>
          <a:xfrm>
            <a:off x="4505526" y="2571892"/>
            <a:ext cx="1243982" cy="1254666"/>
          </a:xfrm>
          <a:prstGeom prst="rect">
            <a:avLst/>
          </a:prstGeom>
        </p:spPr>
      </p:pic>
      <p:pic>
        <p:nvPicPr>
          <p:cNvPr id="6" name="Picture 5"/>
          <p:cNvPicPr>
            <a:picLocks noChangeAspect="1"/>
          </p:cNvPicPr>
          <p:nvPr/>
        </p:nvPicPr>
        <p:blipFill>
          <a:blip r:embed="rId5"/>
          <a:stretch>
            <a:fillRect/>
          </a:stretch>
        </p:blipFill>
        <p:spPr>
          <a:xfrm>
            <a:off x="6430413" y="2571892"/>
            <a:ext cx="1242120" cy="1254666"/>
          </a:xfrm>
          <a:prstGeom prst="rect">
            <a:avLst/>
          </a:prstGeom>
        </p:spPr>
      </p:pic>
      <p:sp>
        <p:nvSpPr>
          <p:cNvPr id="11" name="TextBox 10"/>
          <p:cNvSpPr txBox="1"/>
          <p:nvPr/>
        </p:nvSpPr>
        <p:spPr>
          <a:xfrm>
            <a:off x="568047" y="3817531"/>
            <a:ext cx="1421257"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353535"/>
                    </a:gs>
                    <a:gs pos="30000">
                      <a:srgbClr val="353535"/>
                    </a:gs>
                  </a:gsLst>
                  <a:lin ang="5400000" scaled="0"/>
                </a:gradFill>
                <a:latin typeface="Segoe UI Semilight"/>
              </a:rPr>
              <a:t>America</a:t>
            </a:r>
          </a:p>
        </p:txBody>
      </p:sp>
      <p:sp>
        <p:nvSpPr>
          <p:cNvPr id="12" name="TextBox 11"/>
          <p:cNvSpPr txBox="1"/>
          <p:nvPr/>
        </p:nvSpPr>
        <p:spPr>
          <a:xfrm>
            <a:off x="4565934" y="3817531"/>
            <a:ext cx="1218535"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353535"/>
                    </a:gs>
                    <a:gs pos="30000">
                      <a:srgbClr val="353535"/>
                    </a:gs>
                  </a:gsLst>
                  <a:lin ang="5400000" scaled="0"/>
                </a:gradFill>
                <a:latin typeface="Segoe UI Semilight"/>
              </a:rPr>
              <a:t>France</a:t>
            </a:r>
          </a:p>
        </p:txBody>
      </p:sp>
      <p:sp>
        <p:nvSpPr>
          <p:cNvPr id="13" name="TextBox 12"/>
          <p:cNvSpPr txBox="1"/>
          <p:nvPr/>
        </p:nvSpPr>
        <p:spPr>
          <a:xfrm>
            <a:off x="6544213" y="3817531"/>
            <a:ext cx="993811"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353535"/>
                    </a:gs>
                    <a:gs pos="30000">
                      <a:srgbClr val="353535"/>
                    </a:gs>
                  </a:gsLst>
                  <a:lin ang="5400000" scaled="0"/>
                </a:gradFill>
                <a:latin typeface="Segoe UI Semilight"/>
              </a:rPr>
              <a:t>India</a:t>
            </a:r>
          </a:p>
        </p:txBody>
      </p:sp>
      <p:sp>
        <p:nvSpPr>
          <p:cNvPr id="14" name="TextBox 13"/>
          <p:cNvSpPr txBox="1"/>
          <p:nvPr/>
        </p:nvSpPr>
        <p:spPr>
          <a:xfrm>
            <a:off x="10354018" y="3817531"/>
            <a:ext cx="1097467"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353535"/>
                    </a:gs>
                    <a:gs pos="30000">
                      <a:srgbClr val="353535"/>
                    </a:gs>
                  </a:gsLst>
                  <a:lin ang="5400000" scaled="0"/>
                </a:gradFill>
                <a:latin typeface="Segoe UI Semilight"/>
              </a:rPr>
              <a:t>Japan</a:t>
            </a:r>
          </a:p>
        </p:txBody>
      </p:sp>
      <p:grpSp>
        <p:nvGrpSpPr>
          <p:cNvPr id="20" name="Group 19"/>
          <p:cNvGrpSpPr/>
          <p:nvPr/>
        </p:nvGrpSpPr>
        <p:grpSpPr>
          <a:xfrm>
            <a:off x="10279316" y="2571727"/>
            <a:ext cx="1254995" cy="1254995"/>
            <a:chOff x="8809037" y="3634381"/>
            <a:chExt cx="1944740" cy="1944740"/>
          </a:xfrm>
        </p:grpSpPr>
        <p:sp>
          <p:nvSpPr>
            <p:cNvPr id="19" name="Oval 18"/>
            <p:cNvSpPr/>
            <p:nvPr/>
          </p:nvSpPr>
          <p:spPr bwMode="auto">
            <a:xfrm>
              <a:off x="8809037" y="3658255"/>
              <a:ext cx="1920240" cy="1920866"/>
            </a:xfrm>
            <a:prstGeom prst="ellipse">
              <a:avLst/>
            </a:prstGeom>
            <a:solidFill>
              <a:schemeClr val="accent5">
                <a:lumMod val="40000"/>
                <a:lumOff val="60000"/>
              </a:schemeClr>
            </a:solidFill>
            <a:ln>
              <a:solidFill>
                <a:schemeClr val="accent6">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latin typeface="Segoe UI Semilight"/>
              </a:endParaRPr>
            </a:p>
          </p:txBody>
        </p:sp>
        <p:pic>
          <p:nvPicPr>
            <p:cNvPr id="18" name="Picture 17"/>
            <p:cNvPicPr>
              <a:picLocks noChangeAspect="1"/>
            </p:cNvPicPr>
            <p:nvPr/>
          </p:nvPicPr>
          <p:blipFill rotWithShape="1">
            <a:blip r:embed="rId6"/>
            <a:srcRect l="4868" t="-24511" r="54805" b="-21147"/>
            <a:stretch/>
          </p:blipFill>
          <p:spPr>
            <a:xfrm>
              <a:off x="8809037" y="3634381"/>
              <a:ext cx="1944740" cy="1944740"/>
            </a:xfrm>
            <a:prstGeom prst="ellipse">
              <a:avLst/>
            </a:prstGeom>
          </p:spPr>
        </p:pic>
      </p:grpSp>
      <p:pic>
        <p:nvPicPr>
          <p:cNvPr id="15" name="Picture 14"/>
          <p:cNvPicPr>
            <a:picLocks noChangeAspect="1"/>
          </p:cNvPicPr>
          <p:nvPr/>
        </p:nvPicPr>
        <p:blipFill>
          <a:blip r:embed="rId7"/>
          <a:stretch>
            <a:fillRect/>
          </a:stretch>
        </p:blipFill>
        <p:spPr>
          <a:xfrm>
            <a:off x="2580640" y="2570952"/>
            <a:ext cx="1243982" cy="1256547"/>
          </a:xfrm>
          <a:prstGeom prst="rect">
            <a:avLst/>
          </a:prstGeom>
        </p:spPr>
      </p:pic>
      <p:sp>
        <p:nvSpPr>
          <p:cNvPr id="16" name="TextBox 15"/>
          <p:cNvSpPr txBox="1"/>
          <p:nvPr/>
        </p:nvSpPr>
        <p:spPr>
          <a:xfrm>
            <a:off x="2513827" y="3817531"/>
            <a:ext cx="1341111"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353535"/>
                    </a:gs>
                    <a:gs pos="30000">
                      <a:srgbClr val="353535"/>
                    </a:gs>
                  </a:gsLst>
                  <a:lin ang="5400000" scaled="0"/>
                </a:gradFill>
                <a:latin typeface="Segoe UI Semilight"/>
              </a:rPr>
              <a:t>Canada</a:t>
            </a:r>
          </a:p>
        </p:txBody>
      </p:sp>
      <p:pic>
        <p:nvPicPr>
          <p:cNvPr id="155" name="Picture 154"/>
          <p:cNvPicPr>
            <a:picLocks noChangeAspect="1"/>
          </p:cNvPicPr>
          <p:nvPr/>
        </p:nvPicPr>
        <p:blipFill>
          <a:blip r:embed="rId8"/>
          <a:stretch>
            <a:fillRect/>
          </a:stretch>
        </p:blipFill>
        <p:spPr>
          <a:xfrm>
            <a:off x="8353437" y="2570919"/>
            <a:ext cx="1244976" cy="1256610"/>
          </a:xfrm>
          <a:prstGeom prst="ellipse">
            <a:avLst/>
          </a:prstGeom>
        </p:spPr>
      </p:pic>
      <p:sp>
        <p:nvSpPr>
          <p:cNvPr id="156" name="TextBox 155"/>
          <p:cNvSpPr txBox="1"/>
          <p:nvPr/>
        </p:nvSpPr>
        <p:spPr>
          <a:xfrm>
            <a:off x="8411765" y="3817531"/>
            <a:ext cx="1100672"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353535"/>
                    </a:gs>
                    <a:gs pos="30000">
                      <a:srgbClr val="353535"/>
                    </a:gs>
                  </a:gsLst>
                  <a:lin ang="5400000" scaled="0"/>
                </a:gradFill>
                <a:latin typeface="Segoe UI Semilight"/>
              </a:rPr>
              <a:t>China</a:t>
            </a:r>
          </a:p>
        </p:txBody>
      </p:sp>
    </p:spTree>
    <p:extLst>
      <p:ext uri="{BB962C8B-B14F-4D97-AF65-F5344CB8AC3E}">
        <p14:creationId xmlns:p14="http://schemas.microsoft.com/office/powerpoint/2010/main" val="37450463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89109"/>
            <a:ext cx="11655840" cy="899537"/>
          </a:xfrm>
        </p:spPr>
        <p:txBody>
          <a:bodyPr/>
          <a:lstStyle/>
          <a:p>
            <a:r>
              <a:rPr lang="en-US"/>
              <a:t>Renault / Nissan – Sprint Process</a:t>
            </a:r>
          </a:p>
        </p:txBody>
      </p:sp>
      <p:sp>
        <p:nvSpPr>
          <p:cNvPr id="11" name="Rectangle 10"/>
          <p:cNvSpPr>
            <a:spLocks noChangeArrowheads="1"/>
          </p:cNvSpPr>
          <p:nvPr/>
        </p:nvSpPr>
        <p:spPr bwMode="auto">
          <a:xfrm>
            <a:off x="866" y="-186911"/>
            <a:ext cx="184705" cy="374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27" tIns="45713" rIns="91427" bIns="45713" numCol="1" anchor="ctr" anchorCtr="0" compatLnSpc="1">
            <a:prstTxWarp prst="textNoShape">
              <a:avLst/>
            </a:prstTxWarp>
            <a:spAutoFit/>
          </a:bodyPr>
          <a:lstStyle/>
          <a:p>
            <a:pPr defTabSz="914367">
              <a:defRPr/>
            </a:pPr>
            <a:endParaRPr lang="en-US">
              <a:solidFill>
                <a:srgbClr val="353535"/>
              </a:solidFill>
              <a:latin typeface="Segoe UI Semilight"/>
            </a:endParaRPr>
          </a:p>
        </p:txBody>
      </p:sp>
      <p:sp>
        <p:nvSpPr>
          <p:cNvPr id="12" name="Rectangle 4"/>
          <p:cNvSpPr>
            <a:spLocks noChangeArrowheads="1"/>
          </p:cNvSpPr>
          <p:nvPr/>
        </p:nvSpPr>
        <p:spPr bwMode="auto">
          <a:xfrm>
            <a:off x="866" y="-186911"/>
            <a:ext cx="184705" cy="374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27" tIns="45713" rIns="91427" bIns="45713" numCol="1" anchor="ctr" anchorCtr="0" compatLnSpc="1">
            <a:prstTxWarp prst="textNoShape">
              <a:avLst/>
            </a:prstTxWarp>
            <a:spAutoFit/>
          </a:bodyPr>
          <a:lstStyle/>
          <a:p>
            <a:pPr defTabSz="914367">
              <a:defRPr/>
            </a:pPr>
            <a:endParaRPr lang="en-US">
              <a:solidFill>
                <a:srgbClr val="353535"/>
              </a:solidFill>
              <a:latin typeface="Segoe UI Semilight"/>
            </a:endParaRPr>
          </a:p>
        </p:txBody>
      </p:sp>
      <p:pic>
        <p:nvPicPr>
          <p:cNvPr id="13" name="Picture 12"/>
          <p:cNvPicPr>
            <a:picLocks noChangeAspect="1"/>
          </p:cNvPicPr>
          <p:nvPr/>
        </p:nvPicPr>
        <p:blipFill>
          <a:blip r:embed="rId3"/>
          <a:stretch>
            <a:fillRect/>
          </a:stretch>
        </p:blipFill>
        <p:spPr>
          <a:xfrm>
            <a:off x="1235074" y="1088646"/>
            <a:ext cx="9810872" cy="5511600"/>
          </a:xfrm>
          <a:prstGeom prst="rect">
            <a:avLst/>
          </a:prstGeom>
        </p:spPr>
      </p:pic>
    </p:spTree>
    <p:extLst>
      <p:ext uri="{BB962C8B-B14F-4D97-AF65-F5344CB8AC3E}">
        <p14:creationId xmlns:p14="http://schemas.microsoft.com/office/powerpoint/2010/main" val="308725091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63" name="Rectangle 262"/>
          <p:cNvSpPr/>
          <p:nvPr/>
        </p:nvSpPr>
        <p:spPr bwMode="auto">
          <a:xfrm>
            <a:off x="1" y="2400291"/>
            <a:ext cx="12192000" cy="4457223"/>
          </a:xfrm>
          <a:prstGeom prst="rect">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269240" y="899196"/>
            <a:ext cx="11655840" cy="899665"/>
          </a:xfrm>
        </p:spPr>
        <p:txBody>
          <a:bodyPr/>
          <a:lstStyle/>
          <a:p>
            <a:r>
              <a:rPr lang="en-US" sz="7200">
                <a:gradFill>
                  <a:gsLst>
                    <a:gs pos="18018">
                      <a:schemeClr val="tx1"/>
                    </a:gs>
                    <a:gs pos="51351">
                      <a:schemeClr val="tx1"/>
                    </a:gs>
                  </a:gsLst>
                  <a:lin ang="5400000" scaled="0"/>
                </a:gradFill>
                <a:latin typeface="Segoe UI Semibold" panose="020B0702040204020203" pitchFamily="34" charset="0"/>
                <a:cs typeface="Segoe UI Semibold" panose="020B0702040204020203" pitchFamily="34" charset="0"/>
              </a:rPr>
              <a:t>Thank YOU</a:t>
            </a:r>
            <a:endParaRPr lang="en-US" sz="7200" spc="-39">
              <a:gradFill>
                <a:gsLst>
                  <a:gs pos="56757">
                    <a:schemeClr val="tx1"/>
                  </a:gs>
                  <a:gs pos="44000">
                    <a:schemeClr val="tx1"/>
                  </a:gs>
                </a:gsLst>
                <a:lin ang="5400000" scaled="0"/>
              </a:gradFill>
            </a:endParaRPr>
          </a:p>
        </p:txBody>
      </p:sp>
      <p:grpSp>
        <p:nvGrpSpPr>
          <p:cNvPr id="264" name="Group 263"/>
          <p:cNvGrpSpPr>
            <a:grpSpLocks noChangeAspect="1"/>
          </p:cNvGrpSpPr>
          <p:nvPr/>
        </p:nvGrpSpPr>
        <p:grpSpPr bwMode="black">
          <a:xfrm>
            <a:off x="358881" y="3240605"/>
            <a:ext cx="11474238" cy="2764187"/>
            <a:chOff x="364680" y="3104954"/>
            <a:chExt cx="11756863" cy="2832273"/>
          </a:xfrm>
          <a:solidFill>
            <a:srgbClr val="000000"/>
          </a:solidFill>
        </p:grpSpPr>
        <p:grpSp>
          <p:nvGrpSpPr>
            <p:cNvPr id="16" name="Group 15"/>
            <p:cNvGrpSpPr/>
            <p:nvPr/>
          </p:nvGrpSpPr>
          <p:grpSpPr bwMode="black">
            <a:xfrm>
              <a:off x="1824220" y="5623340"/>
              <a:ext cx="768454" cy="183536"/>
              <a:chOff x="2321681" y="5571144"/>
              <a:chExt cx="701013" cy="175680"/>
            </a:xfrm>
            <a:grpFill/>
            <a:effectLst/>
          </p:grpSpPr>
          <p:sp>
            <p:nvSpPr>
              <p:cNvPr id="255"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56"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57"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58"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59"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60"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61"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20" name="Group 19"/>
            <p:cNvGrpSpPr/>
            <p:nvPr/>
          </p:nvGrpSpPr>
          <p:grpSpPr bwMode="black">
            <a:xfrm>
              <a:off x="364680" y="5617159"/>
              <a:ext cx="783654" cy="195898"/>
              <a:chOff x="420233" y="6191684"/>
              <a:chExt cx="714879" cy="187513"/>
            </a:xfrm>
            <a:grpFill/>
            <a:effectLst/>
          </p:grpSpPr>
          <p:sp>
            <p:nvSpPr>
              <p:cNvPr id="222"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23"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24"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25"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26"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27"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28"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29"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30"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31"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32"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33"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pic>
          <p:nvPicPr>
            <p:cNvPr id="30" name="Picture 2"/>
            <p:cNvPicPr>
              <a:picLocks noChangeAspect="1" noChangeArrowheads="1"/>
            </p:cNvPicPr>
            <p:nvPr/>
          </p:nvPicPr>
          <p:blipFill>
            <a:blip r:embed="rId3" cstate="screen">
              <a:extLst>
                <a:ext uri="{BEBA8EAE-BF5A-486C-A8C5-ECC9F3942E4B}">
                  <a14:imgProps xmlns:a14="http://schemas.microsoft.com/office/drawing/2010/main">
                    <a14:imgLayer r:embed="rId4">
                      <a14:imgEffect>
                        <a14:saturation sat="0"/>
                      </a14:imgEffect>
                      <a14:imgEffect>
                        <a14:brightnessContrast bright="-100000" contrast="100000"/>
                      </a14:imgEffect>
                    </a14:imgLayer>
                  </a14:imgProps>
                </a:ext>
                <a:ext uri="{28A0092B-C50C-407E-A947-70E740481C1C}">
                  <a14:useLocalDpi xmlns:a14="http://schemas.microsoft.com/office/drawing/2010/main"/>
                </a:ext>
              </a:extLst>
            </a:blip>
            <a:srcRect l="17201" t="17835"/>
            <a:stretch>
              <a:fillRect/>
            </a:stretch>
          </p:blipFill>
          <p:spPr bwMode="black">
            <a:xfrm>
              <a:off x="6463870" y="5492989"/>
              <a:ext cx="1018711" cy="444238"/>
            </a:xfrm>
            <a:prstGeom prst="rect">
              <a:avLst/>
            </a:prstGeom>
            <a:noFill/>
            <a:ln w="9525">
              <a:noFill/>
              <a:miter lim="800000"/>
              <a:headEnd/>
              <a:tailEnd/>
            </a:ln>
            <a:effectLst/>
          </p:spPr>
        </p:pic>
        <p:grpSp>
          <p:nvGrpSpPr>
            <p:cNvPr id="31" name="Group 30"/>
            <p:cNvGrpSpPr/>
            <p:nvPr/>
          </p:nvGrpSpPr>
          <p:grpSpPr bwMode="black">
            <a:xfrm>
              <a:off x="11025618" y="5612289"/>
              <a:ext cx="1095925" cy="205639"/>
              <a:chOff x="1502088" y="4970205"/>
              <a:chExt cx="999744" cy="196837"/>
            </a:xfrm>
            <a:grpFill/>
            <a:effectLst/>
          </p:grpSpPr>
          <p:sp>
            <p:nvSpPr>
              <p:cNvPr id="145"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46"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47"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48"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49"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32" name="Group 31"/>
            <p:cNvGrpSpPr/>
            <p:nvPr/>
          </p:nvGrpSpPr>
          <p:grpSpPr bwMode="black">
            <a:xfrm>
              <a:off x="3268560" y="5573065"/>
              <a:ext cx="921062" cy="284088"/>
              <a:chOff x="8632347" y="6167032"/>
              <a:chExt cx="840228" cy="271928"/>
            </a:xfrm>
            <a:grpFill/>
            <a:effectLst/>
          </p:grpSpPr>
          <p:sp>
            <p:nvSpPr>
              <p:cNvPr id="142"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43"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44"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33" name="Group 32"/>
            <p:cNvGrpSpPr/>
            <p:nvPr/>
          </p:nvGrpSpPr>
          <p:grpSpPr bwMode="black">
            <a:xfrm>
              <a:off x="9622050" y="5585125"/>
              <a:ext cx="727681" cy="259968"/>
              <a:chOff x="11218145" y="6191686"/>
              <a:chExt cx="663815" cy="248839"/>
            </a:xfrm>
            <a:grpFill/>
            <a:effectLst/>
          </p:grpSpPr>
          <p:sp>
            <p:nvSpPr>
              <p:cNvPr id="13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3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3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3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4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4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34" name="Group 33"/>
            <p:cNvGrpSpPr/>
            <p:nvPr/>
          </p:nvGrpSpPr>
          <p:grpSpPr bwMode="black">
            <a:xfrm>
              <a:off x="4865508" y="5578778"/>
              <a:ext cx="922476" cy="272663"/>
              <a:chOff x="1471737" y="6192453"/>
              <a:chExt cx="841520" cy="260991"/>
            </a:xfrm>
            <a:grpFill/>
            <a:effectLst/>
          </p:grpSpPr>
          <p:sp>
            <p:nvSpPr>
              <p:cNvPr id="12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3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3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3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3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3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3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35" name="Group 34"/>
            <p:cNvGrpSpPr/>
            <p:nvPr/>
          </p:nvGrpSpPr>
          <p:grpSpPr bwMode="black">
            <a:xfrm>
              <a:off x="8158469" y="5559098"/>
              <a:ext cx="787695" cy="312023"/>
              <a:chOff x="7844547" y="4357855"/>
              <a:chExt cx="718565" cy="298667"/>
            </a:xfrm>
            <a:grpFill/>
            <a:effectLst/>
          </p:grpSpPr>
          <p:sp>
            <p:nvSpPr>
              <p:cNvPr id="125"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26"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27"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28" name="Oval 127"/>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9" name="Group 8"/>
            <p:cNvGrpSpPr/>
            <p:nvPr/>
          </p:nvGrpSpPr>
          <p:grpSpPr bwMode="black">
            <a:xfrm>
              <a:off x="390561" y="4774990"/>
              <a:ext cx="11611503" cy="266945"/>
              <a:chOff x="390561" y="4715816"/>
              <a:chExt cx="11611501" cy="266945"/>
            </a:xfrm>
            <a:grpFill/>
          </p:grpSpPr>
          <p:grpSp>
            <p:nvGrpSpPr>
              <p:cNvPr id="17" name="Group 16"/>
              <p:cNvGrpSpPr/>
              <p:nvPr/>
            </p:nvGrpSpPr>
            <p:grpSpPr bwMode="black">
              <a:xfrm>
                <a:off x="9891651" y="4754628"/>
                <a:ext cx="949669" cy="189320"/>
                <a:chOff x="5513886" y="4978012"/>
                <a:chExt cx="866327" cy="181218"/>
              </a:xfrm>
              <a:grpFill/>
              <a:effectLst/>
            </p:grpSpPr>
            <p:sp>
              <p:nvSpPr>
                <p:cNvPr id="248"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49"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50"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51"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52" name="Freeform 2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53" name="Freeform 2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54" name="Freeform 2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18" name="Group 17"/>
              <p:cNvGrpSpPr/>
              <p:nvPr/>
            </p:nvGrpSpPr>
            <p:grpSpPr bwMode="black">
              <a:xfrm>
                <a:off x="11368425" y="4763211"/>
                <a:ext cx="633637" cy="172154"/>
                <a:chOff x="4664767" y="4986232"/>
                <a:chExt cx="578026" cy="164783"/>
              </a:xfrm>
              <a:grpFill/>
              <a:effectLst/>
            </p:grpSpPr>
            <p:sp>
              <p:nvSpPr>
                <p:cNvPr id="243"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44"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45"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46"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47"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19" name="Group 18"/>
              <p:cNvGrpSpPr/>
              <p:nvPr/>
            </p:nvGrpSpPr>
            <p:grpSpPr bwMode="black">
              <a:xfrm>
                <a:off x="8221636" y="4715816"/>
                <a:ext cx="1142912" cy="266945"/>
                <a:chOff x="3393928" y="4967561"/>
                <a:chExt cx="999744" cy="202126"/>
              </a:xfrm>
              <a:grpFill/>
              <a:effectLst/>
            </p:grpSpPr>
            <p:sp>
              <p:nvSpPr>
                <p:cNvPr id="234"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35"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36"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37"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38"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39"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40"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41"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42"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36" name="Group 35"/>
              <p:cNvGrpSpPr/>
              <p:nvPr/>
            </p:nvGrpSpPr>
            <p:grpSpPr bwMode="black">
              <a:xfrm>
                <a:off x="5834644" y="4745853"/>
                <a:ext cx="839630" cy="206870"/>
                <a:chOff x="4872260" y="5575584"/>
                <a:chExt cx="765942" cy="198016"/>
              </a:xfrm>
              <a:grpFill/>
              <a:effectLst/>
            </p:grpSpPr>
            <p:sp>
              <p:nvSpPr>
                <p:cNvPr id="120"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21"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22"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23"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24"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37" name="Group 36"/>
              <p:cNvGrpSpPr/>
              <p:nvPr/>
            </p:nvGrpSpPr>
            <p:grpSpPr bwMode="black">
              <a:xfrm>
                <a:off x="4146646" y="4763215"/>
                <a:ext cx="1160895" cy="172147"/>
                <a:chOff x="6018781" y="5575586"/>
                <a:chExt cx="1059017" cy="164779"/>
              </a:xfrm>
              <a:grpFill/>
              <a:effectLst/>
            </p:grpSpPr>
            <p:sp>
              <p:nvSpPr>
                <p:cNvPr id="112"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13"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14"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15"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16"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17"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18"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19"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38" name="Group 37"/>
              <p:cNvGrpSpPr/>
              <p:nvPr/>
            </p:nvGrpSpPr>
            <p:grpSpPr bwMode="black">
              <a:xfrm>
                <a:off x="390561" y="4751931"/>
                <a:ext cx="615725" cy="194714"/>
                <a:chOff x="10238410" y="4967852"/>
                <a:chExt cx="561691" cy="186381"/>
              </a:xfrm>
              <a:grpFill/>
              <a:effectLst/>
            </p:grpSpPr>
            <p:sp>
              <p:nvSpPr>
                <p:cNvPr id="107"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08"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09"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10"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11"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39" name="Group 38"/>
              <p:cNvGrpSpPr/>
              <p:nvPr/>
            </p:nvGrpSpPr>
            <p:grpSpPr bwMode="black">
              <a:xfrm>
                <a:off x="3235969" y="4750259"/>
                <a:ext cx="383574" cy="198058"/>
                <a:chOff x="2772926" y="4973833"/>
                <a:chExt cx="349910" cy="189581"/>
              </a:xfrm>
              <a:grpFill/>
              <a:effectLst/>
            </p:grpSpPr>
            <p:sp>
              <p:nvSpPr>
                <p:cNvPr id="102"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03"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04"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40" name="Group 39"/>
              <p:cNvGrpSpPr/>
              <p:nvPr/>
            </p:nvGrpSpPr>
            <p:grpSpPr bwMode="black">
              <a:xfrm>
                <a:off x="1533389" y="4757733"/>
                <a:ext cx="1175477" cy="183110"/>
                <a:chOff x="9809204" y="6215358"/>
                <a:chExt cx="1072317" cy="175273"/>
              </a:xfrm>
              <a:grpFill/>
              <a:effectLst/>
            </p:grpSpPr>
            <p:sp>
              <p:nvSpPr>
                <p:cNvPr id="94"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95"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96"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97"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98"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99"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00"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01"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41" name="Group 40"/>
              <p:cNvGrpSpPr/>
              <p:nvPr/>
            </p:nvGrpSpPr>
            <p:grpSpPr bwMode="black">
              <a:xfrm>
                <a:off x="7201377" y="4753034"/>
                <a:ext cx="493156" cy="192508"/>
                <a:chOff x="4491504" y="4454449"/>
                <a:chExt cx="449878" cy="184270"/>
              </a:xfrm>
              <a:grpFill/>
              <a:effectLst/>
            </p:grpSpPr>
            <p:sp>
              <p:nvSpPr>
                <p:cNvPr id="86"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8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9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93"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grpSp>
          <p:nvGrpSpPr>
            <p:cNvPr id="3" name="Group 2"/>
            <p:cNvGrpSpPr/>
            <p:nvPr/>
          </p:nvGrpSpPr>
          <p:grpSpPr bwMode="black">
            <a:xfrm>
              <a:off x="375989" y="3932168"/>
              <a:ext cx="11702484" cy="391766"/>
              <a:chOff x="375989" y="3429802"/>
              <a:chExt cx="11702484" cy="391765"/>
            </a:xfrm>
            <a:grpFill/>
          </p:grpSpPr>
          <p:grpSp>
            <p:nvGrpSpPr>
              <p:cNvPr id="21" name="Group 20"/>
              <p:cNvGrpSpPr/>
              <p:nvPr/>
            </p:nvGrpSpPr>
            <p:grpSpPr bwMode="black">
              <a:xfrm>
                <a:off x="9311227" y="3535906"/>
                <a:ext cx="1324715" cy="179556"/>
                <a:chOff x="3403273" y="5616873"/>
                <a:chExt cx="1088404" cy="154797"/>
              </a:xfrm>
              <a:grpFill/>
              <a:effectLst/>
            </p:grpSpPr>
            <p:sp>
              <p:nvSpPr>
                <p:cNvPr id="211"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12"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13"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14"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15"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16"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17"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18"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19"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20"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21"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22" name="Group 21"/>
              <p:cNvGrpSpPr/>
              <p:nvPr/>
            </p:nvGrpSpPr>
            <p:grpSpPr bwMode="black">
              <a:xfrm>
                <a:off x="11168532" y="3507976"/>
                <a:ext cx="909941" cy="235417"/>
                <a:chOff x="7458381" y="5575585"/>
                <a:chExt cx="830083" cy="225342"/>
              </a:xfrm>
              <a:grpFill/>
              <a:effectLst/>
            </p:grpSpPr>
            <p:sp>
              <p:nvSpPr>
                <p:cNvPr id="203"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04"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05"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06"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07"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08"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09"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10"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23" name="Group 22"/>
              <p:cNvGrpSpPr/>
              <p:nvPr/>
            </p:nvGrpSpPr>
            <p:grpSpPr bwMode="black">
              <a:xfrm>
                <a:off x="6410894" y="3510526"/>
                <a:ext cx="1001458" cy="230317"/>
                <a:chOff x="9053746" y="4958394"/>
                <a:chExt cx="913569" cy="220459"/>
              </a:xfrm>
              <a:grpFill/>
              <a:effectLst/>
            </p:grpSpPr>
            <p:sp>
              <p:nvSpPr>
                <p:cNvPr id="195"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96"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97"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98"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99"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00"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01"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202"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24" name="Group 23"/>
              <p:cNvGrpSpPr/>
              <p:nvPr/>
            </p:nvGrpSpPr>
            <p:grpSpPr bwMode="black">
              <a:xfrm>
                <a:off x="7944939" y="3467199"/>
                <a:ext cx="833701" cy="316971"/>
                <a:chOff x="6651306" y="4916921"/>
                <a:chExt cx="760536" cy="303406"/>
              </a:xfrm>
              <a:grpFill/>
              <a:effectLst/>
            </p:grpSpPr>
            <p:sp>
              <p:nvSpPr>
                <p:cNvPr id="190"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91"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92"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93"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94"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25" name="Group 24"/>
              <p:cNvGrpSpPr/>
              <p:nvPr/>
            </p:nvGrpSpPr>
            <p:grpSpPr bwMode="black">
              <a:xfrm>
                <a:off x="4444705" y="3429802"/>
                <a:ext cx="1433602" cy="391765"/>
                <a:chOff x="2649884" y="6146155"/>
                <a:chExt cx="1395225" cy="400069"/>
              </a:xfrm>
              <a:grpFill/>
              <a:effectLst/>
            </p:grpSpPr>
            <p:sp>
              <p:nvSpPr>
                <p:cNvPr id="179"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80"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81"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82"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83"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84"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85"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86"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87"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88"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89"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43" name="Group 42"/>
              <p:cNvGrpSpPr/>
              <p:nvPr/>
            </p:nvGrpSpPr>
            <p:grpSpPr bwMode="black">
              <a:xfrm>
                <a:off x="1516823" y="3513094"/>
                <a:ext cx="1190847" cy="225180"/>
                <a:chOff x="5953627" y="6205329"/>
                <a:chExt cx="1086337" cy="215543"/>
              </a:xfrm>
              <a:grpFill/>
              <a:effectLst/>
            </p:grpSpPr>
            <p:sp>
              <p:nvSpPr>
                <p:cNvPr id="65"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66"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67"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68"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69"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70"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71"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72"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73"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74"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75"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45" name="Group 44"/>
              <p:cNvGrpSpPr/>
              <p:nvPr/>
            </p:nvGrpSpPr>
            <p:grpSpPr bwMode="black">
              <a:xfrm>
                <a:off x="375989" y="3529321"/>
                <a:ext cx="608247" cy="192727"/>
                <a:chOff x="3467068" y="4450074"/>
                <a:chExt cx="621665" cy="206687"/>
              </a:xfrm>
              <a:grpFill/>
              <a:effectLst/>
            </p:grpSpPr>
            <p:sp>
              <p:nvSpPr>
                <p:cNvPr id="50"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51"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52"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53"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54"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55"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46" name="Group 45"/>
              <p:cNvGrpSpPr/>
              <p:nvPr/>
            </p:nvGrpSpPr>
            <p:grpSpPr bwMode="black">
              <a:xfrm>
                <a:off x="3240257" y="3474977"/>
                <a:ext cx="671861" cy="301415"/>
                <a:chOff x="8669045" y="5484723"/>
                <a:chExt cx="612897" cy="288514"/>
              </a:xfrm>
              <a:grpFill/>
              <a:effectLst/>
            </p:grpSpPr>
            <p:sp>
              <p:nvSpPr>
                <p:cNvPr id="48"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49"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grpSp>
          <p:nvGrpSpPr>
            <p:cNvPr id="11" name="Group 10"/>
            <p:cNvGrpSpPr/>
            <p:nvPr/>
          </p:nvGrpSpPr>
          <p:grpSpPr bwMode="black">
            <a:xfrm>
              <a:off x="372716" y="3104954"/>
              <a:ext cx="11728833" cy="376155"/>
              <a:chOff x="372716" y="2850369"/>
              <a:chExt cx="11728833" cy="376155"/>
            </a:xfrm>
            <a:grpFill/>
          </p:grpSpPr>
          <p:grpSp>
            <p:nvGrpSpPr>
              <p:cNvPr id="26" name="Group 25"/>
              <p:cNvGrpSpPr/>
              <p:nvPr/>
            </p:nvGrpSpPr>
            <p:grpSpPr bwMode="black">
              <a:xfrm>
                <a:off x="2251307" y="2949523"/>
                <a:ext cx="1150710" cy="177847"/>
                <a:chOff x="891372" y="5611865"/>
                <a:chExt cx="1049726" cy="170236"/>
              </a:xfrm>
              <a:grpFill/>
              <a:effectLst/>
            </p:grpSpPr>
            <p:sp>
              <p:nvSpPr>
                <p:cNvPr id="170" name="Freeform 32"/>
                <p:cNvSpPr>
                  <a:spLocks/>
                </p:cNvSpPr>
                <p:nvPr/>
              </p:nvSpPr>
              <p:spPr bwMode="black">
                <a:xfrm>
                  <a:off x="891372" y="5618359"/>
                  <a:ext cx="93741" cy="163723"/>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71" name="Freeform 33"/>
                <p:cNvSpPr>
                  <a:spLocks noEditPoints="1"/>
                </p:cNvSpPr>
                <p:nvPr/>
              </p:nvSpPr>
              <p:spPr bwMode="black">
                <a:xfrm>
                  <a:off x="996776" y="5663717"/>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72" name="Rectangle 34"/>
                <p:cNvSpPr>
                  <a:spLocks noChangeArrowheads="1"/>
                </p:cNvSpPr>
                <p:nvPr/>
              </p:nvSpPr>
              <p:spPr bwMode="black">
                <a:xfrm>
                  <a:off x="1115574" y="5611865"/>
                  <a:ext cx="25055" cy="167179"/>
                </a:xfrm>
                <a:prstGeom prst="rect">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73" name="Freeform 35"/>
                <p:cNvSpPr>
                  <a:spLocks noEditPoints="1"/>
                </p:cNvSpPr>
                <p:nvPr/>
              </p:nvSpPr>
              <p:spPr bwMode="black">
                <a:xfrm>
                  <a:off x="1160932" y="5663704"/>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74" name="Freeform 36"/>
                <p:cNvSpPr>
                  <a:spLocks/>
                </p:cNvSpPr>
                <p:nvPr/>
              </p:nvSpPr>
              <p:spPr bwMode="black">
                <a:xfrm>
                  <a:off x="1279298" y="5663704"/>
                  <a:ext cx="168044" cy="115340"/>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75" name="Freeform 37"/>
                <p:cNvSpPr>
                  <a:spLocks noEditPoints="1"/>
                </p:cNvSpPr>
                <p:nvPr/>
              </p:nvSpPr>
              <p:spPr bwMode="black">
                <a:xfrm>
                  <a:off x="1464189" y="5663704"/>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76" name="Freeform 38"/>
                <p:cNvSpPr>
                  <a:spLocks/>
                </p:cNvSpPr>
                <p:nvPr/>
              </p:nvSpPr>
              <p:spPr bwMode="black">
                <a:xfrm>
                  <a:off x="1571320" y="5632170"/>
                  <a:ext cx="71278" cy="149899"/>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77" name="Freeform 39"/>
                <p:cNvSpPr>
                  <a:spLocks noEditPoints="1"/>
                </p:cNvSpPr>
                <p:nvPr/>
              </p:nvSpPr>
              <p:spPr bwMode="black">
                <a:xfrm>
                  <a:off x="1721653" y="5621380"/>
                  <a:ext cx="104541" cy="157675"/>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78"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27" name="Group 26"/>
              <p:cNvGrpSpPr/>
              <p:nvPr/>
            </p:nvGrpSpPr>
            <p:grpSpPr bwMode="black">
              <a:xfrm>
                <a:off x="4074962" y="2862702"/>
                <a:ext cx="1007549" cy="351489"/>
                <a:chOff x="7376591" y="6134773"/>
                <a:chExt cx="919129" cy="336446"/>
              </a:xfrm>
              <a:grpFill/>
              <a:effectLst/>
            </p:grpSpPr>
            <p:sp>
              <p:nvSpPr>
                <p:cNvPr id="163"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64"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65"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66"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67"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68"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69"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28" name="Group 27"/>
              <p:cNvGrpSpPr/>
              <p:nvPr/>
            </p:nvGrpSpPr>
            <p:grpSpPr bwMode="black">
              <a:xfrm>
                <a:off x="5755456" y="2850369"/>
                <a:ext cx="612408" cy="376155"/>
                <a:chOff x="2481885" y="4360116"/>
                <a:chExt cx="558662" cy="360056"/>
              </a:xfrm>
              <a:grpFill/>
              <a:effectLst/>
            </p:grpSpPr>
            <p:sp>
              <p:nvSpPr>
                <p:cNvPr id="156"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57"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58"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59"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60"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61"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62"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29" name="Group 28"/>
              <p:cNvGrpSpPr/>
              <p:nvPr/>
            </p:nvGrpSpPr>
            <p:grpSpPr bwMode="black">
              <a:xfrm>
                <a:off x="7040809" y="2941328"/>
                <a:ext cx="712349" cy="194236"/>
                <a:chOff x="6791943" y="4414224"/>
                <a:chExt cx="649833" cy="185924"/>
              </a:xfrm>
              <a:grpFill/>
              <a:effectLst/>
            </p:grpSpPr>
            <p:sp>
              <p:nvSpPr>
                <p:cNvPr id="150"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51"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52"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53"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54"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155"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42" name="Group 41"/>
              <p:cNvGrpSpPr/>
              <p:nvPr/>
            </p:nvGrpSpPr>
            <p:grpSpPr bwMode="black">
              <a:xfrm>
                <a:off x="10305413" y="2946933"/>
                <a:ext cx="1796136" cy="183026"/>
                <a:chOff x="9662524" y="5603535"/>
                <a:chExt cx="1748299" cy="186932"/>
              </a:xfrm>
              <a:grpFill/>
              <a:effectLst/>
            </p:grpSpPr>
            <p:sp>
              <p:nvSpPr>
                <p:cNvPr id="76"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77"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78"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79"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80"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81"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82"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83"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84"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85"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grpSp>
            <p:nvGrpSpPr>
              <p:cNvPr id="44" name="Group 43"/>
              <p:cNvGrpSpPr/>
              <p:nvPr/>
            </p:nvGrpSpPr>
            <p:grpSpPr bwMode="black">
              <a:xfrm>
                <a:off x="8426103" y="2919978"/>
                <a:ext cx="1206364" cy="236936"/>
                <a:chOff x="4381738" y="6174707"/>
                <a:chExt cx="1235264" cy="254570"/>
              </a:xfrm>
              <a:grpFill/>
              <a:effectLst/>
            </p:grpSpPr>
            <p:sp>
              <p:nvSpPr>
                <p:cNvPr id="56"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57"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58"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59"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60"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61"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62"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63"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sp>
              <p:nvSpPr>
                <p:cNvPr id="64"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defRPr/>
                  </a:pPr>
                  <a:endParaRPr lang="en-US" sz="1200" kern="0">
                    <a:gradFill>
                      <a:gsLst>
                        <a:gs pos="0">
                          <a:srgbClr val="FFFFFF"/>
                        </a:gs>
                        <a:gs pos="50000">
                          <a:srgbClr val="F0D77C"/>
                        </a:gs>
                        <a:gs pos="100000">
                          <a:srgbClr val="E3A535"/>
                        </a:gs>
                      </a:gsLst>
                      <a:lin ang="10800000" scaled="1"/>
                    </a:gradFill>
                  </a:endParaRPr>
                </a:p>
              </p:txBody>
            </p:sp>
          </p:grpSp>
          <p:sp>
            <p:nvSpPr>
              <p:cNvPr id="47" name="Freeform 236"/>
              <p:cNvSpPr>
                <a:spLocks noEditPoints="1"/>
              </p:cNvSpPr>
              <p:nvPr/>
            </p:nvSpPr>
            <p:spPr bwMode="black">
              <a:xfrm rot="16200000">
                <a:off x="854676" y="2435623"/>
                <a:ext cx="241726" cy="1205646"/>
              </a:xfrm>
              <a:custGeom>
                <a:avLst/>
                <a:gdLst>
                  <a:gd name="T0" fmla="*/ 28 w 103"/>
                  <a:gd name="T1" fmla="*/ 6 h 512"/>
                  <a:gd name="T2" fmla="*/ 52 w 103"/>
                  <a:gd name="T3" fmla="*/ 12 h 512"/>
                  <a:gd name="T4" fmla="*/ 64 w 103"/>
                  <a:gd name="T5" fmla="*/ 2 h 512"/>
                  <a:gd name="T6" fmla="*/ 76 w 103"/>
                  <a:gd name="T7" fmla="*/ 37 h 512"/>
                  <a:gd name="T8" fmla="*/ 63 w 103"/>
                  <a:gd name="T9" fmla="*/ 14 h 512"/>
                  <a:gd name="T10" fmla="*/ 56 w 103"/>
                  <a:gd name="T11" fmla="*/ 33 h 512"/>
                  <a:gd name="T12" fmla="*/ 40 w 103"/>
                  <a:gd name="T13" fmla="*/ 12 h 512"/>
                  <a:gd name="T14" fmla="*/ 36 w 103"/>
                  <a:gd name="T15" fmla="*/ 40 h 512"/>
                  <a:gd name="T16" fmla="*/ 66 w 103"/>
                  <a:gd name="T17" fmla="*/ 51 h 512"/>
                  <a:gd name="T18" fmla="*/ 77 w 103"/>
                  <a:gd name="T19" fmla="*/ 44 h 512"/>
                  <a:gd name="T20" fmla="*/ 62 w 103"/>
                  <a:gd name="T21" fmla="*/ 63 h 512"/>
                  <a:gd name="T22" fmla="*/ 37 w 103"/>
                  <a:gd name="T23" fmla="*/ 84 h 512"/>
                  <a:gd name="T24" fmla="*/ 77 w 103"/>
                  <a:gd name="T25" fmla="*/ 93 h 512"/>
                  <a:gd name="T26" fmla="*/ 24 w 103"/>
                  <a:gd name="T27" fmla="*/ 75 h 512"/>
                  <a:gd name="T28" fmla="*/ 60 w 103"/>
                  <a:gd name="T29" fmla="*/ 52 h 512"/>
                  <a:gd name="T30" fmla="*/ 4 w 103"/>
                  <a:gd name="T31" fmla="*/ 146 h 512"/>
                  <a:gd name="T32" fmla="*/ 1 w 103"/>
                  <a:gd name="T33" fmla="*/ 116 h 512"/>
                  <a:gd name="T34" fmla="*/ 61 w 103"/>
                  <a:gd name="T35" fmla="*/ 117 h 512"/>
                  <a:gd name="T36" fmla="*/ 78 w 103"/>
                  <a:gd name="T37" fmla="*/ 106 h 512"/>
                  <a:gd name="T38" fmla="*/ 70 w 103"/>
                  <a:gd name="T39" fmla="*/ 125 h 512"/>
                  <a:gd name="T40" fmla="*/ 77 w 103"/>
                  <a:gd name="T41" fmla="*/ 157 h 512"/>
                  <a:gd name="T42" fmla="*/ 10 w 103"/>
                  <a:gd name="T43" fmla="*/ 156 h 512"/>
                  <a:gd name="T44" fmla="*/ 66 w 103"/>
                  <a:gd name="T45" fmla="*/ 204 h 512"/>
                  <a:gd name="T46" fmla="*/ 70 w 103"/>
                  <a:gd name="T47" fmla="*/ 168 h 512"/>
                  <a:gd name="T48" fmla="*/ 24 w 103"/>
                  <a:gd name="T49" fmla="*/ 183 h 512"/>
                  <a:gd name="T50" fmla="*/ 24 w 103"/>
                  <a:gd name="T51" fmla="*/ 215 h 512"/>
                  <a:gd name="T52" fmla="*/ 34 w 103"/>
                  <a:gd name="T53" fmla="*/ 219 h 512"/>
                  <a:gd name="T54" fmla="*/ 77 w 103"/>
                  <a:gd name="T55" fmla="*/ 220 h 512"/>
                  <a:gd name="T56" fmla="*/ 52 w 103"/>
                  <a:gd name="T57" fmla="*/ 200 h 512"/>
                  <a:gd name="T58" fmla="*/ 33 w 103"/>
                  <a:gd name="T59" fmla="*/ 185 h 512"/>
                  <a:gd name="T60" fmla="*/ 64 w 103"/>
                  <a:gd name="T61" fmla="*/ 177 h 512"/>
                  <a:gd name="T62" fmla="*/ 52 w 103"/>
                  <a:gd name="T63" fmla="*/ 200 h 512"/>
                  <a:gd name="T64" fmla="*/ 5 w 103"/>
                  <a:gd name="T65" fmla="*/ 230 h 512"/>
                  <a:gd name="T66" fmla="*/ 29 w 103"/>
                  <a:gd name="T67" fmla="*/ 242 h 512"/>
                  <a:gd name="T68" fmla="*/ 52 w 103"/>
                  <a:gd name="T69" fmla="*/ 281 h 512"/>
                  <a:gd name="T70" fmla="*/ 71 w 103"/>
                  <a:gd name="T71" fmla="*/ 237 h 512"/>
                  <a:gd name="T72" fmla="*/ 33 w 103"/>
                  <a:gd name="T73" fmla="*/ 255 h 512"/>
                  <a:gd name="T74" fmla="*/ 52 w 103"/>
                  <a:gd name="T75" fmla="*/ 242 h 512"/>
                  <a:gd name="T76" fmla="*/ 64 w 103"/>
                  <a:gd name="T77" fmla="*/ 265 h 512"/>
                  <a:gd name="T78" fmla="*/ 40 w 103"/>
                  <a:gd name="T79" fmla="*/ 294 h 512"/>
                  <a:gd name="T80" fmla="*/ 41 w 103"/>
                  <a:gd name="T81" fmla="*/ 306 h 512"/>
                  <a:gd name="T82" fmla="*/ 26 w 103"/>
                  <a:gd name="T83" fmla="*/ 315 h 512"/>
                  <a:gd name="T84" fmla="*/ 24 w 103"/>
                  <a:gd name="T85" fmla="*/ 347 h 512"/>
                  <a:gd name="T86" fmla="*/ 68 w 103"/>
                  <a:gd name="T87" fmla="*/ 365 h 512"/>
                  <a:gd name="T88" fmla="*/ 77 w 103"/>
                  <a:gd name="T89" fmla="*/ 348 h 512"/>
                  <a:gd name="T90" fmla="*/ 50 w 103"/>
                  <a:gd name="T91" fmla="*/ 360 h 512"/>
                  <a:gd name="T92" fmla="*/ 38 w 103"/>
                  <a:gd name="T93" fmla="*/ 337 h 512"/>
                  <a:gd name="T94" fmla="*/ 68 w 103"/>
                  <a:gd name="T95" fmla="*/ 354 h 512"/>
                  <a:gd name="T96" fmla="*/ 41 w 103"/>
                  <a:gd name="T97" fmla="*/ 412 h 512"/>
                  <a:gd name="T98" fmla="*/ 26 w 103"/>
                  <a:gd name="T99" fmla="*/ 424 h 512"/>
                  <a:gd name="T100" fmla="*/ 68 w 103"/>
                  <a:gd name="T101" fmla="*/ 401 h 512"/>
                  <a:gd name="T102" fmla="*/ 73 w 103"/>
                  <a:gd name="T103" fmla="*/ 382 h 512"/>
                  <a:gd name="T104" fmla="*/ 68 w 103"/>
                  <a:gd name="T105" fmla="*/ 432 h 512"/>
                  <a:gd name="T106" fmla="*/ 24 w 103"/>
                  <a:gd name="T107" fmla="*/ 459 h 512"/>
                  <a:gd name="T108" fmla="*/ 77 w 103"/>
                  <a:gd name="T109" fmla="*/ 444 h 512"/>
                  <a:gd name="T110" fmla="*/ 37 w 103"/>
                  <a:gd name="T111" fmla="*/ 452 h 512"/>
                  <a:gd name="T112" fmla="*/ 63 w 103"/>
                  <a:gd name="T113" fmla="*/ 469 h 512"/>
                  <a:gd name="T114" fmla="*/ 34 w 103"/>
                  <a:gd name="T115" fmla="*/ 491 h 512"/>
                  <a:gd name="T116" fmla="*/ 77 w 103"/>
                  <a:gd name="T117" fmla="*/ 493 h 512"/>
                  <a:gd name="T118" fmla="*/ 30 w 103"/>
                  <a:gd name="T119" fmla="*/ 507 h 512"/>
                  <a:gd name="T120" fmla="*/ 103 w 103"/>
                  <a:gd name="T121" fmla="*/ 485 h 512"/>
                  <a:gd name="T122" fmla="*/ 103 w 103"/>
                  <a:gd name="T123" fmla="*/ 4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512">
                    <a:moveTo>
                      <a:pt x="26" y="40"/>
                    </a:moveTo>
                    <a:cubicBezTo>
                      <a:pt x="24" y="35"/>
                      <a:pt x="24" y="29"/>
                      <a:pt x="24" y="22"/>
                    </a:cubicBezTo>
                    <a:cubicBezTo>
                      <a:pt x="24" y="15"/>
                      <a:pt x="25" y="10"/>
                      <a:pt x="28" y="6"/>
                    </a:cubicBezTo>
                    <a:cubicBezTo>
                      <a:pt x="31" y="2"/>
                      <a:pt x="34" y="0"/>
                      <a:pt x="39" y="0"/>
                    </a:cubicBezTo>
                    <a:cubicBezTo>
                      <a:pt x="42" y="0"/>
                      <a:pt x="45" y="1"/>
                      <a:pt x="47" y="3"/>
                    </a:cubicBezTo>
                    <a:cubicBezTo>
                      <a:pt x="50" y="6"/>
                      <a:pt x="51" y="9"/>
                      <a:pt x="52" y="12"/>
                    </a:cubicBezTo>
                    <a:cubicBezTo>
                      <a:pt x="52" y="12"/>
                      <a:pt x="52" y="12"/>
                      <a:pt x="52" y="12"/>
                    </a:cubicBezTo>
                    <a:cubicBezTo>
                      <a:pt x="53" y="9"/>
                      <a:pt x="54" y="7"/>
                      <a:pt x="56" y="5"/>
                    </a:cubicBezTo>
                    <a:cubicBezTo>
                      <a:pt x="58" y="3"/>
                      <a:pt x="61" y="2"/>
                      <a:pt x="64" y="2"/>
                    </a:cubicBezTo>
                    <a:cubicBezTo>
                      <a:pt x="68" y="2"/>
                      <a:pt x="72" y="4"/>
                      <a:pt x="75" y="8"/>
                    </a:cubicBezTo>
                    <a:cubicBezTo>
                      <a:pt x="77" y="11"/>
                      <a:pt x="79" y="16"/>
                      <a:pt x="79" y="23"/>
                    </a:cubicBezTo>
                    <a:cubicBezTo>
                      <a:pt x="79" y="28"/>
                      <a:pt x="78" y="33"/>
                      <a:pt x="76" y="37"/>
                    </a:cubicBezTo>
                    <a:cubicBezTo>
                      <a:pt x="66" y="37"/>
                      <a:pt x="66" y="37"/>
                      <a:pt x="66" y="37"/>
                    </a:cubicBezTo>
                    <a:cubicBezTo>
                      <a:pt x="69" y="33"/>
                      <a:pt x="70" y="28"/>
                      <a:pt x="70" y="24"/>
                    </a:cubicBezTo>
                    <a:cubicBezTo>
                      <a:pt x="70" y="17"/>
                      <a:pt x="68" y="14"/>
                      <a:pt x="63" y="14"/>
                    </a:cubicBezTo>
                    <a:cubicBezTo>
                      <a:pt x="61" y="14"/>
                      <a:pt x="59" y="15"/>
                      <a:pt x="58" y="18"/>
                    </a:cubicBezTo>
                    <a:cubicBezTo>
                      <a:pt x="57" y="20"/>
                      <a:pt x="56" y="23"/>
                      <a:pt x="56" y="27"/>
                    </a:cubicBezTo>
                    <a:cubicBezTo>
                      <a:pt x="56" y="29"/>
                      <a:pt x="56" y="31"/>
                      <a:pt x="56" y="33"/>
                    </a:cubicBezTo>
                    <a:cubicBezTo>
                      <a:pt x="47" y="33"/>
                      <a:pt x="47" y="33"/>
                      <a:pt x="47" y="33"/>
                    </a:cubicBezTo>
                    <a:cubicBezTo>
                      <a:pt x="47" y="30"/>
                      <a:pt x="48" y="28"/>
                      <a:pt x="48" y="25"/>
                    </a:cubicBezTo>
                    <a:cubicBezTo>
                      <a:pt x="48" y="16"/>
                      <a:pt x="45" y="12"/>
                      <a:pt x="40" y="12"/>
                    </a:cubicBezTo>
                    <a:cubicBezTo>
                      <a:pt x="38" y="12"/>
                      <a:pt x="36" y="13"/>
                      <a:pt x="34" y="15"/>
                    </a:cubicBezTo>
                    <a:cubicBezTo>
                      <a:pt x="33" y="17"/>
                      <a:pt x="32" y="20"/>
                      <a:pt x="32" y="24"/>
                    </a:cubicBezTo>
                    <a:cubicBezTo>
                      <a:pt x="32" y="30"/>
                      <a:pt x="34" y="35"/>
                      <a:pt x="36" y="40"/>
                    </a:cubicBezTo>
                    <a:lnTo>
                      <a:pt x="26" y="40"/>
                    </a:lnTo>
                    <a:close/>
                    <a:moveTo>
                      <a:pt x="60" y="52"/>
                    </a:moveTo>
                    <a:cubicBezTo>
                      <a:pt x="63" y="52"/>
                      <a:pt x="65" y="51"/>
                      <a:pt x="66" y="51"/>
                    </a:cubicBezTo>
                    <a:cubicBezTo>
                      <a:pt x="68" y="50"/>
                      <a:pt x="68" y="49"/>
                      <a:pt x="68" y="47"/>
                    </a:cubicBezTo>
                    <a:cubicBezTo>
                      <a:pt x="68" y="46"/>
                      <a:pt x="68" y="45"/>
                      <a:pt x="68" y="44"/>
                    </a:cubicBezTo>
                    <a:cubicBezTo>
                      <a:pt x="77" y="44"/>
                      <a:pt x="77" y="44"/>
                      <a:pt x="77" y="44"/>
                    </a:cubicBezTo>
                    <a:cubicBezTo>
                      <a:pt x="78" y="46"/>
                      <a:pt x="78" y="49"/>
                      <a:pt x="78" y="51"/>
                    </a:cubicBezTo>
                    <a:cubicBezTo>
                      <a:pt x="78" y="56"/>
                      <a:pt x="77" y="59"/>
                      <a:pt x="74" y="61"/>
                    </a:cubicBezTo>
                    <a:cubicBezTo>
                      <a:pt x="72" y="63"/>
                      <a:pt x="68" y="63"/>
                      <a:pt x="62" y="63"/>
                    </a:cubicBezTo>
                    <a:cubicBezTo>
                      <a:pt x="49" y="63"/>
                      <a:pt x="49" y="63"/>
                      <a:pt x="49" y="63"/>
                    </a:cubicBezTo>
                    <a:cubicBezTo>
                      <a:pt x="39" y="63"/>
                      <a:pt x="34" y="67"/>
                      <a:pt x="34" y="76"/>
                    </a:cubicBezTo>
                    <a:cubicBezTo>
                      <a:pt x="34" y="79"/>
                      <a:pt x="35" y="82"/>
                      <a:pt x="37" y="84"/>
                    </a:cubicBezTo>
                    <a:cubicBezTo>
                      <a:pt x="40" y="86"/>
                      <a:pt x="44" y="87"/>
                      <a:pt x="49" y="87"/>
                    </a:cubicBezTo>
                    <a:cubicBezTo>
                      <a:pt x="59" y="87"/>
                      <a:pt x="68" y="85"/>
                      <a:pt x="77" y="81"/>
                    </a:cubicBezTo>
                    <a:cubicBezTo>
                      <a:pt x="77" y="93"/>
                      <a:pt x="77" y="93"/>
                      <a:pt x="77" y="93"/>
                    </a:cubicBezTo>
                    <a:cubicBezTo>
                      <a:pt x="69" y="97"/>
                      <a:pt x="59" y="99"/>
                      <a:pt x="49" y="99"/>
                    </a:cubicBezTo>
                    <a:cubicBezTo>
                      <a:pt x="41" y="99"/>
                      <a:pt x="35" y="97"/>
                      <a:pt x="30" y="93"/>
                    </a:cubicBezTo>
                    <a:cubicBezTo>
                      <a:pt x="26" y="89"/>
                      <a:pt x="24" y="83"/>
                      <a:pt x="24" y="75"/>
                    </a:cubicBezTo>
                    <a:cubicBezTo>
                      <a:pt x="24" y="68"/>
                      <a:pt x="26" y="62"/>
                      <a:pt x="30" y="58"/>
                    </a:cubicBezTo>
                    <a:cubicBezTo>
                      <a:pt x="34" y="54"/>
                      <a:pt x="40" y="52"/>
                      <a:pt x="47" y="52"/>
                    </a:cubicBezTo>
                    <a:lnTo>
                      <a:pt x="60" y="52"/>
                    </a:lnTo>
                    <a:close/>
                    <a:moveTo>
                      <a:pt x="1" y="160"/>
                    </a:moveTo>
                    <a:cubicBezTo>
                      <a:pt x="1" y="158"/>
                      <a:pt x="0" y="156"/>
                      <a:pt x="0" y="154"/>
                    </a:cubicBezTo>
                    <a:cubicBezTo>
                      <a:pt x="0" y="151"/>
                      <a:pt x="1" y="148"/>
                      <a:pt x="4" y="146"/>
                    </a:cubicBezTo>
                    <a:cubicBezTo>
                      <a:pt x="6" y="144"/>
                      <a:pt x="9" y="141"/>
                      <a:pt x="15" y="139"/>
                    </a:cubicBezTo>
                    <a:cubicBezTo>
                      <a:pt x="32" y="131"/>
                      <a:pt x="32" y="131"/>
                      <a:pt x="32" y="131"/>
                    </a:cubicBezTo>
                    <a:cubicBezTo>
                      <a:pt x="1" y="116"/>
                      <a:pt x="1" y="116"/>
                      <a:pt x="1" y="116"/>
                    </a:cubicBezTo>
                    <a:cubicBezTo>
                      <a:pt x="1" y="103"/>
                      <a:pt x="1" y="103"/>
                      <a:pt x="1" y="103"/>
                    </a:cubicBezTo>
                    <a:cubicBezTo>
                      <a:pt x="43" y="126"/>
                      <a:pt x="43" y="126"/>
                      <a:pt x="43" y="126"/>
                    </a:cubicBezTo>
                    <a:cubicBezTo>
                      <a:pt x="61" y="117"/>
                      <a:pt x="61" y="117"/>
                      <a:pt x="61" y="117"/>
                    </a:cubicBezTo>
                    <a:cubicBezTo>
                      <a:pt x="66" y="115"/>
                      <a:pt x="69" y="113"/>
                      <a:pt x="69" y="111"/>
                    </a:cubicBezTo>
                    <a:cubicBezTo>
                      <a:pt x="69" y="109"/>
                      <a:pt x="68" y="107"/>
                      <a:pt x="68" y="106"/>
                    </a:cubicBezTo>
                    <a:cubicBezTo>
                      <a:pt x="78" y="106"/>
                      <a:pt x="78" y="106"/>
                      <a:pt x="78" y="106"/>
                    </a:cubicBezTo>
                    <a:cubicBezTo>
                      <a:pt x="78" y="107"/>
                      <a:pt x="79" y="109"/>
                      <a:pt x="79" y="112"/>
                    </a:cubicBezTo>
                    <a:cubicBezTo>
                      <a:pt x="79" y="115"/>
                      <a:pt x="78" y="118"/>
                      <a:pt x="77" y="119"/>
                    </a:cubicBezTo>
                    <a:cubicBezTo>
                      <a:pt x="75" y="121"/>
                      <a:pt x="73" y="123"/>
                      <a:pt x="70" y="125"/>
                    </a:cubicBezTo>
                    <a:cubicBezTo>
                      <a:pt x="53" y="132"/>
                      <a:pt x="53" y="132"/>
                      <a:pt x="53" y="132"/>
                    </a:cubicBezTo>
                    <a:cubicBezTo>
                      <a:pt x="77" y="144"/>
                      <a:pt x="77" y="144"/>
                      <a:pt x="77" y="144"/>
                    </a:cubicBezTo>
                    <a:cubicBezTo>
                      <a:pt x="77" y="157"/>
                      <a:pt x="77" y="157"/>
                      <a:pt x="77" y="157"/>
                    </a:cubicBezTo>
                    <a:cubicBezTo>
                      <a:pt x="42" y="138"/>
                      <a:pt x="42" y="138"/>
                      <a:pt x="42" y="138"/>
                    </a:cubicBezTo>
                    <a:cubicBezTo>
                      <a:pt x="17" y="149"/>
                      <a:pt x="17" y="149"/>
                      <a:pt x="17" y="149"/>
                    </a:cubicBezTo>
                    <a:cubicBezTo>
                      <a:pt x="13" y="151"/>
                      <a:pt x="10" y="153"/>
                      <a:pt x="10" y="156"/>
                    </a:cubicBezTo>
                    <a:cubicBezTo>
                      <a:pt x="10" y="157"/>
                      <a:pt x="11" y="159"/>
                      <a:pt x="11" y="160"/>
                    </a:cubicBezTo>
                    <a:lnTo>
                      <a:pt x="1" y="160"/>
                    </a:lnTo>
                    <a:close/>
                    <a:moveTo>
                      <a:pt x="66" y="204"/>
                    </a:moveTo>
                    <a:cubicBezTo>
                      <a:pt x="70" y="202"/>
                      <a:pt x="73" y="200"/>
                      <a:pt x="75" y="197"/>
                    </a:cubicBezTo>
                    <a:cubicBezTo>
                      <a:pt x="77" y="194"/>
                      <a:pt x="79" y="190"/>
                      <a:pt x="79" y="186"/>
                    </a:cubicBezTo>
                    <a:cubicBezTo>
                      <a:pt x="79" y="179"/>
                      <a:pt x="76" y="173"/>
                      <a:pt x="70" y="168"/>
                    </a:cubicBezTo>
                    <a:cubicBezTo>
                      <a:pt x="65" y="164"/>
                      <a:pt x="58" y="162"/>
                      <a:pt x="50" y="162"/>
                    </a:cubicBezTo>
                    <a:cubicBezTo>
                      <a:pt x="42" y="162"/>
                      <a:pt x="36" y="164"/>
                      <a:pt x="31" y="167"/>
                    </a:cubicBezTo>
                    <a:cubicBezTo>
                      <a:pt x="26" y="171"/>
                      <a:pt x="24" y="176"/>
                      <a:pt x="24" y="183"/>
                    </a:cubicBezTo>
                    <a:cubicBezTo>
                      <a:pt x="24" y="191"/>
                      <a:pt x="28" y="198"/>
                      <a:pt x="38" y="203"/>
                    </a:cubicBezTo>
                    <a:cubicBezTo>
                      <a:pt x="38" y="203"/>
                      <a:pt x="38" y="203"/>
                      <a:pt x="38" y="203"/>
                    </a:cubicBezTo>
                    <a:cubicBezTo>
                      <a:pt x="29" y="205"/>
                      <a:pt x="24" y="209"/>
                      <a:pt x="24" y="215"/>
                    </a:cubicBezTo>
                    <a:cubicBezTo>
                      <a:pt x="24" y="217"/>
                      <a:pt x="25" y="219"/>
                      <a:pt x="25" y="221"/>
                    </a:cubicBezTo>
                    <a:cubicBezTo>
                      <a:pt x="35" y="222"/>
                      <a:pt x="35" y="222"/>
                      <a:pt x="35" y="222"/>
                    </a:cubicBezTo>
                    <a:cubicBezTo>
                      <a:pt x="35" y="221"/>
                      <a:pt x="34" y="220"/>
                      <a:pt x="34" y="219"/>
                    </a:cubicBezTo>
                    <a:cubicBezTo>
                      <a:pt x="34" y="217"/>
                      <a:pt x="36" y="215"/>
                      <a:pt x="38" y="214"/>
                    </a:cubicBezTo>
                    <a:cubicBezTo>
                      <a:pt x="40" y="212"/>
                      <a:pt x="45" y="211"/>
                      <a:pt x="51" y="210"/>
                    </a:cubicBezTo>
                    <a:cubicBezTo>
                      <a:pt x="77" y="220"/>
                      <a:pt x="77" y="220"/>
                      <a:pt x="77" y="220"/>
                    </a:cubicBezTo>
                    <a:cubicBezTo>
                      <a:pt x="77" y="208"/>
                      <a:pt x="77" y="208"/>
                      <a:pt x="77" y="208"/>
                    </a:cubicBezTo>
                    <a:cubicBezTo>
                      <a:pt x="66" y="204"/>
                      <a:pt x="66" y="204"/>
                      <a:pt x="66" y="204"/>
                    </a:cubicBezTo>
                    <a:close/>
                    <a:moveTo>
                      <a:pt x="52" y="200"/>
                    </a:moveTo>
                    <a:cubicBezTo>
                      <a:pt x="50" y="200"/>
                      <a:pt x="50" y="200"/>
                      <a:pt x="50" y="200"/>
                    </a:cubicBezTo>
                    <a:cubicBezTo>
                      <a:pt x="44" y="198"/>
                      <a:pt x="40" y="196"/>
                      <a:pt x="38" y="193"/>
                    </a:cubicBezTo>
                    <a:cubicBezTo>
                      <a:pt x="35" y="191"/>
                      <a:pt x="33" y="188"/>
                      <a:pt x="33" y="185"/>
                    </a:cubicBezTo>
                    <a:cubicBezTo>
                      <a:pt x="33" y="182"/>
                      <a:pt x="35" y="179"/>
                      <a:pt x="38" y="177"/>
                    </a:cubicBezTo>
                    <a:cubicBezTo>
                      <a:pt x="41" y="175"/>
                      <a:pt x="45" y="174"/>
                      <a:pt x="50" y="174"/>
                    </a:cubicBezTo>
                    <a:cubicBezTo>
                      <a:pt x="56" y="174"/>
                      <a:pt x="60" y="175"/>
                      <a:pt x="64" y="177"/>
                    </a:cubicBezTo>
                    <a:cubicBezTo>
                      <a:pt x="67" y="180"/>
                      <a:pt x="69" y="183"/>
                      <a:pt x="69" y="187"/>
                    </a:cubicBezTo>
                    <a:cubicBezTo>
                      <a:pt x="69" y="190"/>
                      <a:pt x="68" y="193"/>
                      <a:pt x="65" y="195"/>
                    </a:cubicBezTo>
                    <a:cubicBezTo>
                      <a:pt x="62" y="197"/>
                      <a:pt x="57" y="199"/>
                      <a:pt x="52" y="200"/>
                    </a:cubicBezTo>
                    <a:close/>
                    <a:moveTo>
                      <a:pt x="71" y="237"/>
                    </a:moveTo>
                    <a:cubicBezTo>
                      <a:pt x="67" y="232"/>
                      <a:pt x="60" y="230"/>
                      <a:pt x="51" y="230"/>
                    </a:cubicBezTo>
                    <a:cubicBezTo>
                      <a:pt x="5" y="230"/>
                      <a:pt x="5" y="230"/>
                      <a:pt x="5" y="230"/>
                    </a:cubicBezTo>
                    <a:cubicBezTo>
                      <a:pt x="5" y="242"/>
                      <a:pt x="5" y="242"/>
                      <a:pt x="5" y="242"/>
                    </a:cubicBezTo>
                    <a:cubicBezTo>
                      <a:pt x="29" y="242"/>
                      <a:pt x="29" y="242"/>
                      <a:pt x="29" y="242"/>
                    </a:cubicBezTo>
                    <a:cubicBezTo>
                      <a:pt x="29" y="242"/>
                      <a:pt x="29" y="242"/>
                      <a:pt x="29" y="242"/>
                    </a:cubicBezTo>
                    <a:cubicBezTo>
                      <a:pt x="26" y="246"/>
                      <a:pt x="24" y="251"/>
                      <a:pt x="24" y="257"/>
                    </a:cubicBezTo>
                    <a:cubicBezTo>
                      <a:pt x="24" y="265"/>
                      <a:pt x="26" y="271"/>
                      <a:pt x="31" y="275"/>
                    </a:cubicBezTo>
                    <a:cubicBezTo>
                      <a:pt x="36" y="279"/>
                      <a:pt x="43" y="281"/>
                      <a:pt x="52" y="281"/>
                    </a:cubicBezTo>
                    <a:cubicBezTo>
                      <a:pt x="59" y="281"/>
                      <a:pt x="66" y="279"/>
                      <a:pt x="71" y="274"/>
                    </a:cubicBezTo>
                    <a:cubicBezTo>
                      <a:pt x="76" y="269"/>
                      <a:pt x="79" y="263"/>
                      <a:pt x="79" y="255"/>
                    </a:cubicBezTo>
                    <a:cubicBezTo>
                      <a:pt x="79" y="247"/>
                      <a:pt x="76" y="241"/>
                      <a:pt x="71" y="237"/>
                    </a:cubicBezTo>
                    <a:close/>
                    <a:moveTo>
                      <a:pt x="64" y="265"/>
                    </a:moveTo>
                    <a:cubicBezTo>
                      <a:pt x="61" y="268"/>
                      <a:pt x="56" y="269"/>
                      <a:pt x="51" y="269"/>
                    </a:cubicBezTo>
                    <a:cubicBezTo>
                      <a:pt x="39" y="269"/>
                      <a:pt x="33" y="264"/>
                      <a:pt x="33" y="255"/>
                    </a:cubicBezTo>
                    <a:cubicBezTo>
                      <a:pt x="33" y="252"/>
                      <a:pt x="34" y="250"/>
                      <a:pt x="35" y="247"/>
                    </a:cubicBezTo>
                    <a:cubicBezTo>
                      <a:pt x="36" y="245"/>
                      <a:pt x="37" y="243"/>
                      <a:pt x="39" y="242"/>
                    </a:cubicBezTo>
                    <a:cubicBezTo>
                      <a:pt x="52" y="242"/>
                      <a:pt x="52" y="242"/>
                      <a:pt x="52" y="242"/>
                    </a:cubicBezTo>
                    <a:cubicBezTo>
                      <a:pt x="58" y="242"/>
                      <a:pt x="62" y="243"/>
                      <a:pt x="65" y="245"/>
                    </a:cubicBezTo>
                    <a:cubicBezTo>
                      <a:pt x="68" y="248"/>
                      <a:pt x="69" y="251"/>
                      <a:pt x="69" y="255"/>
                    </a:cubicBezTo>
                    <a:cubicBezTo>
                      <a:pt x="69" y="259"/>
                      <a:pt x="67" y="263"/>
                      <a:pt x="64" y="265"/>
                    </a:cubicBezTo>
                    <a:close/>
                    <a:moveTo>
                      <a:pt x="26" y="315"/>
                    </a:moveTo>
                    <a:cubicBezTo>
                      <a:pt x="25" y="313"/>
                      <a:pt x="24" y="310"/>
                      <a:pt x="24" y="308"/>
                    </a:cubicBezTo>
                    <a:cubicBezTo>
                      <a:pt x="24" y="299"/>
                      <a:pt x="29" y="294"/>
                      <a:pt x="40" y="294"/>
                    </a:cubicBezTo>
                    <a:cubicBezTo>
                      <a:pt x="77" y="294"/>
                      <a:pt x="77" y="294"/>
                      <a:pt x="77" y="294"/>
                    </a:cubicBezTo>
                    <a:cubicBezTo>
                      <a:pt x="77" y="306"/>
                      <a:pt x="77" y="306"/>
                      <a:pt x="77" y="306"/>
                    </a:cubicBezTo>
                    <a:cubicBezTo>
                      <a:pt x="41" y="306"/>
                      <a:pt x="41" y="306"/>
                      <a:pt x="41" y="306"/>
                    </a:cubicBezTo>
                    <a:cubicBezTo>
                      <a:pt x="36" y="306"/>
                      <a:pt x="34" y="307"/>
                      <a:pt x="34" y="311"/>
                    </a:cubicBezTo>
                    <a:cubicBezTo>
                      <a:pt x="34" y="312"/>
                      <a:pt x="34" y="314"/>
                      <a:pt x="35" y="315"/>
                    </a:cubicBezTo>
                    <a:lnTo>
                      <a:pt x="26" y="315"/>
                    </a:lnTo>
                    <a:close/>
                    <a:moveTo>
                      <a:pt x="51" y="321"/>
                    </a:moveTo>
                    <a:cubicBezTo>
                      <a:pt x="42" y="321"/>
                      <a:pt x="36" y="323"/>
                      <a:pt x="31" y="328"/>
                    </a:cubicBezTo>
                    <a:cubicBezTo>
                      <a:pt x="26" y="333"/>
                      <a:pt x="24" y="339"/>
                      <a:pt x="24" y="347"/>
                    </a:cubicBezTo>
                    <a:cubicBezTo>
                      <a:pt x="24" y="354"/>
                      <a:pt x="26" y="360"/>
                      <a:pt x="31" y="365"/>
                    </a:cubicBezTo>
                    <a:cubicBezTo>
                      <a:pt x="36" y="369"/>
                      <a:pt x="42" y="372"/>
                      <a:pt x="50" y="372"/>
                    </a:cubicBezTo>
                    <a:cubicBezTo>
                      <a:pt x="57" y="372"/>
                      <a:pt x="63" y="369"/>
                      <a:pt x="68" y="365"/>
                    </a:cubicBezTo>
                    <a:cubicBezTo>
                      <a:pt x="68" y="378"/>
                      <a:pt x="68" y="378"/>
                      <a:pt x="68" y="378"/>
                    </a:cubicBezTo>
                    <a:cubicBezTo>
                      <a:pt x="77" y="378"/>
                      <a:pt x="77" y="378"/>
                      <a:pt x="77" y="378"/>
                    </a:cubicBezTo>
                    <a:cubicBezTo>
                      <a:pt x="77" y="348"/>
                      <a:pt x="77" y="348"/>
                      <a:pt x="77" y="348"/>
                    </a:cubicBezTo>
                    <a:cubicBezTo>
                      <a:pt x="77" y="330"/>
                      <a:pt x="68" y="321"/>
                      <a:pt x="51" y="321"/>
                    </a:cubicBezTo>
                    <a:close/>
                    <a:moveTo>
                      <a:pt x="68" y="354"/>
                    </a:moveTo>
                    <a:cubicBezTo>
                      <a:pt x="63" y="358"/>
                      <a:pt x="57" y="360"/>
                      <a:pt x="50" y="360"/>
                    </a:cubicBezTo>
                    <a:cubicBezTo>
                      <a:pt x="45" y="360"/>
                      <a:pt x="41" y="358"/>
                      <a:pt x="38" y="356"/>
                    </a:cubicBezTo>
                    <a:cubicBezTo>
                      <a:pt x="35" y="354"/>
                      <a:pt x="33" y="351"/>
                      <a:pt x="33" y="347"/>
                    </a:cubicBezTo>
                    <a:cubicBezTo>
                      <a:pt x="33" y="343"/>
                      <a:pt x="35" y="339"/>
                      <a:pt x="38" y="337"/>
                    </a:cubicBezTo>
                    <a:cubicBezTo>
                      <a:pt x="41" y="334"/>
                      <a:pt x="45" y="333"/>
                      <a:pt x="50" y="333"/>
                    </a:cubicBezTo>
                    <a:cubicBezTo>
                      <a:pt x="62" y="333"/>
                      <a:pt x="68" y="338"/>
                      <a:pt x="68" y="349"/>
                    </a:cubicBezTo>
                    <a:lnTo>
                      <a:pt x="68" y="354"/>
                    </a:lnTo>
                    <a:close/>
                    <a:moveTo>
                      <a:pt x="68" y="432"/>
                    </a:moveTo>
                    <a:cubicBezTo>
                      <a:pt x="68" y="412"/>
                      <a:pt x="68" y="412"/>
                      <a:pt x="68" y="412"/>
                    </a:cubicBezTo>
                    <a:cubicBezTo>
                      <a:pt x="41" y="412"/>
                      <a:pt x="41" y="412"/>
                      <a:pt x="41" y="412"/>
                    </a:cubicBezTo>
                    <a:cubicBezTo>
                      <a:pt x="36" y="412"/>
                      <a:pt x="34" y="414"/>
                      <a:pt x="34" y="418"/>
                    </a:cubicBezTo>
                    <a:cubicBezTo>
                      <a:pt x="34" y="420"/>
                      <a:pt x="34" y="422"/>
                      <a:pt x="35" y="424"/>
                    </a:cubicBezTo>
                    <a:cubicBezTo>
                      <a:pt x="26" y="424"/>
                      <a:pt x="26" y="424"/>
                      <a:pt x="26" y="424"/>
                    </a:cubicBezTo>
                    <a:cubicBezTo>
                      <a:pt x="25" y="421"/>
                      <a:pt x="24" y="418"/>
                      <a:pt x="24" y="415"/>
                    </a:cubicBezTo>
                    <a:cubicBezTo>
                      <a:pt x="24" y="405"/>
                      <a:pt x="29" y="401"/>
                      <a:pt x="40" y="401"/>
                    </a:cubicBezTo>
                    <a:cubicBezTo>
                      <a:pt x="68" y="401"/>
                      <a:pt x="68" y="401"/>
                      <a:pt x="68" y="401"/>
                    </a:cubicBezTo>
                    <a:cubicBezTo>
                      <a:pt x="68" y="394"/>
                      <a:pt x="68" y="394"/>
                      <a:pt x="68" y="394"/>
                    </a:cubicBezTo>
                    <a:cubicBezTo>
                      <a:pt x="68" y="390"/>
                      <a:pt x="67" y="386"/>
                      <a:pt x="63" y="382"/>
                    </a:cubicBezTo>
                    <a:cubicBezTo>
                      <a:pt x="73" y="382"/>
                      <a:pt x="73" y="382"/>
                      <a:pt x="73" y="382"/>
                    </a:cubicBezTo>
                    <a:cubicBezTo>
                      <a:pt x="76" y="384"/>
                      <a:pt x="77" y="389"/>
                      <a:pt x="77" y="395"/>
                    </a:cubicBezTo>
                    <a:cubicBezTo>
                      <a:pt x="77" y="432"/>
                      <a:pt x="77" y="432"/>
                      <a:pt x="77" y="432"/>
                    </a:cubicBezTo>
                    <a:lnTo>
                      <a:pt x="68" y="432"/>
                    </a:lnTo>
                    <a:close/>
                    <a:moveTo>
                      <a:pt x="34" y="475"/>
                    </a:moveTo>
                    <a:cubicBezTo>
                      <a:pt x="34" y="475"/>
                      <a:pt x="34" y="475"/>
                      <a:pt x="34" y="475"/>
                    </a:cubicBezTo>
                    <a:cubicBezTo>
                      <a:pt x="27" y="471"/>
                      <a:pt x="24" y="466"/>
                      <a:pt x="24" y="459"/>
                    </a:cubicBezTo>
                    <a:cubicBezTo>
                      <a:pt x="24" y="452"/>
                      <a:pt x="26" y="447"/>
                      <a:pt x="30" y="443"/>
                    </a:cubicBezTo>
                    <a:cubicBezTo>
                      <a:pt x="35" y="439"/>
                      <a:pt x="41" y="438"/>
                      <a:pt x="49" y="438"/>
                    </a:cubicBezTo>
                    <a:cubicBezTo>
                      <a:pt x="57" y="438"/>
                      <a:pt x="67" y="440"/>
                      <a:pt x="77" y="444"/>
                    </a:cubicBezTo>
                    <a:cubicBezTo>
                      <a:pt x="77" y="457"/>
                      <a:pt x="77" y="457"/>
                      <a:pt x="77" y="457"/>
                    </a:cubicBezTo>
                    <a:cubicBezTo>
                      <a:pt x="67" y="452"/>
                      <a:pt x="57" y="449"/>
                      <a:pt x="49" y="449"/>
                    </a:cubicBezTo>
                    <a:cubicBezTo>
                      <a:pt x="44" y="449"/>
                      <a:pt x="40" y="450"/>
                      <a:pt x="37" y="452"/>
                    </a:cubicBezTo>
                    <a:cubicBezTo>
                      <a:pt x="35" y="454"/>
                      <a:pt x="34" y="456"/>
                      <a:pt x="34" y="459"/>
                    </a:cubicBezTo>
                    <a:cubicBezTo>
                      <a:pt x="34" y="466"/>
                      <a:pt x="39" y="469"/>
                      <a:pt x="49" y="469"/>
                    </a:cubicBezTo>
                    <a:cubicBezTo>
                      <a:pt x="63" y="469"/>
                      <a:pt x="63" y="469"/>
                      <a:pt x="63" y="469"/>
                    </a:cubicBezTo>
                    <a:cubicBezTo>
                      <a:pt x="63" y="481"/>
                      <a:pt x="63" y="481"/>
                      <a:pt x="63" y="481"/>
                    </a:cubicBezTo>
                    <a:cubicBezTo>
                      <a:pt x="49" y="481"/>
                      <a:pt x="49" y="481"/>
                      <a:pt x="49" y="481"/>
                    </a:cubicBezTo>
                    <a:cubicBezTo>
                      <a:pt x="39" y="481"/>
                      <a:pt x="34" y="484"/>
                      <a:pt x="34" y="491"/>
                    </a:cubicBezTo>
                    <a:cubicBezTo>
                      <a:pt x="34" y="494"/>
                      <a:pt x="35" y="496"/>
                      <a:pt x="37" y="498"/>
                    </a:cubicBezTo>
                    <a:cubicBezTo>
                      <a:pt x="40" y="500"/>
                      <a:pt x="44" y="501"/>
                      <a:pt x="49" y="501"/>
                    </a:cubicBezTo>
                    <a:cubicBezTo>
                      <a:pt x="57" y="501"/>
                      <a:pt x="67" y="498"/>
                      <a:pt x="77" y="493"/>
                    </a:cubicBezTo>
                    <a:cubicBezTo>
                      <a:pt x="77" y="506"/>
                      <a:pt x="77" y="506"/>
                      <a:pt x="77" y="506"/>
                    </a:cubicBezTo>
                    <a:cubicBezTo>
                      <a:pt x="67" y="510"/>
                      <a:pt x="57" y="512"/>
                      <a:pt x="49" y="512"/>
                    </a:cubicBezTo>
                    <a:cubicBezTo>
                      <a:pt x="41" y="512"/>
                      <a:pt x="35" y="510"/>
                      <a:pt x="30" y="507"/>
                    </a:cubicBezTo>
                    <a:cubicBezTo>
                      <a:pt x="26" y="503"/>
                      <a:pt x="24" y="498"/>
                      <a:pt x="24" y="491"/>
                    </a:cubicBezTo>
                    <a:cubicBezTo>
                      <a:pt x="24" y="484"/>
                      <a:pt x="27" y="479"/>
                      <a:pt x="34" y="475"/>
                    </a:cubicBezTo>
                    <a:close/>
                    <a:moveTo>
                      <a:pt x="103" y="485"/>
                    </a:moveTo>
                    <a:cubicBezTo>
                      <a:pt x="85" y="475"/>
                      <a:pt x="85" y="475"/>
                      <a:pt x="85" y="475"/>
                    </a:cubicBezTo>
                    <a:cubicBezTo>
                      <a:pt x="85" y="469"/>
                      <a:pt x="85" y="469"/>
                      <a:pt x="85" y="469"/>
                    </a:cubicBezTo>
                    <a:cubicBezTo>
                      <a:pt x="103" y="474"/>
                      <a:pt x="103" y="474"/>
                      <a:pt x="103" y="474"/>
                    </a:cubicBezTo>
                    <a:lnTo>
                      <a:pt x="103" y="485"/>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sp>
        <p:nvSpPr>
          <p:cNvPr id="265" name="TextBox 264"/>
          <p:cNvSpPr txBox="1"/>
          <p:nvPr/>
        </p:nvSpPr>
        <p:spPr>
          <a:xfrm>
            <a:off x="10651957" y="6493820"/>
            <a:ext cx="1388842" cy="433965"/>
          </a:xfrm>
          <a:prstGeom prst="rect">
            <a:avLst/>
          </a:prstGeom>
          <a:noFill/>
        </p:spPr>
        <p:txBody>
          <a:bodyPr wrap="none" lIns="182880" tIns="146304" rIns="182880" bIns="146304" rtlCol="0">
            <a:spAutoFit/>
          </a:bodyPr>
          <a:lstStyle/>
          <a:p>
            <a:pPr>
              <a:lnSpc>
                <a:spcPct val="90000"/>
              </a:lnSpc>
              <a:spcAft>
                <a:spcPts val="600"/>
              </a:spcAft>
              <a:defRPr/>
            </a:pPr>
            <a:r>
              <a:rPr lang="en-US" sz="1000" kern="0">
                <a:gradFill>
                  <a:gsLst>
                    <a:gs pos="2917">
                      <a:srgbClr val="FFFFFF"/>
                    </a:gs>
                    <a:gs pos="30000">
                      <a:srgbClr val="FFFFFF"/>
                    </a:gs>
                  </a:gsLst>
                  <a:lin ang="5400000" scaled="0"/>
                </a:gradFill>
              </a:rPr>
              <a:t>Copyright © 2016</a:t>
            </a:r>
          </a:p>
        </p:txBody>
      </p:sp>
      <p:pic>
        <p:nvPicPr>
          <p:cNvPr id="266" name="Picture 26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invGray">
          <a:xfrm>
            <a:off x="269240" y="6520191"/>
            <a:ext cx="993503" cy="213502"/>
          </a:xfrm>
          <a:prstGeom prst="rect">
            <a:avLst/>
          </a:prstGeom>
        </p:spPr>
      </p:pic>
    </p:spTree>
    <p:extLst>
      <p:ext uri="{BB962C8B-B14F-4D97-AF65-F5344CB8AC3E}">
        <p14:creationId xmlns:p14="http://schemas.microsoft.com/office/powerpoint/2010/main" val="101467454"/>
      </p:ext>
    </p:extLst>
  </p:cSld>
  <p:clrMapOvr>
    <a:masterClrMapping/>
  </p:clrMapOvr>
  <mc:AlternateContent xmlns:mc="http://schemas.openxmlformats.org/markup-compatibility/2006" xmlns:p14="http://schemas.microsoft.com/office/powerpoint/2010/main">
    <mc:Choice Requires="p14">
      <p:transition spd="med" p14:dur="700">
        <p14:pan dir="u"/>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63"/>
                                        </p:tgtEl>
                                        <p:attrNameLst>
                                          <p:attrName>style.visibility</p:attrName>
                                        </p:attrNameLst>
                                      </p:cBhvr>
                                      <p:to>
                                        <p:strVal val="visible"/>
                                      </p:to>
                                    </p:set>
                                    <p:anim calcmode="lin" valueType="num">
                                      <p:cBhvr additive="base">
                                        <p:cTn id="7" dur="1500" fill="hold"/>
                                        <p:tgtEl>
                                          <p:spTgt spid="263"/>
                                        </p:tgtEl>
                                        <p:attrNameLst>
                                          <p:attrName>ppt_x</p:attrName>
                                        </p:attrNameLst>
                                      </p:cBhvr>
                                      <p:tavLst>
                                        <p:tav tm="0">
                                          <p:val>
                                            <p:strVal val="#ppt_x"/>
                                          </p:val>
                                        </p:tav>
                                        <p:tav tm="100000">
                                          <p:val>
                                            <p:strVal val="#ppt_x"/>
                                          </p:val>
                                        </p:tav>
                                      </p:tavLst>
                                    </p:anim>
                                    <p:anim calcmode="lin" valueType="num">
                                      <p:cBhvr additive="base">
                                        <p:cTn id="8" dur="1500" fill="hold"/>
                                        <p:tgtEl>
                                          <p:spTgt spid="263"/>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700"/>
                                        <p:tgtEl>
                                          <p:spTgt spid="4"/>
                                        </p:tgtEl>
                                      </p:cBhvr>
                                    </p:animEffect>
                                  </p:childTnLst>
                                </p:cTn>
                              </p:par>
                              <p:par>
                                <p:cTn id="12" presetID="42" presetClass="path" presetSubtype="0" decel="100000" fill="hold" grpId="1" nodeType="withEffect">
                                  <p:stCondLst>
                                    <p:cond delay="0"/>
                                  </p:stCondLst>
                                  <p:childTnLst>
                                    <p:animMotion origin="layout" path="M -2.08333E-7 2.22222E-6 L -2.08333E-7 -0.10787 " pathEditMode="relative" rAng="0" ptsTypes="AA">
                                      <p:cBhvr>
                                        <p:cTn id="13" dur="1000" spd="-100000" fill="hold"/>
                                        <p:tgtEl>
                                          <p:spTgt spid="4"/>
                                        </p:tgtEl>
                                        <p:attrNameLst>
                                          <p:attrName>ppt_x</p:attrName>
                                          <p:attrName>ppt_y</p:attrName>
                                        </p:attrNameLst>
                                      </p:cBhvr>
                                      <p:rCtr x="0" y="-5394"/>
                                    </p:animMotion>
                                  </p:childTnLst>
                                </p:cTn>
                              </p:par>
                              <p:par>
                                <p:cTn id="14" presetID="10" presetClass="entr" presetSubtype="0" fill="hold" nodeType="withEffect">
                                  <p:stCondLst>
                                    <p:cond delay="750"/>
                                  </p:stCondLst>
                                  <p:childTnLst>
                                    <p:set>
                                      <p:cBhvr>
                                        <p:cTn id="15" dur="1" fill="hold">
                                          <p:stCondLst>
                                            <p:cond delay="0"/>
                                          </p:stCondLst>
                                        </p:cTn>
                                        <p:tgtEl>
                                          <p:spTgt spid="264"/>
                                        </p:tgtEl>
                                        <p:attrNameLst>
                                          <p:attrName>style.visibility</p:attrName>
                                        </p:attrNameLst>
                                      </p:cBhvr>
                                      <p:to>
                                        <p:strVal val="visible"/>
                                      </p:to>
                                    </p:set>
                                    <p:animEffect transition="in" filter="fade">
                                      <p:cBhvr>
                                        <p:cTn id="16" dur="700"/>
                                        <p:tgtEl>
                                          <p:spTgt spid="264"/>
                                        </p:tgtEl>
                                      </p:cBhvr>
                                    </p:animEffect>
                                  </p:childTnLst>
                                </p:cTn>
                              </p:par>
                              <p:par>
                                <p:cTn id="17" presetID="42" presetClass="path" presetSubtype="0" decel="100000" fill="hold" nodeType="withEffect">
                                  <p:stCondLst>
                                    <p:cond delay="750"/>
                                  </p:stCondLst>
                                  <p:childTnLst>
                                    <p:animMotion origin="layout" path="M 0 -7.98911E-7 L 0 0.13822 " pathEditMode="relative" rAng="0" ptsTypes="AA">
                                      <p:cBhvr>
                                        <p:cTn id="18" dur="1000" spd="-100000" fill="hold"/>
                                        <p:tgtEl>
                                          <p:spTgt spid="264"/>
                                        </p:tgtEl>
                                        <p:attrNameLst>
                                          <p:attrName>ppt_x</p:attrName>
                                          <p:attrName>ppt_y</p:attrName>
                                        </p:attrNameLst>
                                      </p:cBhvr>
                                      <p:rCtr x="0" y="69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3" grpId="0" animBg="1"/>
      <p:bldP spid="4" grpId="0"/>
      <p:bldP spid="4"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331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y partner with Microsoft?</a:t>
            </a:r>
          </a:p>
        </p:txBody>
      </p:sp>
    </p:spTree>
    <p:extLst>
      <p:ext uri="{BB962C8B-B14F-4D97-AF65-F5344CB8AC3E}">
        <p14:creationId xmlns:p14="http://schemas.microsoft.com/office/powerpoint/2010/main" val="949507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9" name="Rectangle 68"/>
          <p:cNvSpPr/>
          <p:nvPr/>
        </p:nvSpPr>
        <p:spPr bwMode="auto">
          <a:xfrm>
            <a:off x="8575505" y="0"/>
            <a:ext cx="3616495"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71" name="Title 3"/>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921" kern="0">
              <a:solidFill>
                <a:srgbClr val="0072C6"/>
              </a:solidFill>
              <a:cs typeface="Segoe UI Light" panose="020B0502040204020203" pitchFamily="34" charset="0"/>
            </a:endParaRPr>
          </a:p>
        </p:txBody>
      </p:sp>
      <p:sp>
        <p:nvSpPr>
          <p:cNvPr id="3" name="Title 2"/>
          <p:cNvSpPr>
            <a:spLocks noGrp="1"/>
          </p:cNvSpPr>
          <p:nvPr>
            <p:ph type="title"/>
          </p:nvPr>
        </p:nvSpPr>
        <p:spPr/>
        <p:txBody>
          <a:bodyPr/>
          <a:lstStyle/>
          <a:p>
            <a:r>
              <a:rPr lang="en-US"/>
              <a:t>Why partner with Microsoft?</a:t>
            </a:r>
          </a:p>
        </p:txBody>
      </p:sp>
      <p:sp>
        <p:nvSpPr>
          <p:cNvPr id="2" name="Text Placeholder 1"/>
          <p:cNvSpPr>
            <a:spLocks noGrp="1"/>
          </p:cNvSpPr>
          <p:nvPr>
            <p:ph idx="1"/>
          </p:nvPr>
        </p:nvSpPr>
        <p:spPr/>
        <p:txBody>
          <a:bodyPr/>
          <a:lstStyle/>
          <a:p>
            <a:r>
              <a:rPr lang="en-US"/>
              <a:t>Microsoft has been enabling digital transformation in various industries, including the automotive sector.</a:t>
            </a:r>
          </a:p>
          <a:p>
            <a:r>
              <a:rPr lang="en-US"/>
              <a:t>Built on a global, scalable, open and secure platform.</a:t>
            </a:r>
          </a:p>
          <a:p>
            <a:r>
              <a:rPr lang="en-US"/>
              <a:t>Expertise in hyper-scale cloud, IoT, Machine Learning and Artificial intelligence. </a:t>
            </a:r>
          </a:p>
          <a:p>
            <a:r>
              <a:rPr lang="en-US"/>
              <a:t>Microsoft can do the heavy lifting on the back end, while you focus on delivering what matters most: innovative customer-facing experiences. </a:t>
            </a:r>
          </a:p>
          <a:p>
            <a:r>
              <a:rPr lang="en-US"/>
              <a:t>We don’t compete with you, we partner with you.</a:t>
            </a:r>
          </a:p>
        </p:txBody>
      </p:sp>
      <p:sp>
        <p:nvSpPr>
          <p:cNvPr id="15" name="Title 3"/>
          <p:cNvSpPr txBox="1">
            <a:spLocks/>
          </p:cNvSpPr>
          <p:nvPr/>
        </p:nvSpPr>
        <p:spPr>
          <a:xfrm>
            <a:off x="8529948" y="239748"/>
            <a:ext cx="3662052" cy="775597"/>
          </a:xfrm>
          <a:prstGeom prst="rect">
            <a:avLst/>
          </a:prstGeom>
          <a:noFill/>
        </p:spPr>
        <p:txBody>
          <a:bodyPr vert="horz" wrap="square" lIns="0" tIns="0" rIns="0" bIns="0" rtlCol="0" anchor="t">
            <a:spAutoFit/>
          </a:bodyPr>
          <a:lstStyle>
            <a:lvl1pPr algn="l" defTabSz="514314" rtl="0" eaLnBrk="1" latinLnBrk="0" hangingPunct="1">
              <a:lnSpc>
                <a:spcPct val="90000"/>
              </a:lnSpc>
              <a:spcBef>
                <a:spcPct val="0"/>
              </a:spcBef>
              <a:buNone/>
              <a:defRPr lang="en-US" sz="2978" b="0" kern="1200" cap="none" spc="-5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2800" spc="0">
                <a:solidFill>
                  <a:srgbClr val="FFFFFF"/>
                </a:solidFill>
                <a:cs typeface=""/>
              </a:rPr>
              <a:t>Built on </a:t>
            </a:r>
            <a:br>
              <a:rPr sz="2800" spc="0">
                <a:solidFill>
                  <a:srgbClr val="FFFFFF"/>
                </a:solidFill>
                <a:cs typeface=""/>
              </a:rPr>
            </a:br>
            <a:r>
              <a:rPr sz="2800" spc="0">
                <a:solidFill>
                  <a:srgbClr val="FFFFFF"/>
                </a:solidFill>
                <a:cs typeface=""/>
              </a:rPr>
              <a:t>Microsoft technology</a:t>
            </a:r>
          </a:p>
        </p:txBody>
      </p:sp>
      <p:sp>
        <p:nvSpPr>
          <p:cNvPr id="24" name="Rectangle 23"/>
          <p:cNvSpPr/>
          <p:nvPr/>
        </p:nvSpPr>
        <p:spPr bwMode="auto">
          <a:xfrm>
            <a:off x="9372600" y="1837673"/>
            <a:ext cx="2031999" cy="1083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4400" b="1">
                <a:solidFill>
                  <a:srgbClr val="FFFFFF"/>
                </a:solidFill>
              </a:rPr>
              <a:t>38</a:t>
            </a:r>
          </a:p>
          <a:p>
            <a:pPr algn="ctr" defTabSz="932472" fontAlgn="base">
              <a:lnSpc>
                <a:spcPct val="90000"/>
              </a:lnSpc>
              <a:spcBef>
                <a:spcPct val="0"/>
              </a:spcBef>
              <a:spcAft>
                <a:spcPct val="0"/>
              </a:spcAft>
            </a:pPr>
            <a:r>
              <a:rPr lang="en-US" b="1">
                <a:solidFill>
                  <a:srgbClr val="0072C6">
                    <a:lumMod val="60000"/>
                    <a:lumOff val="40000"/>
                  </a:srgbClr>
                </a:solidFill>
                <a:latin typeface="Segoe UI Semibold" panose="020B0702040204020203" pitchFamily="34" charset="0"/>
                <a:cs typeface="Segoe UI Semibold" panose="020B0702040204020203" pitchFamily="34" charset="0"/>
              </a:rPr>
              <a:t>Azure regions </a:t>
            </a:r>
            <a:br>
              <a:rPr lang="en-US" b="1">
                <a:solidFill>
                  <a:srgbClr val="0072C6">
                    <a:lumMod val="60000"/>
                    <a:lumOff val="40000"/>
                  </a:srgbClr>
                </a:solidFill>
                <a:latin typeface="Segoe UI Semibold" panose="020B0702040204020203" pitchFamily="34" charset="0"/>
                <a:cs typeface="Segoe UI Semibold" panose="020B0702040204020203" pitchFamily="34" charset="0"/>
              </a:rPr>
            </a:br>
            <a:r>
              <a:rPr lang="en-US" b="1">
                <a:solidFill>
                  <a:srgbClr val="0072C6">
                    <a:lumMod val="60000"/>
                    <a:lumOff val="40000"/>
                  </a:srgbClr>
                </a:solidFill>
                <a:latin typeface="Segoe UI Semibold" panose="020B0702040204020203" pitchFamily="34" charset="0"/>
                <a:cs typeface="Segoe UI Semibold" panose="020B0702040204020203" pitchFamily="34" charset="0"/>
              </a:rPr>
              <a:t>worldwide</a:t>
            </a:r>
          </a:p>
        </p:txBody>
      </p:sp>
      <p:sp>
        <p:nvSpPr>
          <p:cNvPr id="25" name="Freeform 10"/>
          <p:cNvSpPr/>
          <p:nvPr/>
        </p:nvSpPr>
        <p:spPr>
          <a:xfrm rot="16200000">
            <a:off x="10193799" y="1356247"/>
            <a:ext cx="389600" cy="389600"/>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4000">
              <a:solidFill>
                <a:srgbClr val="0072C6"/>
              </a:solidFill>
            </a:endParaRPr>
          </a:p>
        </p:txBody>
      </p:sp>
      <p:sp>
        <p:nvSpPr>
          <p:cNvPr id="22" name="Rectangle 21"/>
          <p:cNvSpPr/>
          <p:nvPr/>
        </p:nvSpPr>
        <p:spPr bwMode="auto">
          <a:xfrm>
            <a:off x="9372600" y="5437606"/>
            <a:ext cx="2031999" cy="1083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0000"/>
              </a:lnSpc>
              <a:spcBef>
                <a:spcPct val="0"/>
              </a:spcBef>
              <a:spcAft>
                <a:spcPts val="300"/>
              </a:spcAft>
            </a:pPr>
            <a:r>
              <a:rPr lang="en-US" sz="4400" b="1">
                <a:solidFill>
                  <a:srgbClr val="FFFFFF"/>
                </a:solidFill>
              </a:rPr>
              <a:t>200+</a:t>
            </a:r>
          </a:p>
          <a:p>
            <a:pPr algn="ctr" defTabSz="932472" fontAlgn="base">
              <a:lnSpc>
                <a:spcPct val="90000"/>
              </a:lnSpc>
              <a:spcBef>
                <a:spcPct val="0"/>
              </a:spcBef>
              <a:spcAft>
                <a:spcPct val="0"/>
              </a:spcAft>
            </a:pPr>
            <a:r>
              <a:rPr lang="en-US" b="1">
                <a:solidFill>
                  <a:srgbClr val="0072C6">
                    <a:lumMod val="60000"/>
                    <a:lumOff val="40000"/>
                  </a:srgbClr>
                </a:solidFill>
                <a:latin typeface="Segoe UI Semibold" panose="020B0702040204020203" pitchFamily="34" charset="0"/>
                <a:cs typeface="Segoe UI Semibold" panose="020B0702040204020203" pitchFamily="34" charset="0"/>
              </a:rPr>
              <a:t>Azure cloud </a:t>
            </a:r>
            <a:br>
              <a:rPr lang="en-US" b="1">
                <a:solidFill>
                  <a:srgbClr val="0072C6">
                    <a:lumMod val="60000"/>
                    <a:lumOff val="40000"/>
                  </a:srgbClr>
                </a:solidFill>
                <a:latin typeface="Segoe UI Semibold" panose="020B0702040204020203" pitchFamily="34" charset="0"/>
                <a:cs typeface="Segoe UI Semibold" panose="020B0702040204020203" pitchFamily="34" charset="0"/>
              </a:rPr>
            </a:br>
            <a:r>
              <a:rPr lang="en-US" b="1">
                <a:solidFill>
                  <a:srgbClr val="0072C6">
                    <a:lumMod val="60000"/>
                    <a:lumOff val="40000"/>
                  </a:srgbClr>
                </a:solidFill>
                <a:latin typeface="Segoe UI Semibold" panose="020B0702040204020203" pitchFamily="34" charset="0"/>
                <a:cs typeface="Segoe UI Semibold" panose="020B0702040204020203" pitchFamily="34" charset="0"/>
              </a:rPr>
              <a:t>services available</a:t>
            </a:r>
          </a:p>
        </p:txBody>
      </p:sp>
      <p:sp>
        <p:nvSpPr>
          <p:cNvPr id="23" name="Freeform 213"/>
          <p:cNvSpPr>
            <a:spLocks noChangeAspect="1"/>
          </p:cNvSpPr>
          <p:nvPr/>
        </p:nvSpPr>
        <p:spPr bwMode="auto">
          <a:xfrm>
            <a:off x="10184739" y="5066491"/>
            <a:ext cx="407721" cy="263898"/>
          </a:xfrm>
          <a:custGeom>
            <a:avLst/>
            <a:gdLst/>
            <a:ahLst/>
            <a:cxnLst/>
            <a:rect l="l" t="t" r="r" b="b"/>
            <a:pathLst>
              <a:path w="5073508" h="2985296">
                <a:moveTo>
                  <a:pt x="1891430" y="1569855"/>
                </a:moveTo>
                <a:lnTo>
                  <a:pt x="2401866" y="1923715"/>
                </a:lnTo>
                <a:cubicBezTo>
                  <a:pt x="2186836" y="2066720"/>
                  <a:pt x="1264085" y="2738950"/>
                  <a:pt x="676406" y="2615778"/>
                </a:cubicBezTo>
                <a:lnTo>
                  <a:pt x="670143" y="2985296"/>
                </a:lnTo>
                <a:lnTo>
                  <a:pt x="0" y="2280707"/>
                </a:lnTo>
                <a:lnTo>
                  <a:pt x="673274" y="1576118"/>
                </a:lnTo>
                <a:lnTo>
                  <a:pt x="676406" y="1948767"/>
                </a:lnTo>
                <a:cubicBezTo>
                  <a:pt x="1072019" y="1972775"/>
                  <a:pt x="1520870" y="1780710"/>
                  <a:pt x="1891430" y="1569855"/>
                </a:cubicBezTo>
                <a:close/>
                <a:moveTo>
                  <a:pt x="692255" y="20924"/>
                </a:moveTo>
                <a:lnTo>
                  <a:pt x="698193" y="365309"/>
                </a:lnTo>
                <a:cubicBezTo>
                  <a:pt x="2093544" y="340570"/>
                  <a:pt x="3064352" y="1935821"/>
                  <a:pt x="4397357" y="1974415"/>
                </a:cubicBezTo>
                <a:cubicBezTo>
                  <a:pt x="4395378" y="1845766"/>
                  <a:pt x="4393398" y="1717117"/>
                  <a:pt x="4391419" y="1588468"/>
                </a:cubicBezTo>
                <a:lnTo>
                  <a:pt x="5068313" y="2259423"/>
                </a:lnTo>
                <a:lnTo>
                  <a:pt x="4385481" y="2948192"/>
                </a:lnTo>
                <a:lnTo>
                  <a:pt x="4379544" y="2621620"/>
                </a:lnTo>
                <a:cubicBezTo>
                  <a:pt x="2817939" y="2651309"/>
                  <a:pt x="2016353" y="1006575"/>
                  <a:pt x="674442" y="1000638"/>
                </a:cubicBezTo>
                <a:cubicBezTo>
                  <a:pt x="676421" y="1131267"/>
                  <a:pt x="678401" y="1261895"/>
                  <a:pt x="680380" y="1392524"/>
                </a:cubicBezTo>
                <a:lnTo>
                  <a:pt x="3487" y="674067"/>
                </a:lnTo>
                <a:close/>
                <a:moveTo>
                  <a:pt x="4403365" y="0"/>
                </a:moveTo>
                <a:lnTo>
                  <a:pt x="5073508" y="704589"/>
                </a:lnTo>
                <a:lnTo>
                  <a:pt x="4400234" y="1409178"/>
                </a:lnTo>
                <a:lnTo>
                  <a:pt x="4397102" y="1036529"/>
                </a:lnTo>
                <a:cubicBezTo>
                  <a:pt x="4001489" y="1012521"/>
                  <a:pt x="3552638" y="1204586"/>
                  <a:pt x="3182078" y="1415441"/>
                </a:cubicBezTo>
                <a:lnTo>
                  <a:pt x="2671642" y="1061581"/>
                </a:lnTo>
                <a:cubicBezTo>
                  <a:pt x="2886672" y="918576"/>
                  <a:pt x="3809423" y="246346"/>
                  <a:pt x="4397102" y="369518"/>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4000" spc="-50" err="1">
              <a:solidFill>
                <a:srgbClr val="0072C6"/>
              </a:solidFill>
              <a:ea typeface="Segoe UI" pitchFamily="34" charset="0"/>
              <a:cs typeface="Segoe UI" pitchFamily="34" charset="0"/>
            </a:endParaRPr>
          </a:p>
        </p:txBody>
      </p:sp>
      <p:sp>
        <p:nvSpPr>
          <p:cNvPr id="20" name="Freeform 47"/>
          <p:cNvSpPr/>
          <p:nvPr/>
        </p:nvSpPr>
        <p:spPr>
          <a:xfrm>
            <a:off x="10156472" y="3264347"/>
            <a:ext cx="464255" cy="29652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solidFill>
                <a:srgbClr val="0072C6"/>
              </a:solidFill>
            </a:endParaRPr>
          </a:p>
        </p:txBody>
      </p:sp>
      <p:sp>
        <p:nvSpPr>
          <p:cNvPr id="21" name="Rectangle 20"/>
          <p:cNvSpPr/>
          <p:nvPr/>
        </p:nvSpPr>
        <p:spPr bwMode="auto">
          <a:xfrm>
            <a:off x="9372600" y="3651775"/>
            <a:ext cx="2031999" cy="1083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0000"/>
              </a:lnSpc>
              <a:spcBef>
                <a:spcPct val="0"/>
              </a:spcBef>
              <a:spcAft>
                <a:spcPts val="300"/>
              </a:spcAft>
            </a:pPr>
            <a:r>
              <a:rPr lang="en-US" sz="4400" b="1">
                <a:solidFill>
                  <a:srgbClr val="FFFFFF"/>
                </a:solidFill>
              </a:rPr>
              <a:t>$15B</a:t>
            </a:r>
          </a:p>
          <a:p>
            <a:pPr algn="ctr" defTabSz="932472" fontAlgn="base">
              <a:lnSpc>
                <a:spcPct val="90000"/>
              </a:lnSpc>
              <a:spcBef>
                <a:spcPct val="0"/>
              </a:spcBef>
              <a:spcAft>
                <a:spcPct val="0"/>
              </a:spcAft>
            </a:pPr>
            <a:r>
              <a:rPr lang="en-US" b="1">
                <a:solidFill>
                  <a:srgbClr val="0072C6">
                    <a:lumMod val="60000"/>
                    <a:lumOff val="40000"/>
                  </a:srgbClr>
                </a:solidFill>
                <a:latin typeface="Segoe UI Semibold" panose="020B0702040204020203" pitchFamily="34" charset="0"/>
                <a:cs typeface="Segoe UI Semibold" panose="020B0702040204020203" pitchFamily="34" charset="0"/>
              </a:rPr>
              <a:t>Invested in cloud</a:t>
            </a:r>
          </a:p>
        </p:txBody>
      </p:sp>
    </p:spTree>
    <p:extLst>
      <p:ext uri="{BB962C8B-B14F-4D97-AF65-F5344CB8AC3E}">
        <p14:creationId xmlns:p14="http://schemas.microsoft.com/office/powerpoint/2010/main" val="42785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l="5199" t="4255" r="5136"/>
          <a:stretch/>
        </p:blipFill>
        <p:spPr>
          <a:xfrm>
            <a:off x="-1" y="0"/>
            <a:ext cx="12192001" cy="6858000"/>
          </a:xfrm>
          <a:prstGeom prst="rect">
            <a:avLst/>
          </a:prstGeom>
        </p:spPr>
      </p:pic>
      <p:sp>
        <p:nvSpPr>
          <p:cNvPr id="49" name="TextBox 48"/>
          <p:cNvSpPr txBox="1"/>
          <p:nvPr/>
        </p:nvSpPr>
        <p:spPr>
          <a:xfrm>
            <a:off x="78440" y="6527816"/>
            <a:ext cx="4093634" cy="217849"/>
          </a:xfrm>
          <a:prstGeom prst="rect">
            <a:avLst/>
          </a:prstGeom>
          <a:noFill/>
        </p:spPr>
        <p:txBody>
          <a:bodyPr wrap="square" rtlCol="0">
            <a:spAutoFit/>
          </a:bodyPr>
          <a:lstStyle/>
          <a:p>
            <a:pPr defTabSz="896214">
              <a:spcAft>
                <a:spcPts val="600"/>
              </a:spcAft>
              <a:defRPr/>
            </a:pPr>
            <a:r>
              <a:rPr lang="en-US" sz="800" kern="0">
                <a:solidFill>
                  <a:srgbClr val="505050"/>
                </a:solidFill>
                <a:cs typeface="Segoe UI Semibold" panose="020B0702040204020203" pitchFamily="34" charset="0"/>
              </a:rPr>
              <a:t>Sources: McKinsey; Accenture; Corp Strat analysis</a:t>
            </a:r>
            <a:endParaRPr lang="en-US" sz="500" kern="0">
              <a:solidFill>
                <a:srgbClr val="505050"/>
              </a:solidFill>
            </a:endParaRPr>
          </a:p>
        </p:txBody>
      </p:sp>
      <p:sp>
        <p:nvSpPr>
          <p:cNvPr id="71" name="Title 3"/>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921" kern="0">
              <a:solidFill>
                <a:srgbClr val="0072C6"/>
              </a:solidFill>
              <a:cs typeface="Segoe UI Light" panose="020B0502040204020203" pitchFamily="34" charset="0"/>
            </a:endParaRPr>
          </a:p>
        </p:txBody>
      </p:sp>
      <p:sp>
        <p:nvSpPr>
          <p:cNvPr id="9" name="Rectangle 8"/>
          <p:cNvSpPr/>
          <p:nvPr/>
        </p:nvSpPr>
        <p:spPr bwMode="auto">
          <a:xfrm>
            <a:off x="7450061" y="222616"/>
            <a:ext cx="4475019" cy="6095057"/>
          </a:xfrm>
          <a:prstGeom prst="rect">
            <a:avLst/>
          </a:prstGeom>
          <a:solidFill>
            <a:srgbClr val="39D8EC">
              <a:alpha val="64000"/>
            </a:srgb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FFFFFF"/>
              </a:solidFill>
            </a:endParaRPr>
          </a:p>
        </p:txBody>
      </p:sp>
      <p:sp>
        <p:nvSpPr>
          <p:cNvPr id="3" name="Title 2"/>
          <p:cNvSpPr>
            <a:spLocks noGrp="1"/>
          </p:cNvSpPr>
          <p:nvPr>
            <p:ph type="title"/>
          </p:nvPr>
        </p:nvSpPr>
        <p:spPr>
          <a:xfrm>
            <a:off x="7444663" y="222616"/>
            <a:ext cx="4480417" cy="899665"/>
          </a:xfrm>
        </p:spPr>
        <p:txBody>
          <a:bodyPr/>
          <a:lstStyle/>
          <a:p>
            <a:r>
              <a:rPr lang="en-US">
                <a:solidFill>
                  <a:schemeClr val="tx2"/>
                </a:solidFill>
              </a:rPr>
              <a:t>Ecosystem</a:t>
            </a:r>
          </a:p>
        </p:txBody>
      </p:sp>
      <p:sp>
        <p:nvSpPr>
          <p:cNvPr id="47" name="Rectangle 46"/>
          <p:cNvSpPr/>
          <p:nvPr/>
        </p:nvSpPr>
        <p:spPr>
          <a:xfrm>
            <a:off x="7450062" y="1122281"/>
            <a:ext cx="4476412" cy="4561762"/>
          </a:xfrm>
          <a:prstGeom prst="rect">
            <a:avLst/>
          </a:prstGeom>
        </p:spPr>
        <p:txBody>
          <a:bodyPr wrap="square">
            <a:spAutoFit/>
          </a:bodyPr>
          <a:lstStyle/>
          <a:p>
            <a:pPr defTabSz="871487" fontAlgn="base"/>
            <a:r>
              <a:rPr lang="en-US" sz="1961" i="1" kern="0">
                <a:solidFill>
                  <a:srgbClr val="002050"/>
                </a:solidFill>
                <a:cs typeface="Segoe UI Semilight" panose="020B0402040204020203" pitchFamily="34" charset="0"/>
              </a:rPr>
              <a:t>Extensibility for third-party integration</a:t>
            </a:r>
          </a:p>
          <a:p>
            <a:pPr defTabSz="871487" fontAlgn="base"/>
            <a:r>
              <a:rPr lang="en-US" sz="1961" i="1" kern="0">
                <a:solidFill>
                  <a:srgbClr val="002050"/>
                </a:solidFill>
                <a:cs typeface="Segoe UI Semilight" panose="020B0402040204020203" pitchFamily="34" charset="0"/>
              </a:rPr>
              <a:t>Integration with internal systems</a:t>
            </a:r>
          </a:p>
          <a:p>
            <a:pPr defTabSz="871487" fontAlgn="base"/>
            <a:r>
              <a:rPr lang="en-US" sz="1961" i="1" kern="0">
                <a:solidFill>
                  <a:srgbClr val="002050"/>
                </a:solidFill>
                <a:cs typeface="Segoe UI Semilight" panose="020B0402040204020203" pitchFamily="34" charset="0"/>
              </a:rPr>
              <a:t>Enable additional services and business models</a:t>
            </a:r>
          </a:p>
          <a:p>
            <a:pPr defTabSz="871487" fontAlgn="base">
              <a:spcBef>
                <a:spcPts val="1200"/>
              </a:spcBef>
            </a:pPr>
            <a:r>
              <a:rPr lang="en-US" b="1">
                <a:solidFill>
                  <a:srgbClr val="002050"/>
                </a:solidFill>
              </a:rPr>
              <a:t>Tier-one and other downstream suppliers and SI’s are critical to bringing connected cars to market </a:t>
            </a:r>
            <a:endParaRPr lang="en-US" i="1" kern="0">
              <a:solidFill>
                <a:srgbClr val="002050"/>
              </a:solidFill>
              <a:cs typeface="Segoe UI Semilight" panose="020B0402040204020203" pitchFamily="34" charset="0"/>
            </a:endParaRPr>
          </a:p>
          <a:p>
            <a:pPr defTabSz="871487" fontAlgn="base">
              <a:spcBef>
                <a:spcPts val="1200"/>
              </a:spcBef>
            </a:pPr>
            <a:r>
              <a:rPr lang="en-US" b="1">
                <a:solidFill>
                  <a:srgbClr val="002050"/>
                </a:solidFill>
              </a:rPr>
              <a:t>Suppliers</a:t>
            </a:r>
            <a:r>
              <a:rPr lang="en-US">
                <a:solidFill>
                  <a:srgbClr val="002050"/>
                </a:solidFill>
              </a:rPr>
              <a:t> </a:t>
            </a:r>
            <a:endParaRPr lang="en-US" i="1" kern="0">
              <a:solidFill>
                <a:srgbClr val="002050"/>
              </a:solidFill>
              <a:cs typeface="Segoe UI Semilight" panose="020B0402040204020203" pitchFamily="34" charset="0"/>
            </a:endParaRPr>
          </a:p>
          <a:p>
            <a:pPr defTabSz="871487" fontAlgn="base">
              <a:spcBef>
                <a:spcPts val="1200"/>
              </a:spcBef>
            </a:pPr>
            <a:r>
              <a:rPr lang="en-US" b="1">
                <a:solidFill>
                  <a:srgbClr val="002050"/>
                </a:solidFill>
              </a:rPr>
              <a:t>System integrators (SI’s) and consulting services.</a:t>
            </a:r>
            <a:r>
              <a:rPr lang="en-US">
                <a:solidFill>
                  <a:srgbClr val="002050"/>
                </a:solidFill>
              </a:rPr>
              <a:t> </a:t>
            </a:r>
            <a:endParaRPr lang="en-US" i="1" kern="0">
              <a:solidFill>
                <a:srgbClr val="002050"/>
              </a:solidFill>
              <a:cs typeface="Segoe UI Semilight" panose="020B0402040204020203" pitchFamily="34" charset="0"/>
            </a:endParaRPr>
          </a:p>
          <a:p>
            <a:pPr defTabSz="871487" fontAlgn="base">
              <a:spcBef>
                <a:spcPts val="1200"/>
              </a:spcBef>
            </a:pPr>
            <a:r>
              <a:rPr lang="en-US" b="1">
                <a:solidFill>
                  <a:srgbClr val="002050"/>
                </a:solidFill>
              </a:rPr>
              <a:t>ISVs / Software Providers. </a:t>
            </a:r>
            <a:endParaRPr lang="en-US" b="1" i="1" kern="0">
              <a:solidFill>
                <a:srgbClr val="002050"/>
              </a:solidFill>
              <a:cs typeface="Segoe UI Semilight" panose="020B0402040204020203" pitchFamily="34" charset="0"/>
            </a:endParaRPr>
          </a:p>
          <a:p>
            <a:pPr defTabSz="871487" fontAlgn="base">
              <a:spcBef>
                <a:spcPts val="1200"/>
              </a:spcBef>
            </a:pPr>
            <a:r>
              <a:rPr lang="en-US" b="1">
                <a:solidFill>
                  <a:srgbClr val="002050"/>
                </a:solidFill>
              </a:rPr>
              <a:t>A broader ecosystem expands the services connected cars deliver</a:t>
            </a:r>
            <a:endParaRPr lang="en-US" i="1" kern="0">
              <a:solidFill>
                <a:srgbClr val="002050"/>
              </a:solidFill>
              <a:cs typeface="Segoe UI Semilight" panose="020B0402040204020203" pitchFamily="34" charset="0"/>
            </a:endParaRPr>
          </a:p>
        </p:txBody>
      </p:sp>
    </p:spTree>
    <p:extLst>
      <p:ext uri="{BB962C8B-B14F-4D97-AF65-F5344CB8AC3E}">
        <p14:creationId xmlns:p14="http://schemas.microsoft.com/office/powerpoint/2010/main" val="12990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TextBox 48"/>
          <p:cNvSpPr txBox="1"/>
          <p:nvPr/>
        </p:nvSpPr>
        <p:spPr>
          <a:xfrm>
            <a:off x="78440" y="6527816"/>
            <a:ext cx="4093634" cy="217849"/>
          </a:xfrm>
          <a:prstGeom prst="rect">
            <a:avLst/>
          </a:prstGeom>
          <a:noFill/>
        </p:spPr>
        <p:txBody>
          <a:bodyPr wrap="square" rtlCol="0">
            <a:spAutoFit/>
          </a:bodyPr>
          <a:lstStyle/>
          <a:p>
            <a:pPr defTabSz="896214">
              <a:spcAft>
                <a:spcPts val="600"/>
              </a:spcAft>
              <a:defRPr/>
            </a:pPr>
            <a:r>
              <a:rPr lang="en-US" sz="800" kern="0">
                <a:solidFill>
                  <a:srgbClr val="505050"/>
                </a:solidFill>
                <a:cs typeface="Segoe UI Semibold" panose="020B0702040204020203" pitchFamily="34" charset="0"/>
              </a:rPr>
              <a:t>Sources: McKinsey; Accenture; Corp Strat analysis</a:t>
            </a:r>
            <a:endParaRPr lang="en-US" sz="500" kern="0">
              <a:solidFill>
                <a:srgbClr val="505050"/>
              </a:solidFill>
            </a:endParaRPr>
          </a:p>
        </p:txBody>
      </p:sp>
      <p:sp>
        <p:nvSpPr>
          <p:cNvPr id="71" name="Title 3"/>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921" kern="0">
              <a:solidFill>
                <a:srgbClr val="0072C6"/>
              </a:solidFill>
              <a:cs typeface="Segoe UI Light" panose="020B0502040204020203" pitchFamily="34" charset="0"/>
            </a:endParaRPr>
          </a:p>
        </p:txBody>
      </p:sp>
      <p:sp>
        <p:nvSpPr>
          <p:cNvPr id="3" name="Title 2"/>
          <p:cNvSpPr>
            <a:spLocks noGrp="1"/>
          </p:cNvSpPr>
          <p:nvPr>
            <p:ph type="title"/>
          </p:nvPr>
        </p:nvSpPr>
        <p:spPr/>
        <p:txBody>
          <a:bodyPr/>
          <a:lstStyle/>
          <a:p>
            <a:r>
              <a:rPr lang="en-US"/>
              <a:t>Benefits for automakers</a:t>
            </a:r>
          </a:p>
        </p:txBody>
      </p:sp>
      <p:sp>
        <p:nvSpPr>
          <p:cNvPr id="2" name="Content Placeholder 1"/>
          <p:cNvSpPr>
            <a:spLocks noGrp="1"/>
          </p:cNvSpPr>
          <p:nvPr>
            <p:ph type="body" sz="quarter" idx="13"/>
          </p:nvPr>
        </p:nvSpPr>
        <p:spPr/>
        <p:txBody>
          <a:bodyPr>
            <a:normAutofit/>
          </a:bodyPr>
          <a:lstStyle/>
          <a:p>
            <a:r>
              <a:rPr lang="en-US" sz="2000"/>
              <a:t>Save money on updates, warranty issues, and recalls. </a:t>
            </a:r>
          </a:p>
          <a:p>
            <a:r>
              <a:rPr lang="en-US" sz="2000"/>
              <a:t>Promote Safety</a:t>
            </a:r>
          </a:p>
          <a:p>
            <a:r>
              <a:rPr lang="en-US" sz="2000"/>
              <a:t>Increase customer engagement and offer tailored experiences. </a:t>
            </a:r>
          </a:p>
          <a:p>
            <a:r>
              <a:rPr lang="en-US" sz="2000"/>
              <a:t>Improve sales and marketing efforts. </a:t>
            </a:r>
          </a:p>
          <a:p>
            <a:r>
              <a:rPr lang="en-US" sz="2000"/>
              <a:t>Develop new business models and scenarios. </a:t>
            </a:r>
          </a:p>
          <a:p>
            <a:r>
              <a:rPr lang="en-US" sz="2000"/>
              <a:t>Transform the broader enterprise to optimize current and future products. </a:t>
            </a:r>
          </a:p>
          <a:p>
            <a:endParaRPr lang="en-US" sz="2000"/>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l="22428" r="20765"/>
          <a:stretch/>
        </p:blipFill>
        <p:spPr>
          <a:xfrm>
            <a:off x="6348338" y="0"/>
            <a:ext cx="5843662" cy="6858000"/>
          </a:xfrm>
          <a:prstGeom prst="rect">
            <a:avLst/>
          </a:prstGeom>
        </p:spPr>
      </p:pic>
    </p:spTree>
    <p:extLst>
      <p:ext uri="{BB962C8B-B14F-4D97-AF65-F5344CB8AC3E}">
        <p14:creationId xmlns:p14="http://schemas.microsoft.com/office/powerpoint/2010/main" val="2001630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 name="Title 3"/>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921" kern="0">
              <a:solidFill>
                <a:srgbClr val="0072C6"/>
              </a:solidFill>
              <a:cs typeface="Segoe UI Light" panose="020B0502040204020203" pitchFamily="34" charset="0"/>
            </a:endParaRPr>
          </a:p>
        </p:txBody>
      </p:sp>
      <p:sp>
        <p:nvSpPr>
          <p:cNvPr id="3" name="Title 2"/>
          <p:cNvSpPr>
            <a:spLocks noGrp="1"/>
          </p:cNvSpPr>
          <p:nvPr>
            <p:ph type="title"/>
          </p:nvPr>
        </p:nvSpPr>
        <p:spPr/>
        <p:txBody>
          <a:bodyPr/>
          <a:lstStyle/>
          <a:p>
            <a:r>
              <a:rPr lang="en-US"/>
              <a:t>Telematics &amp; Predictive Services</a:t>
            </a:r>
          </a:p>
        </p:txBody>
      </p:sp>
      <p:sp>
        <p:nvSpPr>
          <p:cNvPr id="2" name="Text Placeholder 1"/>
          <p:cNvSpPr>
            <a:spLocks noGrp="1"/>
          </p:cNvSpPr>
          <p:nvPr>
            <p:ph type="body" sz="quarter" idx="13"/>
          </p:nvPr>
        </p:nvSpPr>
        <p:spPr/>
        <p:txBody>
          <a:bodyPr/>
          <a:lstStyle/>
          <a:p>
            <a:r>
              <a:rPr lang="en-US"/>
              <a:t>Use insights from vehicle data to prevent downtime, warranty and recall issues, and offer new services </a:t>
            </a:r>
            <a:br>
              <a:rPr lang="en-US"/>
            </a:br>
            <a:r>
              <a:rPr lang="en-US"/>
              <a:t>that improve user experience</a:t>
            </a:r>
          </a:p>
          <a:p>
            <a:pPr lvl="1"/>
            <a:r>
              <a:rPr lang="en-US"/>
              <a:t>OTA Updates, Predictive Maintenance, V2X </a:t>
            </a:r>
          </a:p>
          <a:p>
            <a:endParaRPr lang="en-US"/>
          </a:p>
        </p:txBody>
      </p:sp>
      <p:sp>
        <p:nvSpPr>
          <p:cNvPr id="13" name="Text Placeholder 12"/>
          <p:cNvSpPr>
            <a:spLocks noGrp="1"/>
          </p:cNvSpPr>
          <p:nvPr>
            <p:ph type="body" sz="quarter" idx="16"/>
          </p:nvPr>
        </p:nvSpPr>
        <p:spPr/>
        <p:txBody>
          <a:bodyPr/>
          <a:lstStyle/>
          <a:p>
            <a:r>
              <a:rPr lang="en-US"/>
              <a:t>Sample scenario: The vehicle collects battery usage data over time and sends it to the cloud. Machine learning analysis determines that the battery has a 70% likelihood of failure in the next 3 months. A timely predictive service recommendation is generated and sent to the user through their smartphone and in-car infotainment system, helping prevent the user from suffering through a dead battery, especially in the dead of winter. </a:t>
            </a:r>
          </a:p>
          <a:p>
            <a:endParaRPr lang="en-US"/>
          </a:p>
        </p:txBody>
      </p:sp>
      <p:sp>
        <p:nvSpPr>
          <p:cNvPr id="18" name="Text Placeholder 17"/>
          <p:cNvSpPr>
            <a:spLocks noGrp="1"/>
          </p:cNvSpPr>
          <p:nvPr>
            <p:ph type="body" sz="quarter" idx="17"/>
          </p:nvPr>
        </p:nvSpPr>
        <p:spPr>
          <a:xfrm>
            <a:off x="423333" y="4122738"/>
            <a:ext cx="2741605" cy="2557980"/>
          </a:xfrm>
        </p:spPr>
        <p:txBody>
          <a:bodyPr/>
          <a:lstStyle/>
          <a:p>
            <a:r>
              <a:rPr lang="en-US"/>
              <a:t>Telemetry </a:t>
            </a:r>
          </a:p>
          <a:p>
            <a:pPr lvl="1"/>
            <a:r>
              <a:rPr lang="en-US"/>
              <a:t>D2C messages</a:t>
            </a:r>
          </a:p>
          <a:p>
            <a:r>
              <a:rPr lang="en-US" err="1"/>
              <a:t>Telecommand</a:t>
            </a:r>
            <a:r>
              <a:rPr lang="en-US"/>
              <a:t> </a:t>
            </a:r>
          </a:p>
          <a:p>
            <a:pPr lvl="1"/>
            <a:r>
              <a:rPr lang="en-US"/>
              <a:t>C2D messages</a:t>
            </a:r>
          </a:p>
          <a:p>
            <a:r>
              <a:rPr lang="en-US"/>
              <a:t>Device Management</a:t>
            </a:r>
          </a:p>
          <a:p>
            <a:r>
              <a:rPr lang="en-US"/>
              <a:t>FOTA / SOTA</a:t>
            </a:r>
          </a:p>
          <a:p>
            <a:endParaRPr lang="en-US"/>
          </a:p>
        </p:txBody>
      </p:sp>
      <p:sp>
        <p:nvSpPr>
          <p:cNvPr id="24" name="Text Placeholder 23"/>
          <p:cNvSpPr>
            <a:spLocks noGrp="1"/>
          </p:cNvSpPr>
          <p:nvPr>
            <p:ph type="body" sz="quarter" idx="18"/>
          </p:nvPr>
        </p:nvSpPr>
        <p:spPr>
          <a:xfrm>
            <a:off x="3261619" y="4122738"/>
            <a:ext cx="3072832" cy="2557980"/>
          </a:xfrm>
        </p:spPr>
        <p:txBody>
          <a:bodyPr/>
          <a:lstStyle/>
          <a:p>
            <a:r>
              <a:rPr lang="en-US"/>
              <a:t>Predictive Maintenance</a:t>
            </a:r>
          </a:p>
          <a:p>
            <a:r>
              <a:rPr lang="en-US"/>
              <a:t>Vehicle Health Report</a:t>
            </a:r>
          </a:p>
          <a:p>
            <a:r>
              <a:rPr lang="en-US"/>
              <a:t>Find My Car</a:t>
            </a:r>
          </a:p>
          <a:p>
            <a:r>
              <a:rPr lang="en-US"/>
              <a:t>Remote Lock/Unlock</a:t>
            </a:r>
          </a:p>
          <a:p>
            <a:r>
              <a:rPr lang="en-US"/>
              <a:t>Remote Precondition</a:t>
            </a:r>
          </a:p>
          <a:p>
            <a:endParaRPr lang="en-US"/>
          </a:p>
        </p:txBody>
      </p:sp>
      <p:grpSp>
        <p:nvGrpSpPr>
          <p:cNvPr id="315" name="Group 314"/>
          <p:cNvGrpSpPr/>
          <p:nvPr/>
        </p:nvGrpSpPr>
        <p:grpSpPr>
          <a:xfrm>
            <a:off x="1597861" y="1817976"/>
            <a:ext cx="1294412" cy="1294412"/>
            <a:chOff x="831074" y="3053216"/>
            <a:chExt cx="1294412" cy="1294412"/>
          </a:xfrm>
        </p:grpSpPr>
        <p:sp>
          <p:nvSpPr>
            <p:cNvPr id="316" name="Oval 315"/>
            <p:cNvSpPr/>
            <p:nvPr/>
          </p:nvSpPr>
          <p:spPr>
            <a:xfrm>
              <a:off x="831074" y="3053216"/>
              <a:ext cx="1294412" cy="1294412"/>
            </a:xfrm>
            <a:prstGeom prst="ellipse">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96386">
                <a:defRPr/>
              </a:pPr>
              <a:endParaRPr lang="en-US" sz="1176" kern="0">
                <a:solidFill>
                  <a:sysClr val="windowText" lastClr="000000"/>
                </a:solidFill>
              </a:endParaRPr>
            </a:p>
          </p:txBody>
        </p:sp>
        <p:sp>
          <p:nvSpPr>
            <p:cNvPr id="317" name="Freeform 44"/>
            <p:cNvSpPr/>
            <p:nvPr/>
          </p:nvSpPr>
          <p:spPr bwMode="auto">
            <a:xfrm>
              <a:off x="1226761" y="3408357"/>
              <a:ext cx="503039" cy="584129"/>
            </a:xfrm>
            <a:custGeom>
              <a:avLst/>
              <a:gdLst/>
              <a:ahLst/>
              <a:cxnLst/>
              <a:rect l="l" t="t" r="r" b="b"/>
              <a:pathLst>
                <a:path w="2547706" h="2960640">
                  <a:moveTo>
                    <a:pt x="1273854" y="829245"/>
                  </a:moveTo>
                  <a:cubicBezTo>
                    <a:pt x="1494126" y="829245"/>
                    <a:pt x="1672690" y="1007810"/>
                    <a:pt x="1672690" y="1228081"/>
                  </a:cubicBezTo>
                  <a:cubicBezTo>
                    <a:pt x="1672690" y="1411890"/>
                    <a:pt x="1548351" y="1566656"/>
                    <a:pt x="1378743" y="1611207"/>
                  </a:cubicBezTo>
                  <a:lnTo>
                    <a:pt x="1378743" y="2689416"/>
                  </a:lnTo>
                  <a:lnTo>
                    <a:pt x="1830303" y="2689416"/>
                  </a:lnTo>
                  <a:cubicBezTo>
                    <a:pt x="1905200" y="2689416"/>
                    <a:pt x="1965915" y="2750131"/>
                    <a:pt x="1965915" y="2825028"/>
                  </a:cubicBezTo>
                  <a:cubicBezTo>
                    <a:pt x="1965915" y="2899925"/>
                    <a:pt x="1905200" y="2960640"/>
                    <a:pt x="1830303" y="2960640"/>
                  </a:cubicBezTo>
                  <a:lnTo>
                    <a:pt x="717405" y="2960640"/>
                  </a:lnTo>
                  <a:cubicBezTo>
                    <a:pt x="642508" y="2960640"/>
                    <a:pt x="581793" y="2899925"/>
                    <a:pt x="581793" y="2825028"/>
                  </a:cubicBezTo>
                  <a:cubicBezTo>
                    <a:pt x="581793" y="2750131"/>
                    <a:pt x="642508" y="2689416"/>
                    <a:pt x="717405" y="2689416"/>
                  </a:cubicBezTo>
                  <a:lnTo>
                    <a:pt x="1168967" y="2689416"/>
                  </a:lnTo>
                  <a:lnTo>
                    <a:pt x="1168967" y="1611207"/>
                  </a:lnTo>
                  <a:cubicBezTo>
                    <a:pt x="999359" y="1566657"/>
                    <a:pt x="875018" y="1411890"/>
                    <a:pt x="875018" y="1228081"/>
                  </a:cubicBezTo>
                  <a:cubicBezTo>
                    <a:pt x="875018" y="1007810"/>
                    <a:pt x="1053583" y="829245"/>
                    <a:pt x="1273854" y="829245"/>
                  </a:cubicBezTo>
                  <a:close/>
                  <a:moveTo>
                    <a:pt x="1233663" y="403862"/>
                  </a:moveTo>
                  <a:cubicBezTo>
                    <a:pt x="1737093" y="404807"/>
                    <a:pt x="1979594" y="679207"/>
                    <a:pt x="2075481" y="941397"/>
                  </a:cubicBezTo>
                  <a:cubicBezTo>
                    <a:pt x="2196902" y="1319188"/>
                    <a:pt x="2078801" y="1596406"/>
                    <a:pt x="1886631" y="1839677"/>
                  </a:cubicBezTo>
                  <a:cubicBezTo>
                    <a:pt x="1773762" y="1938645"/>
                    <a:pt x="1539169" y="1792631"/>
                    <a:pt x="1716421" y="1630752"/>
                  </a:cubicBezTo>
                  <a:cubicBezTo>
                    <a:pt x="1790667" y="1534204"/>
                    <a:pt x="1960762" y="1358542"/>
                    <a:pt x="1786506" y="983657"/>
                  </a:cubicBezTo>
                  <a:cubicBezTo>
                    <a:pt x="1733012" y="858452"/>
                    <a:pt x="1568784" y="643239"/>
                    <a:pt x="1245141" y="645288"/>
                  </a:cubicBezTo>
                  <a:cubicBezTo>
                    <a:pt x="921498" y="647337"/>
                    <a:pt x="804393" y="827299"/>
                    <a:pt x="713328" y="995952"/>
                  </a:cubicBezTo>
                  <a:cubicBezTo>
                    <a:pt x="680288" y="1062748"/>
                    <a:pt x="550176" y="1348281"/>
                    <a:pt x="855588" y="1732810"/>
                  </a:cubicBezTo>
                  <a:cubicBezTo>
                    <a:pt x="945585" y="1835619"/>
                    <a:pt x="718103" y="2034990"/>
                    <a:pt x="602425" y="1852771"/>
                  </a:cubicBezTo>
                  <a:cubicBezTo>
                    <a:pt x="558440" y="1791445"/>
                    <a:pt x="279895" y="1453727"/>
                    <a:pt x="435471" y="942908"/>
                  </a:cubicBezTo>
                  <a:cubicBezTo>
                    <a:pt x="503561" y="760785"/>
                    <a:pt x="730233" y="402917"/>
                    <a:pt x="1233663" y="403862"/>
                  </a:cubicBezTo>
                  <a:close/>
                  <a:moveTo>
                    <a:pt x="1240008" y="3"/>
                  </a:moveTo>
                  <a:cubicBezTo>
                    <a:pt x="1978790" y="1402"/>
                    <a:pt x="2334659" y="407516"/>
                    <a:pt x="2475373" y="795560"/>
                  </a:cubicBezTo>
                  <a:cubicBezTo>
                    <a:pt x="2653558" y="1354695"/>
                    <a:pt x="2480246" y="1764980"/>
                    <a:pt x="2198237" y="2125024"/>
                  </a:cubicBezTo>
                  <a:cubicBezTo>
                    <a:pt x="2043784" y="2203831"/>
                    <a:pt x="1945532" y="2049757"/>
                    <a:pt x="2049095" y="1928590"/>
                  </a:cubicBezTo>
                  <a:cubicBezTo>
                    <a:pt x="2158051" y="1785697"/>
                    <a:pt x="2480350" y="1367829"/>
                    <a:pt x="2224630" y="812995"/>
                  </a:cubicBezTo>
                  <a:cubicBezTo>
                    <a:pt x="2157310" y="655886"/>
                    <a:pt x="1836122" y="214759"/>
                    <a:pt x="1256852" y="233262"/>
                  </a:cubicBezTo>
                  <a:cubicBezTo>
                    <a:pt x="677582" y="251765"/>
                    <a:pt x="453504" y="559028"/>
                    <a:pt x="319866" y="808636"/>
                  </a:cubicBezTo>
                  <a:cubicBezTo>
                    <a:pt x="254606" y="986438"/>
                    <a:pt x="91624" y="1499252"/>
                    <a:pt x="539816" y="2068358"/>
                  </a:cubicBezTo>
                  <a:cubicBezTo>
                    <a:pt x="576836" y="2119017"/>
                    <a:pt x="455470" y="2301311"/>
                    <a:pt x="313669" y="2144403"/>
                  </a:cubicBezTo>
                  <a:cubicBezTo>
                    <a:pt x="249122" y="2053639"/>
                    <a:pt x="-159643" y="1553813"/>
                    <a:pt x="68665" y="797796"/>
                  </a:cubicBezTo>
                  <a:cubicBezTo>
                    <a:pt x="168587" y="528252"/>
                    <a:pt x="501227" y="-1396"/>
                    <a:pt x="1240008" y="3"/>
                  </a:cubicBezTo>
                  <a:close/>
                </a:path>
              </a:pathLst>
            </a:custGeom>
            <a:solidFill>
              <a:schemeClr val="tx2"/>
            </a:solidFill>
            <a:ln w="9525" cap="flat" cmpd="sng" algn="ctr">
              <a:noFill/>
              <a:prstDash val="solid"/>
              <a:headEnd type="none" w="med" len="med"/>
              <a:tailEnd type="none" w="med" len="med"/>
            </a:ln>
            <a:effectLst/>
          </p:spPr>
          <p:txBody>
            <a:bodyPr rot="0" spcFirstLastPara="0" vert="horz" wrap="square" lIns="91440" tIns="45720" rIns="45720" bIns="91440" numCol="1" spcCol="0" rtlCol="0" fromWordArt="0" anchor="b" anchorCtr="0" forceAA="0" compatLnSpc="1">
              <a:prstTxWarp prst="textNoShape">
                <a:avLst/>
              </a:prstTxWarp>
              <a:noAutofit/>
            </a:bodyPr>
            <a:lstStyle/>
            <a:p>
              <a:pPr defTabSz="932742">
                <a:defRPr/>
              </a:pPr>
              <a:endParaRPr lang="en-US" kern="0">
                <a:solidFill>
                  <a:srgbClr val="505050"/>
                </a:solidFill>
              </a:endParaRPr>
            </a:p>
          </p:txBody>
        </p:sp>
      </p:grpSp>
    </p:spTree>
    <p:extLst>
      <p:ext uri="{BB962C8B-B14F-4D97-AF65-F5344CB8AC3E}">
        <p14:creationId xmlns:p14="http://schemas.microsoft.com/office/powerpoint/2010/main" val="121047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16" y="317241"/>
            <a:ext cx="4193441" cy="3486055"/>
          </a:xfrm>
        </p:spPr>
        <p:txBody>
          <a:bodyPr>
            <a:normAutofit/>
          </a:bodyPr>
          <a:lstStyle/>
          <a:p>
            <a:r>
              <a:rPr lang="en-US" sz="5400"/>
              <a:t>Microsoft Connected Vehicle Platform</a:t>
            </a:r>
          </a:p>
        </p:txBody>
      </p:sp>
    </p:spTree>
    <p:extLst>
      <p:ext uri="{BB962C8B-B14F-4D97-AF65-F5344CB8AC3E}">
        <p14:creationId xmlns:p14="http://schemas.microsoft.com/office/powerpoint/2010/main" val="119257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 name="Title 3"/>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921" kern="0">
              <a:solidFill>
                <a:srgbClr val="0072C6"/>
              </a:solidFill>
              <a:cs typeface="Segoe UI Light" panose="020B0502040204020203" pitchFamily="34" charset="0"/>
            </a:endParaRPr>
          </a:p>
        </p:txBody>
      </p:sp>
      <p:sp>
        <p:nvSpPr>
          <p:cNvPr id="3" name="Title 2"/>
          <p:cNvSpPr>
            <a:spLocks noGrp="1"/>
          </p:cNvSpPr>
          <p:nvPr>
            <p:ph type="title"/>
          </p:nvPr>
        </p:nvSpPr>
        <p:spPr/>
        <p:txBody>
          <a:bodyPr/>
          <a:lstStyle/>
          <a:p>
            <a:r>
              <a:rPr lang="en-US"/>
              <a:t>Productivity &amp; Digital Life</a:t>
            </a:r>
          </a:p>
        </p:txBody>
      </p:sp>
      <p:sp>
        <p:nvSpPr>
          <p:cNvPr id="2" name="Text Placeholder 1"/>
          <p:cNvSpPr>
            <a:spLocks noGrp="1"/>
          </p:cNvSpPr>
          <p:nvPr>
            <p:ph type="body" sz="quarter" idx="13"/>
          </p:nvPr>
        </p:nvSpPr>
        <p:spPr/>
        <p:txBody>
          <a:bodyPr/>
          <a:lstStyle/>
          <a:p>
            <a:pPr lvl="0"/>
            <a:r>
              <a:rPr lang="en-US"/>
              <a:t>Help customers do more while reducing driver distraction and safety hazards</a:t>
            </a:r>
          </a:p>
          <a:p>
            <a:pPr lvl="1"/>
            <a:r>
              <a:rPr lang="en-US"/>
              <a:t>Microsoft Office 365, Cortana Personal Assistant, Skype, Bing</a:t>
            </a:r>
          </a:p>
        </p:txBody>
      </p:sp>
      <p:sp>
        <p:nvSpPr>
          <p:cNvPr id="11" name="Text Placeholder 10"/>
          <p:cNvSpPr>
            <a:spLocks noGrp="1"/>
          </p:cNvSpPr>
          <p:nvPr>
            <p:ph type="body" sz="quarter" idx="16"/>
          </p:nvPr>
        </p:nvSpPr>
        <p:spPr/>
        <p:txBody>
          <a:bodyPr/>
          <a:lstStyle/>
          <a:p>
            <a:r>
              <a:rPr lang="en-US" b="1"/>
              <a:t>Sample scenario</a:t>
            </a:r>
            <a:r>
              <a:rPr lang="en-US"/>
              <a:t>: A driver is getting ready to leave for work. First on the agenda is a morning conference call that will start while the driver is </a:t>
            </a:r>
            <a:r>
              <a:rPr lang="en-US" err="1"/>
              <a:t>en</a:t>
            </a:r>
            <a:r>
              <a:rPr lang="en-US"/>
              <a:t>-route. During the trip, Cortana asks the driver if they want to join the call. The driver responds “Yes, thanks Cortana” and joins the call automatically, without having to dial a code or enter conference information. The call audio is played over the car speakers. During the call, some important emails come in, and the driver mutes their microphone and listens to them using voice command. During the drive, the vehicle sees via Office 365 integration that the next meeting location has changed and automatically suggests a new route..</a:t>
            </a:r>
          </a:p>
          <a:p>
            <a:endParaRPr lang="en-US"/>
          </a:p>
          <a:p>
            <a:endParaRPr lang="en-US"/>
          </a:p>
        </p:txBody>
      </p:sp>
      <p:sp>
        <p:nvSpPr>
          <p:cNvPr id="12" name="Text Placeholder 11"/>
          <p:cNvSpPr>
            <a:spLocks noGrp="1"/>
          </p:cNvSpPr>
          <p:nvPr>
            <p:ph type="body" sz="quarter" idx="17"/>
          </p:nvPr>
        </p:nvSpPr>
        <p:spPr/>
        <p:txBody>
          <a:bodyPr/>
          <a:lstStyle/>
          <a:p>
            <a:r>
              <a:rPr lang="en-US"/>
              <a:t>Voice Personal Assistant </a:t>
            </a:r>
          </a:p>
          <a:p>
            <a:pPr lvl="1"/>
            <a:r>
              <a:rPr lang="en-US"/>
              <a:t>Cortana in the car &amp; out of the car</a:t>
            </a:r>
          </a:p>
          <a:p>
            <a:r>
              <a:rPr lang="en-US"/>
              <a:t>Calendar </a:t>
            </a:r>
          </a:p>
          <a:p>
            <a:pPr lvl="1"/>
            <a:r>
              <a:rPr lang="en-US"/>
              <a:t>Office 365</a:t>
            </a:r>
          </a:p>
          <a:p>
            <a:r>
              <a:rPr lang="en-US"/>
              <a:t>Communications </a:t>
            </a:r>
          </a:p>
          <a:p>
            <a:pPr lvl="1"/>
            <a:r>
              <a:rPr lang="en-US"/>
              <a:t>Office 365 Email, Skype Conferencing</a:t>
            </a:r>
          </a:p>
          <a:p>
            <a:r>
              <a:rPr lang="en-US"/>
              <a:t>Task Management </a:t>
            </a:r>
          </a:p>
          <a:p>
            <a:pPr lvl="1"/>
            <a:r>
              <a:rPr lang="en-US"/>
              <a:t>Outlook / Office 365</a:t>
            </a:r>
          </a:p>
          <a:p>
            <a:endParaRPr lang="en-US"/>
          </a:p>
        </p:txBody>
      </p:sp>
      <p:grpSp>
        <p:nvGrpSpPr>
          <p:cNvPr id="171" name="Group 170"/>
          <p:cNvGrpSpPr/>
          <p:nvPr/>
        </p:nvGrpSpPr>
        <p:grpSpPr>
          <a:xfrm>
            <a:off x="2492728" y="1605685"/>
            <a:ext cx="1294412" cy="1294412"/>
            <a:chOff x="3139934" y="3053216"/>
            <a:chExt cx="1294412" cy="1294412"/>
          </a:xfrm>
        </p:grpSpPr>
        <p:sp>
          <p:nvSpPr>
            <p:cNvPr id="172" name="Oval 171"/>
            <p:cNvSpPr/>
            <p:nvPr/>
          </p:nvSpPr>
          <p:spPr>
            <a:xfrm>
              <a:off x="3139934" y="3053216"/>
              <a:ext cx="1294412" cy="1294412"/>
            </a:xfrm>
            <a:prstGeom prst="ellipse">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96386"/>
              <a:endParaRPr lang="en-US" sz="1176" kern="0">
                <a:solidFill>
                  <a:sysClr val="windowText" lastClr="000000"/>
                </a:solidFill>
              </a:endParaRPr>
            </a:p>
          </p:txBody>
        </p:sp>
        <p:grpSp>
          <p:nvGrpSpPr>
            <p:cNvPr id="173" name="Group 172"/>
            <p:cNvGrpSpPr/>
            <p:nvPr/>
          </p:nvGrpSpPr>
          <p:grpSpPr>
            <a:xfrm>
              <a:off x="3533951" y="3447238"/>
              <a:ext cx="506374" cy="506368"/>
              <a:chOff x="-3053391" y="2506091"/>
              <a:chExt cx="223434" cy="223434"/>
            </a:xfrm>
            <a:solidFill>
              <a:schemeClr val="tx2"/>
            </a:solidFill>
          </p:grpSpPr>
          <p:sp>
            <p:nvSpPr>
              <p:cNvPr id="174" name="Freeform 14"/>
              <p:cNvSpPr>
                <a:spLocks noEditPoints="1"/>
              </p:cNvSpPr>
              <p:nvPr/>
            </p:nvSpPr>
            <p:spPr bwMode="auto">
              <a:xfrm>
                <a:off x="-3053391" y="2506091"/>
                <a:ext cx="223434" cy="223434"/>
              </a:xfrm>
              <a:custGeom>
                <a:avLst/>
                <a:gdLst>
                  <a:gd name="T0" fmla="*/ 185 w 187"/>
                  <a:gd name="T1" fmla="*/ 187 h 187"/>
                  <a:gd name="T2" fmla="*/ 2 w 187"/>
                  <a:gd name="T3" fmla="*/ 187 h 187"/>
                  <a:gd name="T4" fmla="*/ 0 w 187"/>
                  <a:gd name="T5" fmla="*/ 185 h 187"/>
                  <a:gd name="T6" fmla="*/ 0 w 187"/>
                  <a:gd name="T7" fmla="*/ 2 h 187"/>
                  <a:gd name="T8" fmla="*/ 2 w 187"/>
                  <a:gd name="T9" fmla="*/ 0 h 187"/>
                  <a:gd name="T10" fmla="*/ 185 w 187"/>
                  <a:gd name="T11" fmla="*/ 0 h 187"/>
                  <a:gd name="T12" fmla="*/ 187 w 187"/>
                  <a:gd name="T13" fmla="*/ 2 h 187"/>
                  <a:gd name="T14" fmla="*/ 187 w 187"/>
                  <a:gd name="T15" fmla="*/ 185 h 187"/>
                  <a:gd name="T16" fmla="*/ 185 w 187"/>
                  <a:gd name="T17" fmla="*/ 187 h 187"/>
                  <a:gd name="T18" fmla="*/ 15 w 187"/>
                  <a:gd name="T19" fmla="*/ 173 h 187"/>
                  <a:gd name="T20" fmla="*/ 172 w 187"/>
                  <a:gd name="T21" fmla="*/ 173 h 187"/>
                  <a:gd name="T22" fmla="*/ 173 w 187"/>
                  <a:gd name="T23" fmla="*/ 172 h 187"/>
                  <a:gd name="T24" fmla="*/ 173 w 187"/>
                  <a:gd name="T25" fmla="*/ 15 h 187"/>
                  <a:gd name="T26" fmla="*/ 172 w 187"/>
                  <a:gd name="T27" fmla="*/ 14 h 187"/>
                  <a:gd name="T28" fmla="*/ 15 w 187"/>
                  <a:gd name="T29" fmla="*/ 14 h 187"/>
                  <a:gd name="T30" fmla="*/ 14 w 187"/>
                  <a:gd name="T31" fmla="*/ 15 h 187"/>
                  <a:gd name="T32" fmla="*/ 14 w 187"/>
                  <a:gd name="T33" fmla="*/ 172 h 187"/>
                  <a:gd name="T34" fmla="*/ 15 w 187"/>
                  <a:gd name="T35" fmla="*/ 17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7">
                    <a:moveTo>
                      <a:pt x="185" y="187"/>
                    </a:moveTo>
                    <a:cubicBezTo>
                      <a:pt x="2" y="187"/>
                      <a:pt x="2" y="187"/>
                      <a:pt x="2" y="187"/>
                    </a:cubicBezTo>
                    <a:cubicBezTo>
                      <a:pt x="1" y="187"/>
                      <a:pt x="0" y="186"/>
                      <a:pt x="0" y="185"/>
                    </a:cubicBezTo>
                    <a:cubicBezTo>
                      <a:pt x="0" y="2"/>
                      <a:pt x="0" y="2"/>
                      <a:pt x="0" y="2"/>
                    </a:cubicBezTo>
                    <a:cubicBezTo>
                      <a:pt x="0" y="1"/>
                      <a:pt x="1" y="0"/>
                      <a:pt x="2" y="0"/>
                    </a:cubicBezTo>
                    <a:cubicBezTo>
                      <a:pt x="185" y="0"/>
                      <a:pt x="185" y="0"/>
                      <a:pt x="185" y="0"/>
                    </a:cubicBezTo>
                    <a:cubicBezTo>
                      <a:pt x="186" y="0"/>
                      <a:pt x="187" y="1"/>
                      <a:pt x="187" y="2"/>
                    </a:cubicBezTo>
                    <a:cubicBezTo>
                      <a:pt x="187" y="185"/>
                      <a:pt x="187" y="185"/>
                      <a:pt x="187" y="185"/>
                    </a:cubicBezTo>
                    <a:cubicBezTo>
                      <a:pt x="187" y="186"/>
                      <a:pt x="186" y="187"/>
                      <a:pt x="185" y="187"/>
                    </a:cubicBezTo>
                    <a:moveTo>
                      <a:pt x="15" y="173"/>
                    </a:moveTo>
                    <a:cubicBezTo>
                      <a:pt x="172" y="173"/>
                      <a:pt x="172" y="173"/>
                      <a:pt x="172" y="173"/>
                    </a:cubicBezTo>
                    <a:cubicBezTo>
                      <a:pt x="173" y="173"/>
                      <a:pt x="173" y="172"/>
                      <a:pt x="173" y="172"/>
                    </a:cubicBezTo>
                    <a:cubicBezTo>
                      <a:pt x="173" y="15"/>
                      <a:pt x="173" y="15"/>
                      <a:pt x="173" y="15"/>
                    </a:cubicBezTo>
                    <a:cubicBezTo>
                      <a:pt x="173" y="14"/>
                      <a:pt x="173" y="14"/>
                      <a:pt x="172" y="14"/>
                    </a:cubicBezTo>
                    <a:cubicBezTo>
                      <a:pt x="15" y="14"/>
                      <a:pt x="15" y="14"/>
                      <a:pt x="15" y="14"/>
                    </a:cubicBezTo>
                    <a:cubicBezTo>
                      <a:pt x="14" y="14"/>
                      <a:pt x="14" y="14"/>
                      <a:pt x="14" y="15"/>
                    </a:cubicBezTo>
                    <a:cubicBezTo>
                      <a:pt x="14" y="172"/>
                      <a:pt x="14" y="172"/>
                      <a:pt x="14" y="172"/>
                    </a:cubicBezTo>
                    <a:cubicBezTo>
                      <a:pt x="14" y="172"/>
                      <a:pt x="14" y="173"/>
                      <a:pt x="15" y="173"/>
                    </a:cubicBezTo>
                  </a:path>
                </a:pathLst>
              </a:custGeom>
              <a:grpFill/>
              <a:ln>
                <a:noFill/>
              </a:ln>
              <a:extLst/>
            </p:spPr>
            <p:txBody>
              <a:bodyPr vert="horz" wrap="square" lIns="91440" tIns="45720" rIns="91440" bIns="45720" numCol="1" anchor="t" anchorCtr="0" compatLnSpc="1">
                <a:prstTxWarp prst="textNoShape">
                  <a:avLst/>
                </a:prstTxWarp>
              </a:bodyPr>
              <a:lstStyle/>
              <a:p>
                <a:pPr defTabSz="932742">
                  <a:defRPr/>
                </a:pPr>
                <a:endParaRPr lang="en-US" kern="0">
                  <a:solidFill>
                    <a:srgbClr val="505050"/>
                  </a:solidFill>
                </a:endParaRPr>
              </a:p>
            </p:txBody>
          </p:sp>
          <p:sp>
            <p:nvSpPr>
              <p:cNvPr id="175" name="Freeform 15"/>
              <p:cNvSpPr>
                <a:spLocks/>
              </p:cNvSpPr>
              <p:nvPr/>
            </p:nvSpPr>
            <p:spPr bwMode="auto">
              <a:xfrm>
                <a:off x="-3017446" y="2556607"/>
                <a:ext cx="156404" cy="123375"/>
              </a:xfrm>
              <a:custGeom>
                <a:avLst/>
                <a:gdLst>
                  <a:gd name="T0" fmla="*/ 46 w 131"/>
                  <a:gd name="T1" fmla="*/ 103 h 104"/>
                  <a:gd name="T2" fmla="*/ 0 w 131"/>
                  <a:gd name="T3" fmla="*/ 58 h 104"/>
                  <a:gd name="T4" fmla="*/ 0 w 131"/>
                  <a:gd name="T5" fmla="*/ 56 h 104"/>
                  <a:gd name="T6" fmla="*/ 19 w 131"/>
                  <a:gd name="T7" fmla="*/ 38 h 104"/>
                  <a:gd name="T8" fmla="*/ 20 w 131"/>
                  <a:gd name="T9" fmla="*/ 38 h 104"/>
                  <a:gd name="T10" fmla="*/ 46 w 131"/>
                  <a:gd name="T11" fmla="*/ 64 h 104"/>
                  <a:gd name="T12" fmla="*/ 47 w 131"/>
                  <a:gd name="T13" fmla="*/ 64 h 104"/>
                  <a:gd name="T14" fmla="*/ 111 w 131"/>
                  <a:gd name="T15" fmla="*/ 0 h 104"/>
                  <a:gd name="T16" fmla="*/ 112 w 131"/>
                  <a:gd name="T17" fmla="*/ 0 h 104"/>
                  <a:gd name="T18" fmla="*/ 131 w 131"/>
                  <a:gd name="T19" fmla="*/ 19 h 104"/>
                  <a:gd name="T20" fmla="*/ 131 w 131"/>
                  <a:gd name="T21" fmla="*/ 20 h 104"/>
                  <a:gd name="T22" fmla="*/ 47 w 131"/>
                  <a:gd name="T23" fmla="*/ 103 h 104"/>
                  <a:gd name="T24" fmla="*/ 46 w 131"/>
                  <a:gd name="T25"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104">
                    <a:moveTo>
                      <a:pt x="46" y="103"/>
                    </a:moveTo>
                    <a:cubicBezTo>
                      <a:pt x="0" y="58"/>
                      <a:pt x="0" y="58"/>
                      <a:pt x="0" y="58"/>
                    </a:cubicBezTo>
                    <a:cubicBezTo>
                      <a:pt x="0" y="57"/>
                      <a:pt x="0" y="57"/>
                      <a:pt x="0" y="56"/>
                    </a:cubicBezTo>
                    <a:cubicBezTo>
                      <a:pt x="19" y="38"/>
                      <a:pt x="19" y="38"/>
                      <a:pt x="19" y="38"/>
                    </a:cubicBezTo>
                    <a:cubicBezTo>
                      <a:pt x="19" y="38"/>
                      <a:pt x="19" y="38"/>
                      <a:pt x="20" y="38"/>
                    </a:cubicBezTo>
                    <a:cubicBezTo>
                      <a:pt x="46" y="64"/>
                      <a:pt x="46" y="64"/>
                      <a:pt x="46" y="64"/>
                    </a:cubicBezTo>
                    <a:cubicBezTo>
                      <a:pt x="46" y="65"/>
                      <a:pt x="47" y="65"/>
                      <a:pt x="47" y="64"/>
                    </a:cubicBezTo>
                    <a:cubicBezTo>
                      <a:pt x="111" y="0"/>
                      <a:pt x="111" y="0"/>
                      <a:pt x="111" y="0"/>
                    </a:cubicBezTo>
                    <a:cubicBezTo>
                      <a:pt x="112" y="0"/>
                      <a:pt x="112" y="0"/>
                      <a:pt x="112" y="0"/>
                    </a:cubicBezTo>
                    <a:cubicBezTo>
                      <a:pt x="131" y="19"/>
                      <a:pt x="131" y="19"/>
                      <a:pt x="131" y="19"/>
                    </a:cubicBezTo>
                    <a:cubicBezTo>
                      <a:pt x="131" y="19"/>
                      <a:pt x="131" y="20"/>
                      <a:pt x="131" y="20"/>
                    </a:cubicBezTo>
                    <a:cubicBezTo>
                      <a:pt x="47" y="103"/>
                      <a:pt x="47" y="103"/>
                      <a:pt x="47" y="103"/>
                    </a:cubicBezTo>
                    <a:cubicBezTo>
                      <a:pt x="47" y="104"/>
                      <a:pt x="46" y="104"/>
                      <a:pt x="46" y="103"/>
                    </a:cubicBezTo>
                  </a:path>
                </a:pathLst>
              </a:custGeom>
              <a:grpFill/>
              <a:ln>
                <a:noFill/>
              </a:ln>
              <a:extLst/>
            </p:spPr>
            <p:txBody>
              <a:bodyPr vert="horz" wrap="square" lIns="91440" tIns="45720" rIns="91440" bIns="45720" numCol="1" anchor="t" anchorCtr="0" compatLnSpc="1">
                <a:prstTxWarp prst="textNoShape">
                  <a:avLst/>
                </a:prstTxWarp>
              </a:bodyPr>
              <a:lstStyle/>
              <a:p>
                <a:pPr defTabSz="932742">
                  <a:defRPr/>
                </a:pPr>
                <a:endParaRPr lang="en-US" kern="0">
                  <a:solidFill>
                    <a:srgbClr val="505050"/>
                  </a:solidFill>
                </a:endParaRPr>
              </a:p>
            </p:txBody>
          </p:sp>
        </p:grpSp>
      </p:grpSp>
    </p:spTree>
    <p:extLst>
      <p:ext uri="{BB962C8B-B14F-4D97-AF65-F5344CB8AC3E}">
        <p14:creationId xmlns:p14="http://schemas.microsoft.com/office/powerpoint/2010/main" val="382691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 name="Title 3"/>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921" kern="0">
              <a:solidFill>
                <a:srgbClr val="0072C6"/>
              </a:solidFill>
              <a:cs typeface="Segoe UI Light" panose="020B0502040204020203" pitchFamily="34" charset="0"/>
            </a:endParaRPr>
          </a:p>
        </p:txBody>
      </p:sp>
      <p:sp>
        <p:nvSpPr>
          <p:cNvPr id="3" name="Title 2"/>
          <p:cNvSpPr>
            <a:spLocks noGrp="1"/>
          </p:cNvSpPr>
          <p:nvPr>
            <p:ph type="title"/>
          </p:nvPr>
        </p:nvSpPr>
        <p:spPr/>
        <p:txBody>
          <a:bodyPr/>
          <a:lstStyle/>
          <a:p>
            <a:r>
              <a:rPr lang="en-US"/>
              <a:t>Connected ADAS*</a:t>
            </a:r>
          </a:p>
        </p:txBody>
      </p:sp>
      <p:sp>
        <p:nvSpPr>
          <p:cNvPr id="5" name="Text Placeholder 4"/>
          <p:cNvSpPr>
            <a:spLocks noGrp="1"/>
          </p:cNvSpPr>
          <p:nvPr>
            <p:ph type="body" sz="quarter" idx="13"/>
          </p:nvPr>
        </p:nvSpPr>
        <p:spPr/>
        <p:txBody>
          <a:bodyPr/>
          <a:lstStyle/>
          <a:p>
            <a:r>
              <a:rPr lang="en-US" sz="3200"/>
              <a:t>Increase safety, optimize vehicle performance, &amp; deliver real-time information to the driver or autonomous system</a:t>
            </a:r>
          </a:p>
          <a:p>
            <a:endParaRPr lang="en-US"/>
          </a:p>
        </p:txBody>
      </p:sp>
      <p:sp>
        <p:nvSpPr>
          <p:cNvPr id="6" name="Text Placeholder 5"/>
          <p:cNvSpPr>
            <a:spLocks noGrp="1"/>
          </p:cNvSpPr>
          <p:nvPr>
            <p:ph type="body" sz="quarter" idx="16"/>
          </p:nvPr>
        </p:nvSpPr>
        <p:spPr/>
        <p:txBody>
          <a:bodyPr/>
          <a:lstStyle/>
          <a:p>
            <a:r>
              <a:rPr lang="en-US" b="1"/>
              <a:t>Sample scenario</a:t>
            </a:r>
            <a:r>
              <a:rPr lang="en-US"/>
              <a:t>: A stray piece of debris is blocking a lane of traffic one mile ahead. Data from connected ADAS from the surrounding cars recognizes the debris and communicates that information to approaching cars, helping them proactively adjust to the slowdown well in advance.  </a:t>
            </a:r>
          </a:p>
          <a:p>
            <a:endParaRPr lang="en-US"/>
          </a:p>
        </p:txBody>
      </p:sp>
      <p:sp>
        <p:nvSpPr>
          <p:cNvPr id="7" name="Text Placeholder 6"/>
          <p:cNvSpPr>
            <a:spLocks noGrp="1"/>
          </p:cNvSpPr>
          <p:nvPr>
            <p:ph type="body" sz="quarter" idx="17"/>
          </p:nvPr>
        </p:nvSpPr>
        <p:spPr>
          <a:xfrm>
            <a:off x="311367" y="4122738"/>
            <a:ext cx="5791730" cy="2074862"/>
          </a:xfrm>
        </p:spPr>
        <p:txBody>
          <a:bodyPr/>
          <a:lstStyle/>
          <a:p>
            <a:r>
              <a:rPr lang="en-US"/>
              <a:t>Deep Learning Neural Network for batch training</a:t>
            </a:r>
          </a:p>
          <a:p>
            <a:r>
              <a:rPr lang="en-US"/>
              <a:t>In-car trained model for real-time evaluation</a:t>
            </a:r>
          </a:p>
          <a:p>
            <a:r>
              <a:rPr lang="en-US"/>
              <a:t>Ongoing capture and retraining</a:t>
            </a:r>
          </a:p>
          <a:p>
            <a:r>
              <a:rPr lang="en-US"/>
              <a:t>Capture, analyze and act on live road conditions</a:t>
            </a:r>
          </a:p>
          <a:p>
            <a:endParaRPr lang="en-US"/>
          </a:p>
        </p:txBody>
      </p:sp>
      <p:sp>
        <p:nvSpPr>
          <p:cNvPr id="187" name="TextBox 186"/>
          <p:cNvSpPr txBox="1"/>
          <p:nvPr/>
        </p:nvSpPr>
        <p:spPr>
          <a:xfrm>
            <a:off x="302372" y="6453173"/>
            <a:ext cx="5221348" cy="307777"/>
          </a:xfrm>
          <a:prstGeom prst="rect">
            <a:avLst/>
          </a:prstGeom>
          <a:noFill/>
        </p:spPr>
        <p:txBody>
          <a:bodyPr wrap="square" rtlCol="0">
            <a:spAutoFit/>
          </a:bodyPr>
          <a:lstStyle/>
          <a:p>
            <a:pPr algn="ctr" defTabSz="896214">
              <a:spcAft>
                <a:spcPts val="600"/>
              </a:spcAft>
              <a:defRPr/>
            </a:pPr>
            <a:r>
              <a:rPr lang="en-US" sz="1400" i="1" kern="0">
                <a:solidFill>
                  <a:srgbClr val="FFFFFF">
                    <a:lumMod val="50000"/>
                  </a:srgbClr>
                </a:solidFill>
                <a:cs typeface="Segoe UI Semibold" panose="020B0702040204020203" pitchFamily="34" charset="0"/>
              </a:rPr>
              <a:t>* ADAS – Advanced Driver Assistance Systems</a:t>
            </a:r>
            <a:endParaRPr lang="en-US" sz="1050" i="1" kern="0">
              <a:solidFill>
                <a:srgbClr val="FFFFFF">
                  <a:lumMod val="50000"/>
                </a:srgbClr>
              </a:solidFill>
            </a:endParaRPr>
          </a:p>
        </p:txBody>
      </p:sp>
      <p:grpSp>
        <p:nvGrpSpPr>
          <p:cNvPr id="191" name="Group 190"/>
          <p:cNvGrpSpPr/>
          <p:nvPr/>
        </p:nvGrpSpPr>
        <p:grpSpPr>
          <a:xfrm>
            <a:off x="3088653" y="1452497"/>
            <a:ext cx="1294412" cy="1294412"/>
            <a:chOff x="5448794" y="3053216"/>
            <a:chExt cx="1294412" cy="1294412"/>
          </a:xfrm>
        </p:grpSpPr>
        <p:sp>
          <p:nvSpPr>
            <p:cNvPr id="192" name="Oval 191"/>
            <p:cNvSpPr/>
            <p:nvPr/>
          </p:nvSpPr>
          <p:spPr>
            <a:xfrm>
              <a:off x="5448794" y="3053216"/>
              <a:ext cx="1294412" cy="1294412"/>
            </a:xfrm>
            <a:prstGeom prst="ellipse">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96386"/>
              <a:endParaRPr lang="en-US" sz="1176" kern="0">
                <a:solidFill>
                  <a:sysClr val="windowText" lastClr="000000"/>
                </a:solidFill>
              </a:endParaRPr>
            </a:p>
          </p:txBody>
        </p:sp>
        <p:sp>
          <p:nvSpPr>
            <p:cNvPr id="193" name="Freeform 30"/>
            <p:cNvSpPr>
              <a:spLocks noEditPoints="1"/>
            </p:cNvSpPr>
            <p:nvPr/>
          </p:nvSpPr>
          <p:spPr bwMode="black">
            <a:xfrm>
              <a:off x="5771670" y="3376092"/>
              <a:ext cx="648660" cy="648660"/>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79 w 442"/>
                <a:gd name="T19" fmla="*/ 255 h 442"/>
                <a:gd name="T20" fmla="*/ 207 w 442"/>
                <a:gd name="T21" fmla="*/ 277 h 442"/>
                <a:gd name="T22" fmla="*/ 184 w 442"/>
                <a:gd name="T23" fmla="*/ 294 h 442"/>
                <a:gd name="T24" fmla="*/ 199 w 442"/>
                <a:gd name="T25" fmla="*/ 311 h 442"/>
                <a:gd name="T26" fmla="*/ 221 w 442"/>
                <a:gd name="T27" fmla="*/ 325 h 442"/>
                <a:gd name="T28" fmla="*/ 241 w 442"/>
                <a:gd name="T29" fmla="*/ 367 h 442"/>
                <a:gd name="T30" fmla="*/ 241 w 442"/>
                <a:gd name="T31" fmla="*/ 371 h 442"/>
                <a:gd name="T32" fmla="*/ 241 w 442"/>
                <a:gd name="T33" fmla="*/ 381 h 442"/>
                <a:gd name="T34" fmla="*/ 199 w 442"/>
                <a:gd name="T35" fmla="*/ 381 h 442"/>
                <a:gd name="T36" fmla="*/ 199 w 442"/>
                <a:gd name="T37" fmla="*/ 369 h 442"/>
                <a:gd name="T38" fmla="*/ 199 w 442"/>
                <a:gd name="T39" fmla="*/ 367 h 442"/>
                <a:gd name="T40" fmla="*/ 200 w 442"/>
                <a:gd name="T41" fmla="*/ 367 h 442"/>
                <a:gd name="T42" fmla="*/ 194 w 442"/>
                <a:gd name="T43" fmla="*/ 358 h 442"/>
                <a:gd name="T44" fmla="*/ 184 w 442"/>
                <a:gd name="T45" fmla="*/ 351 h 442"/>
                <a:gd name="T46" fmla="*/ 156 w 442"/>
                <a:gd name="T47" fmla="*/ 333 h 442"/>
                <a:gd name="T48" fmla="*/ 140 w 442"/>
                <a:gd name="T49" fmla="*/ 296 h 442"/>
                <a:gd name="T50" fmla="*/ 140 w 442"/>
                <a:gd name="T51" fmla="*/ 292 h 442"/>
                <a:gd name="T52" fmla="*/ 156 w 442"/>
                <a:gd name="T53" fmla="*/ 258 h 442"/>
                <a:gd name="T54" fmla="*/ 186 w 442"/>
                <a:gd name="T55" fmla="*/ 242 h 442"/>
                <a:gd name="T56" fmla="*/ 188 w 442"/>
                <a:gd name="T57" fmla="*/ 241 h 442"/>
                <a:gd name="T58" fmla="*/ 231 w 442"/>
                <a:gd name="T59" fmla="*/ 233 h 442"/>
                <a:gd name="T60" fmla="*/ 249 w 442"/>
                <a:gd name="T61" fmla="*/ 221 h 442"/>
                <a:gd name="T62" fmla="*/ 218 w 442"/>
                <a:gd name="T63" fmla="*/ 194 h 442"/>
                <a:gd name="T64" fmla="*/ 198 w 442"/>
                <a:gd name="T65" fmla="*/ 152 h 442"/>
                <a:gd name="T66" fmla="*/ 199 w 442"/>
                <a:gd name="T67" fmla="*/ 145 h 442"/>
                <a:gd name="T68" fmla="*/ 160 w 442"/>
                <a:gd name="T69" fmla="*/ 145 h 442"/>
                <a:gd name="T70" fmla="*/ 160 w 442"/>
                <a:gd name="T71" fmla="*/ 145 h 442"/>
                <a:gd name="T72" fmla="*/ 152 w 442"/>
                <a:gd name="T73" fmla="*/ 138 h 442"/>
                <a:gd name="T74" fmla="*/ 153 w 442"/>
                <a:gd name="T75" fmla="*/ 134 h 442"/>
                <a:gd name="T76" fmla="*/ 221 w 442"/>
                <a:gd name="T77" fmla="*/ 42 h 442"/>
                <a:gd name="T78" fmla="*/ 292 w 442"/>
                <a:gd name="T79" fmla="*/ 133 h 442"/>
                <a:gd name="T80" fmla="*/ 292 w 442"/>
                <a:gd name="T81" fmla="*/ 133 h 442"/>
                <a:gd name="T82" fmla="*/ 294 w 442"/>
                <a:gd name="T83" fmla="*/ 138 h 442"/>
                <a:gd name="T84" fmla="*/ 286 w 442"/>
                <a:gd name="T85" fmla="*/ 145 h 442"/>
                <a:gd name="T86" fmla="*/ 286 w 442"/>
                <a:gd name="T87" fmla="*/ 145 h 442"/>
                <a:gd name="T88" fmla="*/ 241 w 442"/>
                <a:gd name="T89" fmla="*/ 145 h 442"/>
                <a:gd name="T90" fmla="*/ 240 w 442"/>
                <a:gd name="T91" fmla="*/ 152 h 442"/>
                <a:gd name="T92" fmla="*/ 243 w 442"/>
                <a:gd name="T93" fmla="*/ 160 h 442"/>
                <a:gd name="T94" fmla="*/ 248 w 442"/>
                <a:gd name="T95" fmla="*/ 163 h 442"/>
                <a:gd name="T96" fmla="*/ 249 w 442"/>
                <a:gd name="T97" fmla="*/ 163 h 442"/>
                <a:gd name="T98" fmla="*/ 251 w 442"/>
                <a:gd name="T99" fmla="*/ 164 h 442"/>
                <a:gd name="T100" fmla="*/ 278 w 442"/>
                <a:gd name="T101" fmla="*/ 179 h 442"/>
                <a:gd name="T102" fmla="*/ 295 w 442"/>
                <a:gd name="T103" fmla="*/ 211 h 442"/>
                <a:gd name="T104" fmla="*/ 296 w 442"/>
                <a:gd name="T105" fmla="*/ 220 h 442"/>
                <a:gd name="T106" fmla="*/ 279 w 442"/>
                <a:gd name="T107" fmla="*/ 25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79" y="255"/>
                  </a:moveTo>
                  <a:cubicBezTo>
                    <a:pt x="257" y="276"/>
                    <a:pt x="207" y="277"/>
                    <a:pt x="207" y="277"/>
                  </a:cubicBezTo>
                  <a:cubicBezTo>
                    <a:pt x="207" y="277"/>
                    <a:pt x="185" y="277"/>
                    <a:pt x="184" y="294"/>
                  </a:cubicBezTo>
                  <a:cubicBezTo>
                    <a:pt x="183" y="303"/>
                    <a:pt x="193" y="308"/>
                    <a:pt x="199" y="311"/>
                  </a:cubicBezTo>
                  <a:cubicBezTo>
                    <a:pt x="199" y="311"/>
                    <a:pt x="212" y="317"/>
                    <a:pt x="221" y="325"/>
                  </a:cubicBezTo>
                  <a:cubicBezTo>
                    <a:pt x="229" y="333"/>
                    <a:pt x="241" y="346"/>
                    <a:pt x="241" y="367"/>
                  </a:cubicBezTo>
                  <a:cubicBezTo>
                    <a:pt x="241" y="368"/>
                    <a:pt x="241" y="370"/>
                    <a:pt x="241" y="371"/>
                  </a:cubicBezTo>
                  <a:cubicBezTo>
                    <a:pt x="241" y="381"/>
                    <a:pt x="241" y="381"/>
                    <a:pt x="241" y="381"/>
                  </a:cubicBezTo>
                  <a:cubicBezTo>
                    <a:pt x="199" y="381"/>
                    <a:pt x="199" y="381"/>
                    <a:pt x="199" y="381"/>
                  </a:cubicBezTo>
                  <a:cubicBezTo>
                    <a:pt x="199" y="369"/>
                    <a:pt x="199" y="369"/>
                    <a:pt x="199" y="369"/>
                  </a:cubicBezTo>
                  <a:cubicBezTo>
                    <a:pt x="199" y="367"/>
                    <a:pt x="199" y="367"/>
                    <a:pt x="199" y="367"/>
                  </a:cubicBezTo>
                  <a:cubicBezTo>
                    <a:pt x="199" y="367"/>
                    <a:pt x="200" y="367"/>
                    <a:pt x="200" y="367"/>
                  </a:cubicBezTo>
                  <a:cubicBezTo>
                    <a:pt x="200" y="366"/>
                    <a:pt x="198" y="362"/>
                    <a:pt x="194" y="358"/>
                  </a:cubicBezTo>
                  <a:cubicBezTo>
                    <a:pt x="190" y="354"/>
                    <a:pt x="186" y="352"/>
                    <a:pt x="184" y="351"/>
                  </a:cubicBezTo>
                  <a:cubicBezTo>
                    <a:pt x="174" y="347"/>
                    <a:pt x="165" y="341"/>
                    <a:pt x="156" y="333"/>
                  </a:cubicBezTo>
                  <a:cubicBezTo>
                    <a:pt x="147" y="324"/>
                    <a:pt x="140" y="311"/>
                    <a:pt x="140" y="296"/>
                  </a:cubicBezTo>
                  <a:cubicBezTo>
                    <a:pt x="140" y="294"/>
                    <a:pt x="140" y="293"/>
                    <a:pt x="140" y="292"/>
                  </a:cubicBezTo>
                  <a:cubicBezTo>
                    <a:pt x="141" y="279"/>
                    <a:pt x="147" y="266"/>
                    <a:pt x="156" y="258"/>
                  </a:cubicBezTo>
                  <a:cubicBezTo>
                    <a:pt x="165" y="250"/>
                    <a:pt x="176" y="245"/>
                    <a:pt x="186" y="242"/>
                  </a:cubicBezTo>
                  <a:cubicBezTo>
                    <a:pt x="188" y="241"/>
                    <a:pt x="188" y="241"/>
                    <a:pt x="188" y="241"/>
                  </a:cubicBezTo>
                  <a:cubicBezTo>
                    <a:pt x="231" y="233"/>
                    <a:pt x="231" y="233"/>
                    <a:pt x="231" y="233"/>
                  </a:cubicBezTo>
                  <a:cubicBezTo>
                    <a:pt x="231" y="233"/>
                    <a:pt x="245" y="231"/>
                    <a:pt x="249" y="221"/>
                  </a:cubicBezTo>
                  <a:cubicBezTo>
                    <a:pt x="254" y="206"/>
                    <a:pt x="225" y="200"/>
                    <a:pt x="218" y="194"/>
                  </a:cubicBezTo>
                  <a:cubicBezTo>
                    <a:pt x="208" y="187"/>
                    <a:pt x="198" y="171"/>
                    <a:pt x="198" y="152"/>
                  </a:cubicBezTo>
                  <a:cubicBezTo>
                    <a:pt x="198" y="150"/>
                    <a:pt x="198" y="147"/>
                    <a:pt x="199" y="145"/>
                  </a:cubicBezTo>
                  <a:cubicBezTo>
                    <a:pt x="160" y="145"/>
                    <a:pt x="160" y="145"/>
                    <a:pt x="160" y="145"/>
                  </a:cubicBezTo>
                  <a:cubicBezTo>
                    <a:pt x="160" y="145"/>
                    <a:pt x="160" y="145"/>
                    <a:pt x="160" y="145"/>
                  </a:cubicBezTo>
                  <a:cubicBezTo>
                    <a:pt x="156" y="145"/>
                    <a:pt x="152" y="142"/>
                    <a:pt x="152" y="138"/>
                  </a:cubicBezTo>
                  <a:cubicBezTo>
                    <a:pt x="152" y="136"/>
                    <a:pt x="153" y="135"/>
                    <a:pt x="153" y="134"/>
                  </a:cubicBezTo>
                  <a:cubicBezTo>
                    <a:pt x="221" y="42"/>
                    <a:pt x="221" y="42"/>
                    <a:pt x="221" y="42"/>
                  </a:cubicBezTo>
                  <a:cubicBezTo>
                    <a:pt x="292" y="133"/>
                    <a:pt x="292" y="133"/>
                    <a:pt x="292" y="133"/>
                  </a:cubicBezTo>
                  <a:cubicBezTo>
                    <a:pt x="292" y="133"/>
                    <a:pt x="292" y="133"/>
                    <a:pt x="292" y="133"/>
                  </a:cubicBezTo>
                  <a:cubicBezTo>
                    <a:pt x="293" y="134"/>
                    <a:pt x="294" y="136"/>
                    <a:pt x="294" y="138"/>
                  </a:cubicBezTo>
                  <a:cubicBezTo>
                    <a:pt x="294" y="142"/>
                    <a:pt x="290" y="145"/>
                    <a:pt x="286" y="145"/>
                  </a:cubicBezTo>
                  <a:cubicBezTo>
                    <a:pt x="286" y="145"/>
                    <a:pt x="286" y="145"/>
                    <a:pt x="286" y="145"/>
                  </a:cubicBezTo>
                  <a:cubicBezTo>
                    <a:pt x="241" y="145"/>
                    <a:pt x="241" y="145"/>
                    <a:pt x="241" y="145"/>
                  </a:cubicBezTo>
                  <a:cubicBezTo>
                    <a:pt x="240" y="148"/>
                    <a:pt x="240" y="150"/>
                    <a:pt x="240" y="152"/>
                  </a:cubicBezTo>
                  <a:cubicBezTo>
                    <a:pt x="240" y="158"/>
                    <a:pt x="242" y="159"/>
                    <a:pt x="243" y="160"/>
                  </a:cubicBezTo>
                  <a:cubicBezTo>
                    <a:pt x="245" y="162"/>
                    <a:pt x="247" y="163"/>
                    <a:pt x="248" y="163"/>
                  </a:cubicBezTo>
                  <a:cubicBezTo>
                    <a:pt x="249" y="163"/>
                    <a:pt x="249" y="163"/>
                    <a:pt x="249" y="163"/>
                  </a:cubicBezTo>
                  <a:cubicBezTo>
                    <a:pt x="251" y="164"/>
                    <a:pt x="251" y="164"/>
                    <a:pt x="251" y="164"/>
                  </a:cubicBezTo>
                  <a:cubicBezTo>
                    <a:pt x="260" y="168"/>
                    <a:pt x="269" y="171"/>
                    <a:pt x="278" y="179"/>
                  </a:cubicBezTo>
                  <a:cubicBezTo>
                    <a:pt x="286" y="187"/>
                    <a:pt x="293" y="198"/>
                    <a:pt x="295" y="211"/>
                  </a:cubicBezTo>
                  <a:cubicBezTo>
                    <a:pt x="296" y="214"/>
                    <a:pt x="296" y="217"/>
                    <a:pt x="296" y="220"/>
                  </a:cubicBezTo>
                  <a:cubicBezTo>
                    <a:pt x="296" y="236"/>
                    <a:pt x="288" y="247"/>
                    <a:pt x="279" y="255"/>
                  </a:cubicBezTo>
                  <a:close/>
                </a:path>
              </a:pathLst>
            </a:custGeom>
            <a:solidFill>
              <a:schemeClr val="tx2"/>
            </a:solidFill>
            <a:ln>
              <a:noFill/>
            </a:ln>
          </p:spPr>
          <p:txBody>
            <a:bodyPr vert="horz" wrap="square" lIns="91416" tIns="45708" rIns="91416" bIns="45708" numCol="1" anchor="t" anchorCtr="0" compatLnSpc="1">
              <a:prstTxWarp prst="textNoShape">
                <a:avLst/>
              </a:prstTxWarp>
            </a:bodyPr>
            <a:lstStyle/>
            <a:p>
              <a:pPr defTabSz="932742">
                <a:defRPr/>
              </a:pPr>
              <a:endParaRPr lang="en-US" kern="0">
                <a:solidFill>
                  <a:srgbClr val="505050"/>
                </a:solidFill>
              </a:endParaRPr>
            </a:p>
          </p:txBody>
        </p:sp>
      </p:grpSp>
    </p:spTree>
    <p:extLst>
      <p:ext uri="{BB962C8B-B14F-4D97-AF65-F5344CB8AC3E}">
        <p14:creationId xmlns:p14="http://schemas.microsoft.com/office/powerpoint/2010/main" val="448377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 name="Title 3"/>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921" kern="0">
              <a:solidFill>
                <a:srgbClr val="0072C6"/>
              </a:solidFill>
              <a:cs typeface="Segoe UI Light" panose="020B0502040204020203" pitchFamily="34" charset="0"/>
            </a:endParaRPr>
          </a:p>
        </p:txBody>
      </p:sp>
      <p:sp>
        <p:nvSpPr>
          <p:cNvPr id="3" name="Title 2"/>
          <p:cNvSpPr>
            <a:spLocks noGrp="1"/>
          </p:cNvSpPr>
          <p:nvPr>
            <p:ph type="title"/>
          </p:nvPr>
        </p:nvSpPr>
        <p:spPr/>
        <p:txBody>
          <a:bodyPr/>
          <a:lstStyle/>
          <a:p>
            <a:r>
              <a:rPr lang="en-US"/>
              <a:t>Advanced Navigation</a:t>
            </a:r>
          </a:p>
        </p:txBody>
      </p:sp>
      <p:sp>
        <p:nvSpPr>
          <p:cNvPr id="15" name="Text Placeholder 14"/>
          <p:cNvSpPr>
            <a:spLocks noGrp="1"/>
          </p:cNvSpPr>
          <p:nvPr>
            <p:ph type="body" sz="quarter" idx="13"/>
          </p:nvPr>
        </p:nvSpPr>
        <p:spPr/>
        <p:txBody>
          <a:bodyPr/>
          <a:lstStyle/>
          <a:p>
            <a:r>
              <a:rPr lang="en-US"/>
              <a:t>Unify navigation data elements like maps, weather, traffic, and parking to deliver optimized routing and </a:t>
            </a:r>
            <a:br>
              <a:rPr lang="en-US"/>
            </a:br>
            <a:r>
              <a:rPr lang="en-US"/>
              <a:t>location based services</a:t>
            </a:r>
          </a:p>
          <a:p>
            <a:pPr lvl="1"/>
            <a:r>
              <a:rPr lang="en-US"/>
              <a:t>Highly Automated Driving Maps, Geolocation &amp; Geofencing </a:t>
            </a:r>
          </a:p>
          <a:p>
            <a:endParaRPr lang="en-US"/>
          </a:p>
        </p:txBody>
      </p:sp>
      <p:sp>
        <p:nvSpPr>
          <p:cNvPr id="17" name="Text Placeholder 16"/>
          <p:cNvSpPr>
            <a:spLocks noGrp="1"/>
          </p:cNvSpPr>
          <p:nvPr>
            <p:ph type="body" sz="quarter" idx="16"/>
          </p:nvPr>
        </p:nvSpPr>
        <p:spPr/>
        <p:txBody>
          <a:bodyPr/>
          <a:lstStyle/>
          <a:p>
            <a:r>
              <a:rPr lang="en-US" b="1"/>
              <a:t>Sample scenario</a:t>
            </a:r>
            <a:r>
              <a:rPr lang="en-US"/>
              <a:t>: A car knows that its driver leaves for work at 7:55am every day. It detects that the driver has an 8:00am meeting, and selects and suggests a different route based on optimal cell connectivity for the Skype call, rather than the shortest trip duration. </a:t>
            </a:r>
          </a:p>
        </p:txBody>
      </p:sp>
      <p:sp>
        <p:nvSpPr>
          <p:cNvPr id="5" name="Text Placeholder 4"/>
          <p:cNvSpPr>
            <a:spLocks noGrp="1"/>
          </p:cNvSpPr>
          <p:nvPr>
            <p:ph type="body" sz="quarter" idx="17"/>
          </p:nvPr>
        </p:nvSpPr>
        <p:spPr/>
        <p:txBody>
          <a:bodyPr/>
          <a:lstStyle/>
          <a:p>
            <a:r>
              <a:rPr lang="en-US"/>
              <a:t>Geolocation &amp; geofencing</a:t>
            </a:r>
          </a:p>
          <a:p>
            <a:r>
              <a:rPr lang="en-US"/>
              <a:t>Contextual POI search</a:t>
            </a:r>
          </a:p>
          <a:p>
            <a:r>
              <a:rPr lang="en-US"/>
              <a:t>Contextual routing</a:t>
            </a:r>
          </a:p>
          <a:p>
            <a:r>
              <a:rPr lang="en-US"/>
              <a:t>Geospatial Analysis</a:t>
            </a:r>
          </a:p>
          <a:p>
            <a:r>
              <a:rPr lang="en-US"/>
              <a:t>Maps for Highly Automated Driving (HAD)</a:t>
            </a:r>
          </a:p>
        </p:txBody>
      </p:sp>
      <p:cxnSp>
        <p:nvCxnSpPr>
          <p:cNvPr id="186" name="Straight Connector 185"/>
          <p:cNvCxnSpPr/>
          <p:nvPr/>
        </p:nvCxnSpPr>
        <p:spPr>
          <a:xfrm>
            <a:off x="6293725" y="4020492"/>
            <a:ext cx="5669280" cy="0"/>
          </a:xfrm>
          <a:prstGeom prst="line">
            <a:avLst/>
          </a:prstGeom>
          <a:ln w="9525" cap="rnd">
            <a:solidFill>
              <a:schemeClr val="bg1">
                <a:lumMod val="85000"/>
              </a:schemeClr>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grpSp>
        <p:nvGrpSpPr>
          <p:cNvPr id="196" name="Group 195"/>
          <p:cNvGrpSpPr/>
          <p:nvPr/>
        </p:nvGrpSpPr>
        <p:grpSpPr>
          <a:xfrm>
            <a:off x="2002338" y="1841376"/>
            <a:ext cx="1294412" cy="1294412"/>
            <a:chOff x="7757654" y="3053216"/>
            <a:chExt cx="1294412" cy="1294412"/>
          </a:xfrm>
        </p:grpSpPr>
        <p:sp>
          <p:nvSpPr>
            <p:cNvPr id="197" name="Oval 196"/>
            <p:cNvSpPr/>
            <p:nvPr/>
          </p:nvSpPr>
          <p:spPr>
            <a:xfrm>
              <a:off x="7757654" y="3053216"/>
              <a:ext cx="1294412" cy="1294412"/>
            </a:xfrm>
            <a:prstGeom prst="ellipse">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96386"/>
              <a:endParaRPr lang="en-US" sz="1176" kern="0">
                <a:solidFill>
                  <a:sysClr val="windowText" lastClr="000000"/>
                </a:solidFill>
              </a:endParaRPr>
            </a:p>
          </p:txBody>
        </p:sp>
        <p:sp>
          <p:nvSpPr>
            <p:cNvPr id="198" name="Freeform 132"/>
            <p:cNvSpPr>
              <a:spLocks noChangeAspect="1" noEditPoints="1"/>
            </p:cNvSpPr>
            <p:nvPr/>
          </p:nvSpPr>
          <p:spPr bwMode="black">
            <a:xfrm>
              <a:off x="8218745" y="3397127"/>
              <a:ext cx="372231" cy="606590"/>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tx2"/>
            </a:solidFill>
            <a:ln>
              <a:noFill/>
            </a:ln>
            <a:extLst/>
          </p:spPr>
          <p:txBody>
            <a:bodyPr vert="horz" wrap="square" lIns="91421" tIns="45710" rIns="91421" bIns="45710" numCol="1" anchor="t" anchorCtr="0" compatLnSpc="1">
              <a:prstTxWarp prst="textNoShape">
                <a:avLst/>
              </a:prstTxWarp>
            </a:bodyPr>
            <a:lstStyle/>
            <a:p>
              <a:pPr defTabSz="932742">
                <a:defRPr/>
              </a:pPr>
              <a:endParaRPr lang="en-US" sz="1764" kern="0">
                <a:solidFill>
                  <a:srgbClr val="000000"/>
                </a:solidFill>
              </a:endParaRPr>
            </a:p>
          </p:txBody>
        </p:sp>
      </p:grpSp>
    </p:spTree>
    <p:extLst>
      <p:ext uri="{BB962C8B-B14F-4D97-AF65-F5344CB8AC3E}">
        <p14:creationId xmlns:p14="http://schemas.microsoft.com/office/powerpoint/2010/main" val="188710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TextBox 48"/>
          <p:cNvSpPr txBox="1"/>
          <p:nvPr/>
        </p:nvSpPr>
        <p:spPr>
          <a:xfrm>
            <a:off x="78440" y="6527816"/>
            <a:ext cx="4093634" cy="217849"/>
          </a:xfrm>
          <a:prstGeom prst="rect">
            <a:avLst/>
          </a:prstGeom>
          <a:noFill/>
        </p:spPr>
        <p:txBody>
          <a:bodyPr wrap="square" rtlCol="0">
            <a:spAutoFit/>
          </a:bodyPr>
          <a:lstStyle/>
          <a:p>
            <a:pPr defTabSz="896214">
              <a:spcAft>
                <a:spcPts val="600"/>
              </a:spcAft>
              <a:defRPr/>
            </a:pPr>
            <a:r>
              <a:rPr lang="en-US" sz="800" kern="0">
                <a:solidFill>
                  <a:srgbClr val="505050"/>
                </a:solidFill>
                <a:cs typeface="Segoe UI Semibold" panose="020B0702040204020203" pitchFamily="34" charset="0"/>
              </a:rPr>
              <a:t>Sources: McKinsey; Accenture; Corp Strat analysis</a:t>
            </a:r>
            <a:endParaRPr lang="en-US" sz="500" kern="0">
              <a:solidFill>
                <a:srgbClr val="505050"/>
              </a:solidFill>
            </a:endParaRPr>
          </a:p>
        </p:txBody>
      </p:sp>
      <p:sp>
        <p:nvSpPr>
          <p:cNvPr id="71" name="Title 3"/>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921" kern="0">
              <a:solidFill>
                <a:srgbClr val="0072C6"/>
              </a:solidFill>
              <a:cs typeface="Segoe UI Light" panose="020B0502040204020203" pitchFamily="34" charset="0"/>
            </a:endParaRPr>
          </a:p>
        </p:txBody>
      </p:sp>
      <p:sp>
        <p:nvSpPr>
          <p:cNvPr id="3" name="Title 2"/>
          <p:cNvSpPr>
            <a:spLocks noGrp="1"/>
          </p:cNvSpPr>
          <p:nvPr>
            <p:ph type="title"/>
          </p:nvPr>
        </p:nvSpPr>
        <p:spPr/>
        <p:txBody>
          <a:bodyPr/>
          <a:lstStyle/>
          <a:p>
            <a:r>
              <a:rPr lang="en-US"/>
              <a:t>Customer Insights &amp; Engagement</a:t>
            </a:r>
          </a:p>
        </p:txBody>
      </p:sp>
      <p:sp>
        <p:nvSpPr>
          <p:cNvPr id="2" name="Text Placeholder 1"/>
          <p:cNvSpPr>
            <a:spLocks noGrp="1"/>
          </p:cNvSpPr>
          <p:nvPr>
            <p:ph type="body" sz="quarter" idx="13"/>
          </p:nvPr>
        </p:nvSpPr>
        <p:spPr/>
        <p:txBody>
          <a:bodyPr/>
          <a:lstStyle/>
          <a:p>
            <a:r>
              <a:rPr lang="en-US"/>
              <a:t>Connect across the entirety of a customer’s digital life through custom applications, CRM integration, and new </a:t>
            </a:r>
            <a:br>
              <a:rPr lang="en-US"/>
            </a:br>
            <a:r>
              <a:rPr lang="en-US"/>
              <a:t>business models</a:t>
            </a:r>
          </a:p>
          <a:p>
            <a:pPr lvl="1"/>
            <a:r>
              <a:rPr lang="en-US"/>
              <a:t>Microsoft Dynamics 365 CRM, Driver Profiles, Omni-channel </a:t>
            </a:r>
          </a:p>
          <a:p>
            <a:endParaRPr lang="en-US"/>
          </a:p>
        </p:txBody>
      </p:sp>
      <p:sp>
        <p:nvSpPr>
          <p:cNvPr id="5" name="Text Placeholder 4"/>
          <p:cNvSpPr>
            <a:spLocks noGrp="1"/>
          </p:cNvSpPr>
          <p:nvPr>
            <p:ph type="body" sz="quarter" idx="16"/>
          </p:nvPr>
        </p:nvSpPr>
        <p:spPr/>
        <p:txBody>
          <a:bodyPr/>
          <a:lstStyle/>
          <a:p>
            <a:r>
              <a:rPr lang="en-US" b="1"/>
              <a:t>Sample scenario</a:t>
            </a:r>
            <a:r>
              <a:rPr lang="en-US"/>
              <a:t>: Having opted into an OEM loyalty program powered by Dynamics 365, a driver’s car can proactively provide special offers based on insights that he visits a restaurant in a busy part of town frequently. The OEMs CRM system suggests a parking services application that can automatically reserve a parking spot near the destination, and delivers a discount coupon for a new item at that restaurant. </a:t>
            </a:r>
          </a:p>
        </p:txBody>
      </p:sp>
      <p:sp>
        <p:nvSpPr>
          <p:cNvPr id="4" name="Text Placeholder 3"/>
          <p:cNvSpPr>
            <a:spLocks noGrp="1"/>
          </p:cNvSpPr>
          <p:nvPr>
            <p:ph type="body" sz="quarter" idx="17"/>
          </p:nvPr>
        </p:nvSpPr>
        <p:spPr>
          <a:xfrm>
            <a:off x="348689" y="4122738"/>
            <a:ext cx="5757334" cy="2074862"/>
          </a:xfrm>
        </p:spPr>
        <p:txBody>
          <a:bodyPr/>
          <a:lstStyle/>
          <a:p>
            <a:r>
              <a:rPr lang="en-US"/>
              <a:t>Mobile solutions</a:t>
            </a:r>
          </a:p>
          <a:p>
            <a:r>
              <a:rPr lang="en-US"/>
              <a:t>CRM integration</a:t>
            </a:r>
          </a:p>
          <a:p>
            <a:r>
              <a:rPr lang="en-US"/>
              <a:t>Analytics &amp; insight Discovery &amp; shopping tools </a:t>
            </a:r>
          </a:p>
          <a:p>
            <a:endParaRPr lang="en-US"/>
          </a:p>
        </p:txBody>
      </p:sp>
      <p:sp>
        <p:nvSpPr>
          <p:cNvPr id="182" name="Rectangle 181"/>
          <p:cNvSpPr/>
          <p:nvPr/>
        </p:nvSpPr>
        <p:spPr>
          <a:xfrm>
            <a:off x="6599571" y="4342092"/>
            <a:ext cx="5293147" cy="338554"/>
          </a:xfrm>
          <a:prstGeom prst="rect">
            <a:avLst/>
          </a:prstGeom>
        </p:spPr>
        <p:txBody>
          <a:bodyPr wrap="square" lIns="91440">
            <a:spAutoFit/>
          </a:bodyPr>
          <a:lstStyle/>
          <a:p>
            <a:pPr defTabSz="914225"/>
            <a:endParaRPr lang="en-US" sz="1600" kern="0">
              <a:solidFill>
                <a:srgbClr val="FFFFFF"/>
              </a:solidFill>
            </a:endParaRPr>
          </a:p>
        </p:txBody>
      </p:sp>
      <p:sp>
        <p:nvSpPr>
          <p:cNvPr id="183" name="TextBox 182"/>
          <p:cNvSpPr txBox="1"/>
          <p:nvPr/>
        </p:nvSpPr>
        <p:spPr>
          <a:xfrm>
            <a:off x="6599571" y="838056"/>
            <a:ext cx="4956751" cy="246221"/>
          </a:xfrm>
          <a:prstGeom prst="rect">
            <a:avLst/>
          </a:prstGeom>
          <a:noFill/>
        </p:spPr>
        <p:txBody>
          <a:bodyPr wrap="square" lIns="91440" tIns="0" rIns="0" bIns="0" rtlCol="0" anchor="t">
            <a:spAutoFit/>
          </a:bodyPr>
          <a:lstStyle>
            <a:defPPr>
              <a:defRPr lang="en-US"/>
            </a:defPPr>
            <a:lvl1pPr>
              <a:defRPr sz="900"/>
            </a:lvl1pPr>
          </a:lstStyle>
          <a:p>
            <a:endParaRPr lang="en-US" sz="1600">
              <a:solidFill>
                <a:srgbClr val="0072C6">
                  <a:lumMod val="60000"/>
                  <a:lumOff val="40000"/>
                </a:srgbClr>
              </a:solidFill>
            </a:endParaRPr>
          </a:p>
        </p:txBody>
      </p:sp>
      <p:cxnSp>
        <p:nvCxnSpPr>
          <p:cNvPr id="186" name="Straight Connector 185"/>
          <p:cNvCxnSpPr/>
          <p:nvPr/>
        </p:nvCxnSpPr>
        <p:spPr>
          <a:xfrm>
            <a:off x="6293725" y="4008522"/>
            <a:ext cx="5669280" cy="0"/>
          </a:xfrm>
          <a:prstGeom prst="line">
            <a:avLst/>
          </a:prstGeom>
          <a:ln w="9525" cap="rnd">
            <a:solidFill>
              <a:schemeClr val="bg1">
                <a:lumMod val="85000"/>
              </a:schemeClr>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grpSp>
        <p:nvGrpSpPr>
          <p:cNvPr id="184" name="Group 183"/>
          <p:cNvGrpSpPr/>
          <p:nvPr/>
        </p:nvGrpSpPr>
        <p:grpSpPr>
          <a:xfrm>
            <a:off x="2877662" y="2016012"/>
            <a:ext cx="1294412" cy="1294412"/>
            <a:chOff x="10066515" y="3155183"/>
            <a:chExt cx="1294412" cy="1294412"/>
          </a:xfrm>
        </p:grpSpPr>
        <p:sp>
          <p:nvSpPr>
            <p:cNvPr id="185" name="Oval 184"/>
            <p:cNvSpPr/>
            <p:nvPr/>
          </p:nvSpPr>
          <p:spPr>
            <a:xfrm>
              <a:off x="10066515" y="3155183"/>
              <a:ext cx="1294412" cy="1294412"/>
            </a:xfrm>
            <a:prstGeom prst="ellipse">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96386"/>
              <a:endParaRPr lang="en-US" sz="1176" kern="0">
                <a:solidFill>
                  <a:sysClr val="windowText" lastClr="000000"/>
                </a:solidFill>
              </a:endParaRPr>
            </a:p>
          </p:txBody>
        </p:sp>
        <p:sp>
          <p:nvSpPr>
            <p:cNvPr id="187" name="Freeform 48"/>
            <p:cNvSpPr>
              <a:spLocks noChangeAspect="1"/>
            </p:cNvSpPr>
            <p:nvPr/>
          </p:nvSpPr>
          <p:spPr bwMode="black">
            <a:xfrm>
              <a:off x="10421267" y="3545783"/>
              <a:ext cx="584909" cy="513213"/>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2"/>
            </a:solidFill>
            <a:ln w="9525" cap="flat" cmpd="sng" algn="ctr">
              <a:noFill/>
              <a:prstDash val="solid"/>
              <a:headEnd type="none" w="med" len="med"/>
              <a:tailEnd type="none" w="med" len="med"/>
            </a:ln>
            <a:effectLst/>
            <a:ex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42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Conceptual Architecture</a:t>
            </a:r>
          </a:p>
        </p:txBody>
      </p:sp>
      <p:sp>
        <p:nvSpPr>
          <p:cNvPr id="6" name="Rectangle 5"/>
          <p:cNvSpPr/>
          <p:nvPr/>
        </p:nvSpPr>
        <p:spPr>
          <a:xfrm>
            <a:off x="1389771" y="1710852"/>
            <a:ext cx="8924617" cy="1380153"/>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7"/>
            <a:r>
              <a:rPr lang="fr-FR" sz="1765">
                <a:solidFill>
                  <a:srgbClr val="FFFFFF"/>
                </a:solidFill>
                <a:latin typeface="Segoe UI" panose="020B0502040204020203" pitchFamily="34" charset="0"/>
                <a:cs typeface="Segoe UI" panose="020B0502040204020203" pitchFamily="34" charset="0"/>
              </a:rPr>
              <a:t>Services Layer</a:t>
            </a:r>
          </a:p>
        </p:txBody>
      </p:sp>
      <p:sp>
        <p:nvSpPr>
          <p:cNvPr id="7" name="Rectangle 6"/>
          <p:cNvSpPr/>
          <p:nvPr/>
        </p:nvSpPr>
        <p:spPr>
          <a:xfrm>
            <a:off x="1389770" y="3201685"/>
            <a:ext cx="8924618" cy="2869543"/>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7"/>
            <a:r>
              <a:rPr lang="en-US" sz="1765">
                <a:solidFill>
                  <a:srgbClr val="FFFFFF"/>
                </a:solidFill>
                <a:latin typeface="Segoe UI" panose="020B0502040204020203" pitchFamily="34" charset="0"/>
                <a:cs typeface="Segoe UI" panose="020B0502040204020203" pitchFamily="34" charset="0"/>
              </a:rPr>
              <a:t>Core Features</a:t>
            </a:r>
          </a:p>
        </p:txBody>
      </p:sp>
      <p:sp>
        <p:nvSpPr>
          <p:cNvPr id="8" name="TextBox 7"/>
          <p:cNvSpPr txBox="1"/>
          <p:nvPr/>
        </p:nvSpPr>
        <p:spPr>
          <a:xfrm>
            <a:off x="2017197" y="3634847"/>
            <a:ext cx="1644856" cy="2303682"/>
          </a:xfrm>
          <a:prstGeom prst="rect">
            <a:avLst/>
          </a:prstGeom>
          <a:solidFill>
            <a:srgbClr val="00162E"/>
          </a:solidFill>
        </p:spPr>
        <p:txBody>
          <a:bodyPr wrap="square" rtlCol="0" anchor="ctr">
            <a:noAutofit/>
          </a:bodyPr>
          <a:lstStyle/>
          <a:p>
            <a:pPr algn="ctr" defTabSz="896354">
              <a:defRPr/>
            </a:pPr>
            <a:r>
              <a:rPr lang="en-US" sz="1765" kern="0">
                <a:solidFill>
                  <a:prstClr val="white"/>
                </a:solidFill>
                <a:latin typeface="Segoe UI Light" panose="020B0502040204020203" pitchFamily="34" charset="0"/>
                <a:cs typeface="Segoe UI Light" panose="020B0502040204020203" pitchFamily="34" charset="0"/>
              </a:rPr>
              <a:t>Device Gateway</a:t>
            </a:r>
            <a:endParaRPr lang="en-US" sz="1961" kern="0">
              <a:solidFill>
                <a:prstClr val="white"/>
              </a:solidFill>
              <a:latin typeface="Segoe UI Light" panose="020B0502040204020203" pitchFamily="34" charset="0"/>
              <a:cs typeface="Segoe UI Light" panose="020B0502040204020203" pitchFamily="34" charset="0"/>
            </a:endParaRPr>
          </a:p>
        </p:txBody>
      </p:sp>
      <p:sp>
        <p:nvSpPr>
          <p:cNvPr id="9" name="TextBox 8"/>
          <p:cNvSpPr txBox="1"/>
          <p:nvPr/>
        </p:nvSpPr>
        <p:spPr>
          <a:xfrm>
            <a:off x="7401219" y="3634847"/>
            <a:ext cx="1705378" cy="2303681"/>
          </a:xfrm>
          <a:prstGeom prst="rect">
            <a:avLst/>
          </a:prstGeom>
          <a:solidFill>
            <a:srgbClr val="00162E"/>
          </a:solidFill>
        </p:spPr>
        <p:txBody>
          <a:bodyPr wrap="square" rtlCol="0" anchor="ctr">
            <a:noAutofit/>
          </a:bodyPr>
          <a:lstStyle/>
          <a:p>
            <a:pPr algn="ctr" defTabSz="896354">
              <a:defRPr/>
            </a:pPr>
            <a:r>
              <a:rPr lang="en-US" sz="1765" kern="0">
                <a:solidFill>
                  <a:prstClr val="white"/>
                </a:solidFill>
                <a:latin typeface="Segoe UI Light" panose="020B0502040204020203" pitchFamily="34" charset="0"/>
                <a:cs typeface="Segoe UI Light" panose="020B0502040204020203" pitchFamily="34" charset="0"/>
              </a:rPr>
              <a:t>M2M / Proxy</a:t>
            </a:r>
            <a:endParaRPr lang="en-US" sz="1961" kern="0">
              <a:solidFill>
                <a:prstClr val="white"/>
              </a:solidFill>
              <a:latin typeface="Segoe UI Light" panose="020B0502040204020203" pitchFamily="34" charset="0"/>
              <a:cs typeface="Segoe UI Light" panose="020B0502040204020203" pitchFamily="34" charset="0"/>
            </a:endParaRPr>
          </a:p>
        </p:txBody>
      </p:sp>
      <p:sp>
        <p:nvSpPr>
          <p:cNvPr id="10" name="TextBox 9"/>
          <p:cNvSpPr txBox="1"/>
          <p:nvPr/>
        </p:nvSpPr>
        <p:spPr>
          <a:xfrm>
            <a:off x="3731176" y="3634847"/>
            <a:ext cx="1825530" cy="2303680"/>
          </a:xfrm>
          <a:prstGeom prst="rect">
            <a:avLst/>
          </a:prstGeom>
          <a:solidFill>
            <a:srgbClr val="00162E"/>
          </a:solidFill>
        </p:spPr>
        <p:txBody>
          <a:bodyPr wrap="square" rtlCol="0" anchor="ctr">
            <a:noAutofit/>
          </a:bodyPr>
          <a:lstStyle/>
          <a:p>
            <a:pPr algn="ctr" defTabSz="896354">
              <a:defRPr/>
            </a:pPr>
            <a:r>
              <a:rPr lang="en-US" sz="1765" kern="0">
                <a:solidFill>
                  <a:prstClr val="white"/>
                </a:solidFill>
                <a:latin typeface="Segoe UI Light" panose="020B0502040204020203" pitchFamily="34" charset="0"/>
                <a:cs typeface="Segoe UI Light" panose="020B0502040204020203" pitchFamily="34" charset="0"/>
              </a:rPr>
              <a:t>Data Management</a:t>
            </a:r>
            <a:endParaRPr lang="en-US" sz="1961" kern="0">
              <a:solidFill>
                <a:prstClr val="white"/>
              </a:solidFill>
              <a:latin typeface="Segoe UI Light" panose="020B0502040204020203" pitchFamily="34" charset="0"/>
              <a:cs typeface="Segoe UI Light" panose="020B0502040204020203" pitchFamily="34" charset="0"/>
            </a:endParaRPr>
          </a:p>
        </p:txBody>
      </p:sp>
      <p:sp>
        <p:nvSpPr>
          <p:cNvPr id="11" name="TextBox 10"/>
          <p:cNvSpPr txBox="1"/>
          <p:nvPr/>
        </p:nvSpPr>
        <p:spPr>
          <a:xfrm>
            <a:off x="5607257" y="3634847"/>
            <a:ext cx="1705378" cy="2303680"/>
          </a:xfrm>
          <a:prstGeom prst="rect">
            <a:avLst/>
          </a:prstGeom>
          <a:solidFill>
            <a:srgbClr val="00162E"/>
          </a:solidFill>
        </p:spPr>
        <p:txBody>
          <a:bodyPr wrap="square" rtlCol="0" anchor="ctr">
            <a:noAutofit/>
          </a:bodyPr>
          <a:lstStyle/>
          <a:p>
            <a:pPr algn="ctr" defTabSz="896354">
              <a:defRPr/>
            </a:pPr>
            <a:r>
              <a:rPr lang="en-US" sz="1765" kern="0" dirty="0">
                <a:solidFill>
                  <a:prstClr val="white"/>
                </a:solidFill>
                <a:latin typeface="Segoe UI Light" panose="020B0502040204020203" pitchFamily="34" charset="0"/>
                <a:cs typeface="Segoe UI Light" panose="020B0502040204020203" pitchFamily="34" charset="0"/>
              </a:rPr>
              <a:t>Device Management</a:t>
            </a:r>
            <a:endParaRPr lang="en-US" sz="1961" kern="0" dirty="0">
              <a:solidFill>
                <a:prstClr val="white"/>
              </a:solidFill>
              <a:latin typeface="Segoe UI Light" panose="020B0502040204020203" pitchFamily="34" charset="0"/>
              <a:cs typeface="Segoe UI Light" panose="020B0502040204020203" pitchFamily="34" charset="0"/>
            </a:endParaRPr>
          </a:p>
        </p:txBody>
      </p:sp>
      <p:sp>
        <p:nvSpPr>
          <p:cNvPr id="12" name="TextBox 11"/>
          <p:cNvSpPr txBox="1"/>
          <p:nvPr/>
        </p:nvSpPr>
        <p:spPr>
          <a:xfrm>
            <a:off x="9770513" y="2165276"/>
            <a:ext cx="444030" cy="3773252"/>
          </a:xfrm>
          <a:prstGeom prst="rect">
            <a:avLst/>
          </a:prstGeom>
          <a:solidFill>
            <a:srgbClr val="00162E"/>
          </a:solidFill>
        </p:spPr>
        <p:txBody>
          <a:bodyPr vert="vert270" wrap="square" rtlCol="0" anchor="ctr">
            <a:noAutofit/>
          </a:bodyPr>
          <a:lstStyle/>
          <a:p>
            <a:pPr algn="ctr" defTabSz="896354">
              <a:defRPr/>
            </a:pPr>
            <a:r>
              <a:rPr lang="en-US" sz="1765" kern="0">
                <a:solidFill>
                  <a:prstClr val="white"/>
                </a:solidFill>
                <a:latin typeface="Segoe UI Light"/>
              </a:rPr>
              <a:t>API Management</a:t>
            </a:r>
          </a:p>
        </p:txBody>
      </p:sp>
      <p:sp>
        <p:nvSpPr>
          <p:cNvPr id="13" name="TextBox 12"/>
          <p:cNvSpPr txBox="1"/>
          <p:nvPr/>
        </p:nvSpPr>
        <p:spPr>
          <a:xfrm>
            <a:off x="1979162" y="2186587"/>
            <a:ext cx="1165352" cy="794020"/>
          </a:xfrm>
          <a:prstGeom prst="rect">
            <a:avLst/>
          </a:prstGeom>
          <a:solidFill>
            <a:srgbClr val="00162E"/>
          </a:solidFill>
        </p:spPr>
        <p:txBody>
          <a:bodyPr wrap="square" rtlCol="0" anchor="ctr">
            <a:noAutofit/>
          </a:bodyPr>
          <a:lstStyle/>
          <a:p>
            <a:pPr algn="ctr" defTabSz="896354">
              <a:defRPr/>
            </a:pPr>
            <a:r>
              <a:rPr lang="en-US" sz="1765" kern="0">
                <a:solidFill>
                  <a:prstClr val="white"/>
                </a:solidFill>
                <a:latin typeface="Segoe UI Light"/>
              </a:rPr>
              <a:t>Service 1</a:t>
            </a:r>
          </a:p>
        </p:txBody>
      </p:sp>
      <p:sp>
        <p:nvSpPr>
          <p:cNvPr id="14" name="TextBox 13"/>
          <p:cNvSpPr txBox="1"/>
          <p:nvPr/>
        </p:nvSpPr>
        <p:spPr>
          <a:xfrm>
            <a:off x="3277561" y="2186587"/>
            <a:ext cx="1165352" cy="794020"/>
          </a:xfrm>
          <a:prstGeom prst="rect">
            <a:avLst/>
          </a:prstGeom>
          <a:solidFill>
            <a:srgbClr val="00162E"/>
          </a:solidFill>
        </p:spPr>
        <p:txBody>
          <a:bodyPr wrap="square" rtlCol="0" anchor="ctr">
            <a:noAutofit/>
          </a:bodyPr>
          <a:lstStyle/>
          <a:p>
            <a:pPr algn="ctr" defTabSz="896354">
              <a:defRPr/>
            </a:pPr>
            <a:r>
              <a:rPr lang="en-US" sz="1765" kern="0">
                <a:solidFill>
                  <a:prstClr val="white"/>
                </a:solidFill>
                <a:latin typeface="Segoe UI Light"/>
              </a:rPr>
              <a:t>Service 2</a:t>
            </a:r>
          </a:p>
        </p:txBody>
      </p:sp>
      <p:sp>
        <p:nvSpPr>
          <p:cNvPr id="15" name="TextBox 14"/>
          <p:cNvSpPr txBox="1"/>
          <p:nvPr/>
        </p:nvSpPr>
        <p:spPr>
          <a:xfrm>
            <a:off x="4575959" y="2182873"/>
            <a:ext cx="1165352" cy="794020"/>
          </a:xfrm>
          <a:prstGeom prst="rect">
            <a:avLst/>
          </a:prstGeom>
          <a:solidFill>
            <a:srgbClr val="00162E"/>
          </a:solidFill>
        </p:spPr>
        <p:txBody>
          <a:bodyPr wrap="square" rtlCol="0" anchor="ctr">
            <a:noAutofit/>
          </a:bodyPr>
          <a:lstStyle/>
          <a:p>
            <a:pPr algn="ctr" defTabSz="896354">
              <a:defRPr/>
            </a:pPr>
            <a:r>
              <a:rPr lang="en-US" sz="1765" kern="0">
                <a:solidFill>
                  <a:prstClr val="white"/>
                </a:solidFill>
                <a:latin typeface="Segoe UI Light"/>
              </a:rPr>
              <a:t>Service 3</a:t>
            </a:r>
          </a:p>
        </p:txBody>
      </p:sp>
      <p:sp>
        <p:nvSpPr>
          <p:cNvPr id="16" name="TextBox 15"/>
          <p:cNvSpPr txBox="1"/>
          <p:nvPr/>
        </p:nvSpPr>
        <p:spPr>
          <a:xfrm>
            <a:off x="7941244" y="2182873"/>
            <a:ext cx="1165352" cy="794020"/>
          </a:xfrm>
          <a:prstGeom prst="rect">
            <a:avLst/>
          </a:prstGeom>
          <a:solidFill>
            <a:srgbClr val="00162E"/>
          </a:solidFill>
        </p:spPr>
        <p:txBody>
          <a:bodyPr wrap="square" rtlCol="0" anchor="ctr">
            <a:noAutofit/>
          </a:bodyPr>
          <a:lstStyle/>
          <a:p>
            <a:pPr algn="ctr" defTabSz="896354">
              <a:defRPr/>
            </a:pPr>
            <a:r>
              <a:rPr lang="en-US" sz="1765" kern="0">
                <a:solidFill>
                  <a:prstClr val="white"/>
                </a:solidFill>
                <a:latin typeface="Segoe UI Light"/>
              </a:rPr>
              <a:t>Service N</a:t>
            </a:r>
          </a:p>
        </p:txBody>
      </p:sp>
      <p:sp>
        <p:nvSpPr>
          <p:cNvPr id="18" name="TextBox 17"/>
          <p:cNvSpPr txBox="1"/>
          <p:nvPr/>
        </p:nvSpPr>
        <p:spPr>
          <a:xfrm>
            <a:off x="5874357" y="2182873"/>
            <a:ext cx="1903380" cy="803987"/>
          </a:xfrm>
          <a:prstGeom prst="rect">
            <a:avLst/>
          </a:prstGeom>
          <a:solidFill>
            <a:srgbClr val="00162E"/>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19" name="TextBox 18"/>
          <p:cNvSpPr txBox="1"/>
          <p:nvPr/>
        </p:nvSpPr>
        <p:spPr>
          <a:xfrm>
            <a:off x="5996299" y="2182873"/>
            <a:ext cx="130520" cy="803987"/>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0" name="TextBox 19"/>
          <p:cNvSpPr txBox="1"/>
          <p:nvPr/>
        </p:nvSpPr>
        <p:spPr>
          <a:xfrm>
            <a:off x="6248760" y="2182873"/>
            <a:ext cx="130520" cy="803987"/>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1" name="TextBox 20"/>
          <p:cNvSpPr txBox="1"/>
          <p:nvPr/>
        </p:nvSpPr>
        <p:spPr>
          <a:xfrm>
            <a:off x="6501222" y="2165276"/>
            <a:ext cx="130520" cy="821584"/>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2" name="TextBox 21"/>
          <p:cNvSpPr txBox="1"/>
          <p:nvPr/>
        </p:nvSpPr>
        <p:spPr>
          <a:xfrm>
            <a:off x="6766175" y="2182873"/>
            <a:ext cx="130520" cy="803987"/>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3" name="TextBox 22"/>
          <p:cNvSpPr txBox="1"/>
          <p:nvPr/>
        </p:nvSpPr>
        <p:spPr>
          <a:xfrm>
            <a:off x="7018240" y="2182873"/>
            <a:ext cx="130520" cy="803987"/>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4" name="TextBox 23"/>
          <p:cNvSpPr txBox="1"/>
          <p:nvPr/>
        </p:nvSpPr>
        <p:spPr>
          <a:xfrm>
            <a:off x="7270701" y="2183160"/>
            <a:ext cx="130520" cy="803987"/>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5" name="TextBox 24"/>
          <p:cNvSpPr txBox="1"/>
          <p:nvPr/>
        </p:nvSpPr>
        <p:spPr>
          <a:xfrm>
            <a:off x="7522766" y="2182873"/>
            <a:ext cx="130520" cy="803987"/>
          </a:xfrm>
          <a:prstGeom prst="rect">
            <a:avLst/>
          </a:prstGeom>
          <a:solidFill>
            <a:srgbClr val="0070C0"/>
          </a:solidFill>
        </p:spPr>
        <p:txBody>
          <a:bodyPr wrap="square" rtlCol="0" anchor="ctr">
            <a:noAutofit/>
          </a:bodyPr>
          <a:lstStyle/>
          <a:p>
            <a:pPr algn="ctr" defTabSz="896354">
              <a:defRPr/>
            </a:pPr>
            <a:endParaRPr lang="en-US" sz="1765" kern="0">
              <a:solidFill>
                <a:prstClr val="white"/>
              </a:solidFill>
              <a:latin typeface="Segoe UI Light"/>
            </a:endParaRPr>
          </a:p>
        </p:txBody>
      </p:sp>
      <p:sp>
        <p:nvSpPr>
          <p:cNvPr id="26" name="TextBox 25"/>
          <p:cNvSpPr txBox="1"/>
          <p:nvPr/>
        </p:nvSpPr>
        <p:spPr>
          <a:xfrm>
            <a:off x="9257359" y="2165276"/>
            <a:ext cx="444030" cy="3773251"/>
          </a:xfrm>
          <a:prstGeom prst="rect">
            <a:avLst/>
          </a:prstGeom>
          <a:solidFill>
            <a:srgbClr val="00162E"/>
          </a:solidFill>
        </p:spPr>
        <p:txBody>
          <a:bodyPr vert="vert270" wrap="square" rtlCol="0" anchor="ctr">
            <a:noAutofit/>
          </a:bodyPr>
          <a:lstStyle/>
          <a:p>
            <a:pPr algn="ctr" defTabSz="896354">
              <a:defRPr/>
            </a:pPr>
            <a:r>
              <a:rPr lang="en-US" sz="1765" kern="0">
                <a:solidFill>
                  <a:prstClr val="white"/>
                </a:solidFill>
                <a:latin typeface="Segoe UI Light"/>
              </a:rPr>
              <a:t>Services Management</a:t>
            </a:r>
          </a:p>
        </p:txBody>
      </p:sp>
    </p:spTree>
    <p:extLst>
      <p:ext uri="{BB962C8B-B14F-4D97-AF65-F5344CB8AC3E}">
        <p14:creationId xmlns:p14="http://schemas.microsoft.com/office/powerpoint/2010/main" val="352612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hallenges facing the industry</a:t>
            </a:r>
          </a:p>
        </p:txBody>
      </p:sp>
    </p:spTree>
    <p:extLst>
      <p:ext uri="{BB962C8B-B14F-4D97-AF65-F5344CB8AC3E}">
        <p14:creationId xmlns:p14="http://schemas.microsoft.com/office/powerpoint/2010/main" val="58018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 Placeholder 4"/>
          <p:cNvSpPr txBox="1">
            <a:spLocks/>
          </p:cNvSpPr>
          <p:nvPr/>
        </p:nvSpPr>
        <p:spPr>
          <a:xfrm>
            <a:off x="4176418" y="1459839"/>
            <a:ext cx="2270920" cy="488609"/>
          </a:xfrm>
          <a:prstGeom prst="rect">
            <a:avLst/>
          </a:prstGeom>
        </p:spPr>
        <p:txBody>
          <a:bodyPr vert="horz" wrap="square" lIns="143266" tIns="89542" rIns="143266" bIns="89542" rtlCol="0" anchor="t">
            <a:spAutoFit/>
          </a:bodyPr>
          <a:lstStyle>
            <a:lvl1pPr marL="0" indent="0" algn="l" defTabSz="1048077" rtl="0" eaLnBrk="1" fontAlgn="base" hangingPunct="1">
              <a:spcBef>
                <a:spcPts val="1800"/>
              </a:spcBef>
              <a:spcAft>
                <a:spcPts val="0"/>
              </a:spcAft>
              <a:buClrTx/>
              <a:buFontTx/>
              <a:buNone/>
              <a:defRPr lang="en-US" sz="2000" b="0" cap="none" spc="-102" baseline="0" dirty="0" smtClean="0">
                <a:ln w="3175">
                  <a:noFill/>
                </a:ln>
                <a:solidFill>
                  <a:schemeClr val="tx1"/>
                </a:solidFill>
                <a:effectLst/>
                <a:latin typeface="+mn-lt"/>
                <a:ea typeface="+mn-ea"/>
                <a:cs typeface="Segoe UI" pitchFamily="34" charset="0"/>
              </a:defRPr>
            </a:lvl1pPr>
            <a:lvl2pPr marL="456597" marR="0" indent="-228300" algn="l" defTabSz="1048077" rtl="0" eaLnBrk="1" fontAlgn="base" latinLnBrk="0" hangingPunct="1">
              <a:lnSpc>
                <a:spcPct val="100000"/>
              </a:lnSpc>
              <a:spcBef>
                <a:spcPct val="20000"/>
              </a:spcBef>
              <a:spcAft>
                <a:spcPct val="0"/>
              </a:spcAft>
              <a:buClrTx/>
              <a:buSzTx/>
              <a:buFont typeface="Arial" panose="020B0604020202020204" pitchFamily="34" charset="0"/>
              <a:buChar char="•"/>
              <a:tabLst/>
              <a:defRPr lang="en-US" sz="1599" b="0" dirty="0" smtClean="0">
                <a:solidFill>
                  <a:schemeClr val="tx1"/>
                </a:solidFill>
                <a:latin typeface="+mn-lt"/>
                <a:cs typeface="+mn-cs"/>
              </a:defRPr>
            </a:lvl2pPr>
            <a:lvl3pPr marL="684897" indent="-228300" algn="l" defTabSz="1048077" rtl="0" eaLnBrk="1" fontAlgn="base" hangingPunct="1">
              <a:spcBef>
                <a:spcPts val="600"/>
              </a:spcBef>
              <a:spcAft>
                <a:spcPct val="0"/>
              </a:spcAft>
              <a:buClrTx/>
              <a:buFont typeface="Arial" pitchFamily="34" charset="0"/>
              <a:buChar char="•"/>
              <a:defRPr lang="en-US" sz="1599" b="0" dirty="0" smtClean="0">
                <a:solidFill>
                  <a:schemeClr val="tx1"/>
                </a:solidFill>
                <a:latin typeface="+mn-lt"/>
                <a:cs typeface="+mn-cs"/>
              </a:defRPr>
            </a:lvl3pPr>
            <a:lvl4pPr marL="913194" indent="-228300" algn="l" defTabSz="1048077" rtl="0" eaLnBrk="1" fontAlgn="base" hangingPunct="1">
              <a:spcBef>
                <a:spcPts val="600"/>
              </a:spcBef>
              <a:spcAft>
                <a:spcPct val="0"/>
              </a:spcAft>
              <a:buClrTx/>
              <a:buFont typeface="Arial" panose="020B0604020202020204" pitchFamily="34" charset="0"/>
              <a:buChar char="•"/>
              <a:defRPr lang="en-US" sz="1399" b="0" dirty="0" smtClean="0">
                <a:solidFill>
                  <a:schemeClr val="tx1"/>
                </a:solidFill>
                <a:latin typeface="+mn-lt"/>
                <a:cs typeface="+mn-cs"/>
              </a:defRPr>
            </a:lvl4pPr>
            <a:lvl5pPr marL="1141492" indent="-228300" algn="l" defTabSz="1048077" rtl="0" eaLnBrk="1" fontAlgn="base" hangingPunct="1">
              <a:spcBef>
                <a:spcPts val="600"/>
              </a:spcBef>
              <a:spcAft>
                <a:spcPct val="0"/>
              </a:spcAft>
              <a:buClrTx/>
              <a:buFont typeface="Arial" pitchFamily="34" charset="0"/>
              <a:buChar char="•"/>
              <a:defRPr lang="en-US" sz="1399" b="0" dirty="0">
                <a:solidFill>
                  <a:schemeClr val="tx1"/>
                </a:solidFill>
                <a:latin typeface="+mn-lt"/>
                <a:cs typeface="+mn-cs"/>
              </a:defRPr>
            </a:lvl5pPr>
            <a:lvl6pPr marL="2895322" indent="-260149" algn="l" defTabSz="1048077" rtl="0" eaLnBrk="1" fontAlgn="base" hangingPunct="1">
              <a:spcBef>
                <a:spcPct val="20000"/>
              </a:spcBef>
              <a:spcAft>
                <a:spcPct val="0"/>
              </a:spcAft>
              <a:buClr>
                <a:schemeClr val="tx2"/>
              </a:buClr>
              <a:buFont typeface="Trebuchet MS" pitchFamily="34" charset="0"/>
              <a:buChar char="–"/>
              <a:defRPr sz="1900">
                <a:solidFill>
                  <a:schemeClr val="tx1"/>
                </a:solidFill>
                <a:latin typeface="+mn-lt"/>
                <a:cs typeface="+mn-cs"/>
              </a:defRPr>
            </a:lvl6pPr>
            <a:lvl7pPr marL="3434337" indent="-260149" algn="l" defTabSz="1048077" rtl="0" eaLnBrk="1" fontAlgn="base" hangingPunct="1">
              <a:spcBef>
                <a:spcPct val="20000"/>
              </a:spcBef>
              <a:spcAft>
                <a:spcPct val="0"/>
              </a:spcAft>
              <a:buClr>
                <a:schemeClr val="tx2"/>
              </a:buClr>
              <a:buFont typeface="Trebuchet MS" pitchFamily="34" charset="0"/>
              <a:buChar char="–"/>
              <a:defRPr sz="1900">
                <a:solidFill>
                  <a:schemeClr val="tx1"/>
                </a:solidFill>
                <a:latin typeface="+mn-lt"/>
                <a:cs typeface="+mn-cs"/>
              </a:defRPr>
            </a:lvl7pPr>
            <a:lvl8pPr marL="3973347" indent="-260149" algn="l" defTabSz="1048077" rtl="0" eaLnBrk="1" fontAlgn="base" hangingPunct="1">
              <a:spcBef>
                <a:spcPct val="20000"/>
              </a:spcBef>
              <a:spcAft>
                <a:spcPct val="0"/>
              </a:spcAft>
              <a:buClr>
                <a:schemeClr val="tx2"/>
              </a:buClr>
              <a:buFont typeface="Trebuchet MS" pitchFamily="34" charset="0"/>
              <a:buChar char="–"/>
              <a:defRPr sz="1900">
                <a:solidFill>
                  <a:schemeClr val="tx1"/>
                </a:solidFill>
                <a:latin typeface="+mn-lt"/>
                <a:cs typeface="+mn-cs"/>
              </a:defRPr>
            </a:lvl8pPr>
            <a:lvl9pPr marL="4512360" indent="-260149" algn="l" defTabSz="1048077" rtl="0" eaLnBrk="1" fontAlgn="base" hangingPunct="1">
              <a:spcBef>
                <a:spcPct val="20000"/>
              </a:spcBef>
              <a:spcAft>
                <a:spcPct val="0"/>
              </a:spcAft>
              <a:buClr>
                <a:schemeClr val="tx2"/>
              </a:buClr>
              <a:buFont typeface="Trebuchet MS" pitchFamily="34" charset="0"/>
              <a:buChar char="–"/>
              <a:defRPr sz="1900">
                <a:solidFill>
                  <a:schemeClr val="tx1"/>
                </a:solidFill>
                <a:latin typeface="+mn-lt"/>
                <a:cs typeface="+mn-cs"/>
              </a:defRPr>
            </a:lvl9pPr>
          </a:lstStyle>
          <a:p>
            <a:pPr defTabSz="914225">
              <a:defRPr/>
            </a:pPr>
            <a:r>
              <a:rPr i="1" spc="0">
                <a:solidFill>
                  <a:srgbClr val="002050"/>
                </a:solidFill>
                <a:latin typeface="Segoe UI Semibold" panose="020B0702040204020203" pitchFamily="34" charset="0"/>
                <a:cs typeface="Segoe UI Semibold" panose="020B0702040204020203" pitchFamily="34" charset="0"/>
              </a:rPr>
              <a:t>By 2030…</a:t>
            </a:r>
          </a:p>
        </p:txBody>
      </p:sp>
      <p:sp>
        <p:nvSpPr>
          <p:cNvPr id="3" name="Title 2"/>
          <p:cNvSpPr>
            <a:spLocks noGrp="1"/>
          </p:cNvSpPr>
          <p:nvPr>
            <p:ph type="title"/>
          </p:nvPr>
        </p:nvSpPr>
        <p:spPr/>
        <p:txBody>
          <a:bodyPr/>
          <a:lstStyle/>
          <a:p>
            <a:r>
              <a:rPr lang="en-US"/>
              <a:t>The automotive industry is at a transformational moment</a:t>
            </a:r>
          </a:p>
        </p:txBody>
      </p:sp>
      <p:sp>
        <p:nvSpPr>
          <p:cNvPr id="2" name="Text Placeholder 1"/>
          <p:cNvSpPr>
            <a:spLocks noGrp="1"/>
          </p:cNvSpPr>
          <p:nvPr>
            <p:ph type="body" sz="quarter" idx="13"/>
          </p:nvPr>
        </p:nvSpPr>
        <p:spPr/>
        <p:txBody>
          <a:bodyPr/>
          <a:lstStyle/>
          <a:p>
            <a:r>
              <a:rPr lang="en-US"/>
              <a:t>The industry is being transformed by a combination of key technology and business model trends</a:t>
            </a:r>
          </a:p>
        </p:txBody>
      </p:sp>
      <p:sp>
        <p:nvSpPr>
          <p:cNvPr id="51" name="Text Placeholder 4"/>
          <p:cNvSpPr txBox="1">
            <a:spLocks/>
          </p:cNvSpPr>
          <p:nvPr/>
        </p:nvSpPr>
        <p:spPr>
          <a:xfrm>
            <a:off x="8654736" y="1284434"/>
            <a:ext cx="3350393" cy="646331"/>
          </a:xfrm>
          <a:prstGeom prst="rect">
            <a:avLst/>
          </a:prstGeom>
        </p:spPr>
        <p:txBody>
          <a:bodyPr wrap="square">
            <a:spAutoFit/>
          </a:bodyPr>
          <a:lstStyle>
            <a:defPPr>
              <a:defRPr lang="en-US"/>
            </a:defPPr>
          </a:lstStyle>
          <a:p>
            <a:pPr defTabSz="914225">
              <a:lnSpc>
                <a:spcPct val="90000"/>
              </a:lnSpc>
            </a:pPr>
            <a:r>
              <a:rPr sz="2000" kern="0">
                <a:solidFill>
                  <a:srgbClr val="002050"/>
                </a:solidFill>
              </a:rPr>
              <a:t>As a result, </a:t>
            </a:r>
            <a:br>
              <a:rPr lang="en-US" sz="2000" kern="0">
                <a:solidFill>
                  <a:srgbClr val="002050"/>
                </a:solidFill>
              </a:rPr>
            </a:br>
            <a:r>
              <a:rPr lang="en-US" sz="2000" kern="0">
                <a:solidFill>
                  <a:srgbClr val="002050"/>
                </a:solidFill>
                <a:latin typeface="Segoe UI Semibold" panose="020B0702040204020203" pitchFamily="34" charset="0"/>
                <a:cs typeface="Segoe UI Semibold" panose="020B0702040204020203" pitchFamily="34" charset="0"/>
              </a:rPr>
              <a:t>automakers</a:t>
            </a:r>
            <a:r>
              <a:rPr sz="2000" kern="0">
                <a:solidFill>
                  <a:srgbClr val="002050"/>
                </a:solidFill>
                <a:latin typeface="Segoe UI Semibold" panose="020B0702040204020203" pitchFamily="34" charset="0"/>
                <a:cs typeface="Segoe UI Semibold" panose="020B0702040204020203" pitchFamily="34" charset="0"/>
              </a:rPr>
              <a:t> need to</a:t>
            </a:r>
            <a:r>
              <a:rPr sz="2000" kern="0">
                <a:solidFill>
                  <a:srgbClr val="002050"/>
                </a:solidFill>
              </a:rPr>
              <a:t>:</a:t>
            </a:r>
          </a:p>
        </p:txBody>
      </p:sp>
      <p:grpSp>
        <p:nvGrpSpPr>
          <p:cNvPr id="673" name="Group 672"/>
          <p:cNvGrpSpPr/>
          <p:nvPr/>
        </p:nvGrpSpPr>
        <p:grpSpPr>
          <a:xfrm>
            <a:off x="-1725" y="5514192"/>
            <a:ext cx="12195300" cy="1005840"/>
            <a:chOff x="-1725" y="5514192"/>
            <a:chExt cx="12195300" cy="1005840"/>
          </a:xfrm>
        </p:grpSpPr>
        <p:sp>
          <p:nvSpPr>
            <p:cNvPr id="412" name="Rectangle 411"/>
            <p:cNvSpPr/>
            <p:nvPr/>
          </p:nvSpPr>
          <p:spPr bwMode="auto">
            <a:xfrm>
              <a:off x="-1725" y="5514192"/>
              <a:ext cx="12195300" cy="1005840"/>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26" name="Oval 25"/>
            <p:cNvSpPr/>
            <p:nvPr/>
          </p:nvSpPr>
          <p:spPr bwMode="auto">
            <a:xfrm>
              <a:off x="251681" y="5765688"/>
              <a:ext cx="502849" cy="502849"/>
            </a:xfrm>
            <a:prstGeom prst="ellipse">
              <a:avLst/>
            </a:prstGeom>
            <a:solidFill>
              <a:srgbClr val="F9F9F9"/>
            </a:solidFill>
            <a:ln w="19050" cap="flat" cmpd="sng" algn="ctr">
              <a:solidFill>
                <a:schemeClr val="tx2"/>
              </a:solid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r>
                <a:rPr lang="en-US" sz="1700" b="1" kern="0">
                  <a:solidFill>
                    <a:srgbClr val="002050"/>
                  </a:solidFill>
                  <a:cs typeface="Segoe UI Semibold" panose="020B0702040204020203" pitchFamily="34" charset="0"/>
                </a:rPr>
                <a:t>4</a:t>
              </a:r>
            </a:p>
          </p:txBody>
        </p:sp>
        <p:sp>
          <p:nvSpPr>
            <p:cNvPr id="27" name="TextBox 26"/>
            <p:cNvSpPr txBox="1"/>
            <p:nvPr/>
          </p:nvSpPr>
          <p:spPr>
            <a:xfrm>
              <a:off x="821095" y="5817057"/>
              <a:ext cx="1016625" cy="400110"/>
            </a:xfrm>
            <a:prstGeom prst="rect">
              <a:avLst/>
            </a:prstGeom>
            <a:noFill/>
          </p:spPr>
          <p:txBody>
            <a:bodyPr wrap="none" rtlCol="0">
              <a:spAutoFit/>
            </a:bodyPr>
            <a:lstStyle/>
            <a:p>
              <a:pPr defTabSz="896214">
                <a:spcAft>
                  <a:spcPts val="600"/>
                </a:spcAft>
                <a:defRPr/>
              </a:pPr>
              <a:r>
                <a:rPr lang="en-US" sz="2000" kern="0">
                  <a:solidFill>
                    <a:srgbClr val="505050"/>
                  </a:solidFill>
                  <a:latin typeface="Segoe UI Semibold" panose="020B0702040204020203" pitchFamily="34" charset="0"/>
                  <a:cs typeface="Segoe UI Semibold" panose="020B0702040204020203" pitchFamily="34" charset="0"/>
                </a:rPr>
                <a:t>Electric</a:t>
              </a:r>
            </a:p>
          </p:txBody>
        </p:sp>
        <p:sp>
          <p:nvSpPr>
            <p:cNvPr id="29" name="TextBox 28"/>
            <p:cNvSpPr txBox="1"/>
            <p:nvPr/>
          </p:nvSpPr>
          <p:spPr>
            <a:xfrm>
              <a:off x="4535903" y="5693947"/>
              <a:ext cx="3236784" cy="646331"/>
            </a:xfrm>
            <a:prstGeom prst="rect">
              <a:avLst/>
            </a:prstGeom>
            <a:noFill/>
          </p:spPr>
          <p:txBody>
            <a:bodyPr wrap="none" rtlCol="0">
              <a:spAutoFit/>
            </a:bodyPr>
            <a:lstStyle/>
            <a:p>
              <a:pPr defTabSz="896214">
                <a:defRPr/>
              </a:pPr>
              <a:r>
                <a:rPr lang="en-US" b="1" kern="0">
                  <a:solidFill>
                    <a:srgbClr val="002050"/>
                  </a:solidFill>
                </a:rPr>
                <a:t>&gt; double </a:t>
              </a:r>
              <a:r>
                <a:rPr lang="en-US" kern="0">
                  <a:solidFill>
                    <a:sysClr val="windowText" lastClr="000000"/>
                  </a:solidFill>
                </a:rPr>
                <a:t>the # of EVs by,</a:t>
              </a:r>
            </a:p>
            <a:p>
              <a:pPr defTabSz="896214">
                <a:defRPr/>
              </a:pPr>
              <a:r>
                <a:rPr lang="en-US" kern="0">
                  <a:solidFill>
                    <a:sysClr val="windowText" lastClr="000000"/>
                  </a:solidFill>
                </a:rPr>
                <a:t> better charging infrastructure</a:t>
              </a:r>
            </a:p>
          </p:txBody>
        </p:sp>
        <p:sp>
          <p:nvSpPr>
            <p:cNvPr id="30" name="Rectangle 29"/>
            <p:cNvSpPr/>
            <p:nvPr/>
          </p:nvSpPr>
          <p:spPr>
            <a:xfrm>
              <a:off x="8919690" y="5847835"/>
              <a:ext cx="3272310" cy="338554"/>
            </a:xfrm>
            <a:prstGeom prst="rect">
              <a:avLst/>
            </a:prstGeom>
          </p:spPr>
          <p:txBody>
            <a:bodyPr wrap="square">
              <a:spAutoFit/>
            </a:bodyPr>
            <a:lstStyle/>
            <a:p>
              <a:pPr defTabSz="896214">
                <a:spcAft>
                  <a:spcPts val="600"/>
                </a:spcAft>
                <a:defRPr/>
              </a:pPr>
              <a:r>
                <a:rPr lang="en-US" sz="1600" b="1" kern="0">
                  <a:solidFill>
                    <a:srgbClr val="002050"/>
                  </a:solidFill>
                </a:rPr>
                <a:t>Embrace </a:t>
              </a:r>
              <a:r>
                <a:rPr lang="en-US" sz="1600" b="1" u="sng" kern="0">
                  <a:solidFill>
                    <a:srgbClr val="002050"/>
                  </a:solidFill>
                </a:rPr>
                <a:t>customer demand</a:t>
              </a:r>
              <a:endParaRPr lang="en-US" sz="1600" kern="0">
                <a:solidFill>
                  <a:srgbClr val="002050"/>
                </a:solidFill>
              </a:endParaRPr>
            </a:p>
          </p:txBody>
        </p:sp>
        <p:sp>
          <p:nvSpPr>
            <p:cNvPr id="28" name="Pentagon 21"/>
            <p:cNvSpPr/>
            <p:nvPr/>
          </p:nvSpPr>
          <p:spPr bwMode="auto">
            <a:xfrm>
              <a:off x="3973305" y="5514192"/>
              <a:ext cx="365760" cy="1005840"/>
            </a:xfrm>
            <a:prstGeom prst="chevron">
              <a:avLst/>
            </a:prstGeom>
            <a:solidFill>
              <a:schemeClr val="bg1"/>
            </a:solidFill>
            <a:ln w="317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defRPr/>
              </a:pPr>
              <a:endParaRPr lang="en-US" sz="1400" kern="0" err="1">
                <a:solidFill>
                  <a:srgbClr val="505050"/>
                </a:solidFill>
              </a:endParaRPr>
            </a:p>
          </p:txBody>
        </p:sp>
        <p:sp>
          <p:nvSpPr>
            <p:cNvPr id="423" name="Pentagon 21"/>
            <p:cNvSpPr/>
            <p:nvPr/>
          </p:nvSpPr>
          <p:spPr bwMode="auto">
            <a:xfrm>
              <a:off x="8450546" y="5514192"/>
              <a:ext cx="365760" cy="1005840"/>
            </a:xfrm>
            <a:prstGeom prst="chevron">
              <a:avLst/>
            </a:prstGeom>
            <a:solidFill>
              <a:schemeClr val="bg1"/>
            </a:solidFill>
            <a:ln w="317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defRPr/>
              </a:pPr>
              <a:endParaRPr lang="en-US" sz="1400" kern="0" err="1">
                <a:solidFill>
                  <a:srgbClr val="505050"/>
                </a:solidFill>
              </a:endParaRPr>
            </a:p>
          </p:txBody>
        </p:sp>
        <p:grpSp>
          <p:nvGrpSpPr>
            <p:cNvPr id="449" name="Group 448"/>
            <p:cNvGrpSpPr>
              <a:grpSpLocks noChangeAspect="1"/>
            </p:cNvGrpSpPr>
            <p:nvPr/>
          </p:nvGrpSpPr>
          <p:grpSpPr>
            <a:xfrm>
              <a:off x="2726641" y="5577809"/>
              <a:ext cx="1051686" cy="822960"/>
              <a:chOff x="-9227107" y="-8176260"/>
              <a:chExt cx="11286824" cy="8832105"/>
            </a:xfrm>
          </p:grpSpPr>
          <p:sp>
            <p:nvSpPr>
              <p:cNvPr id="450" name="Freeform: Shape 449"/>
              <p:cNvSpPr/>
              <p:nvPr/>
            </p:nvSpPr>
            <p:spPr>
              <a:xfrm>
                <a:off x="-9227107" y="-7009765"/>
                <a:ext cx="4181133" cy="5759674"/>
              </a:xfrm>
              <a:custGeom>
                <a:avLst/>
                <a:gdLst>
                  <a:gd name="connsiteX0" fmla="*/ 3969029 w 4181133"/>
                  <a:gd name="connsiteY0" fmla="*/ 0 h 5759674"/>
                  <a:gd name="connsiteX1" fmla="*/ 4173275 w 4181133"/>
                  <a:gd name="connsiteY1" fmla="*/ 3991 h 5759674"/>
                  <a:gd name="connsiteX2" fmla="*/ 4181133 w 4181133"/>
                  <a:gd name="connsiteY2" fmla="*/ 4452 h 5759674"/>
                  <a:gd name="connsiteX3" fmla="*/ 4156179 w 4181133"/>
                  <a:gd name="connsiteY3" fmla="*/ 288296 h 5759674"/>
                  <a:gd name="connsiteX4" fmla="*/ 3969029 w 4181133"/>
                  <a:gd name="connsiteY4" fmla="*/ 281158 h 5759674"/>
                  <a:gd name="connsiteX5" fmla="*/ 281158 w 4181133"/>
                  <a:gd name="connsiteY5" fmla="*/ 3066733 h 5759674"/>
                  <a:gd name="connsiteX6" fmla="*/ 1907106 w 4181133"/>
                  <a:gd name="connsiteY6" fmla="*/ 5376576 h 5759674"/>
                  <a:gd name="connsiteX7" fmla="*/ 2089707 w 4181133"/>
                  <a:gd name="connsiteY7" fmla="*/ 5460367 h 5759674"/>
                  <a:gd name="connsiteX8" fmla="*/ 2089707 w 4181133"/>
                  <a:gd name="connsiteY8" fmla="*/ 5710470 h 5759674"/>
                  <a:gd name="connsiteX9" fmla="*/ 2069370 w 4181133"/>
                  <a:gd name="connsiteY9" fmla="*/ 5759674 h 5759674"/>
                  <a:gd name="connsiteX10" fmla="*/ 1749908 w 4181133"/>
                  <a:gd name="connsiteY10" fmla="*/ 5609716 h 5759674"/>
                  <a:gd name="connsiteX11" fmla="*/ 0 w 4181133"/>
                  <a:gd name="connsiteY11" fmla="*/ 3066733 h 5759674"/>
                  <a:gd name="connsiteX12" fmla="*/ 3969029 w 4181133"/>
                  <a:gd name="connsiteY12" fmla="*/ 0 h 5759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1133" h="5759674">
                    <a:moveTo>
                      <a:pt x="3969029" y="0"/>
                    </a:moveTo>
                    <a:cubicBezTo>
                      <a:pt x="4037530" y="0"/>
                      <a:pt x="4105626" y="1341"/>
                      <a:pt x="4173275" y="3991"/>
                    </a:cubicBezTo>
                    <a:lnTo>
                      <a:pt x="4181133" y="4452"/>
                    </a:lnTo>
                    <a:lnTo>
                      <a:pt x="4156179" y="288296"/>
                    </a:lnTo>
                    <a:lnTo>
                      <a:pt x="3969029" y="281158"/>
                    </a:lnTo>
                    <a:cubicBezTo>
                      <a:pt x="1932274" y="281158"/>
                      <a:pt x="281158" y="1528302"/>
                      <a:pt x="281158" y="3066733"/>
                    </a:cubicBezTo>
                    <a:cubicBezTo>
                      <a:pt x="281158" y="4028253"/>
                      <a:pt x="926126" y="4875988"/>
                      <a:pt x="1907106" y="5376576"/>
                    </a:cubicBezTo>
                    <a:lnTo>
                      <a:pt x="2089707" y="5460367"/>
                    </a:lnTo>
                    <a:lnTo>
                      <a:pt x="2089707" y="5710470"/>
                    </a:lnTo>
                    <a:lnTo>
                      <a:pt x="2069370" y="5759674"/>
                    </a:lnTo>
                    <a:lnTo>
                      <a:pt x="1749908" y="5609716"/>
                    </a:lnTo>
                    <a:cubicBezTo>
                      <a:pt x="694139" y="5058602"/>
                      <a:pt x="0" y="4125302"/>
                      <a:pt x="0" y="3066733"/>
                    </a:cubicBezTo>
                    <a:cubicBezTo>
                      <a:pt x="0" y="1373023"/>
                      <a:pt x="1776995" y="0"/>
                      <a:pt x="3969029" y="0"/>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05050"/>
                  </a:solidFill>
                </a:endParaRPr>
              </a:p>
            </p:txBody>
          </p:sp>
          <p:sp>
            <p:nvSpPr>
              <p:cNvPr id="451" name="Circle: Hollow 450"/>
              <p:cNvSpPr/>
              <p:nvPr/>
            </p:nvSpPr>
            <p:spPr>
              <a:xfrm>
                <a:off x="-6501554" y="-1418972"/>
                <a:ext cx="2074817" cy="2074817"/>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2" name="Circle: Hollow 451"/>
              <p:cNvSpPr/>
              <p:nvPr/>
            </p:nvSpPr>
            <p:spPr>
              <a:xfrm>
                <a:off x="-1422429" y="-1418972"/>
                <a:ext cx="2074817" cy="2074817"/>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3" name="Freeform: Shape 452"/>
              <p:cNvSpPr/>
              <p:nvPr/>
            </p:nvSpPr>
            <p:spPr>
              <a:xfrm>
                <a:off x="-7667934" y="-4472597"/>
                <a:ext cx="9727651" cy="4327188"/>
              </a:xfrm>
              <a:custGeom>
                <a:avLst/>
                <a:gdLst>
                  <a:gd name="connsiteX0" fmla="*/ 5189008 w 9727651"/>
                  <a:gd name="connsiteY0" fmla="*/ 392622 h 4327188"/>
                  <a:gd name="connsiteX1" fmla="*/ 4875190 w 9727651"/>
                  <a:gd name="connsiteY1" fmla="*/ 393831 h 4327188"/>
                  <a:gd name="connsiteX2" fmla="*/ 4863825 w 9727651"/>
                  <a:gd name="connsiteY2" fmla="*/ 393904 h 4327188"/>
                  <a:gd name="connsiteX3" fmla="*/ 4863825 w 9727651"/>
                  <a:gd name="connsiteY3" fmla="*/ 1750130 h 4327188"/>
                  <a:gd name="connsiteX4" fmla="*/ 7379074 w 9727651"/>
                  <a:gd name="connsiteY4" fmla="*/ 1750130 h 4327188"/>
                  <a:gd name="connsiteX5" fmla="*/ 7287244 w 9727651"/>
                  <a:gd name="connsiteY5" fmla="*/ 1615982 h 4327188"/>
                  <a:gd name="connsiteX6" fmla="*/ 5189008 w 9727651"/>
                  <a:gd name="connsiteY6" fmla="*/ 392622 h 4327188"/>
                  <a:gd name="connsiteX7" fmla="*/ 4315134 w 9727651"/>
                  <a:gd name="connsiteY7" fmla="*/ 389302 h 4327188"/>
                  <a:gd name="connsiteX8" fmla="*/ 4145447 w 9727651"/>
                  <a:gd name="connsiteY8" fmla="*/ 394084 h 4327188"/>
                  <a:gd name="connsiteX9" fmla="*/ 1926233 w 9727651"/>
                  <a:gd name="connsiteY9" fmla="*/ 1643041 h 4327188"/>
                  <a:gd name="connsiteX10" fmla="*/ 1888384 w 9727651"/>
                  <a:gd name="connsiteY10" fmla="*/ 1750130 h 4327188"/>
                  <a:gd name="connsiteX11" fmla="*/ 4315134 w 9727651"/>
                  <a:gd name="connsiteY11" fmla="*/ 1750130 h 4327188"/>
                  <a:gd name="connsiteX12" fmla="*/ 4356692 w 9727651"/>
                  <a:gd name="connsiteY12" fmla="*/ 1232 h 4327188"/>
                  <a:gd name="connsiteX13" fmla="*/ 4586069 w 9727651"/>
                  <a:gd name="connsiteY13" fmla="*/ 2199 h 4327188"/>
                  <a:gd name="connsiteX14" fmla="*/ 7969553 w 9727651"/>
                  <a:gd name="connsiteY14" fmla="*/ 1735030 h 4327188"/>
                  <a:gd name="connsiteX15" fmla="*/ 7979239 w 9727651"/>
                  <a:gd name="connsiteY15" fmla="*/ 1750130 h 4327188"/>
                  <a:gd name="connsiteX16" fmla="*/ 8710048 w 9727651"/>
                  <a:gd name="connsiteY16" fmla="*/ 1750130 h 4327188"/>
                  <a:gd name="connsiteX17" fmla="*/ 9727651 w 9727651"/>
                  <a:gd name="connsiteY17" fmla="*/ 2767733 h 4327188"/>
                  <a:gd name="connsiteX18" fmla="*/ 9727651 w 9727651"/>
                  <a:gd name="connsiteY18" fmla="*/ 3309585 h 4327188"/>
                  <a:gd name="connsiteX19" fmla="*/ 8710048 w 9727651"/>
                  <a:gd name="connsiteY19" fmla="*/ 4327188 h 4327188"/>
                  <a:gd name="connsiteX20" fmla="*/ 8438949 w 9727651"/>
                  <a:gd name="connsiteY20" fmla="*/ 4327188 h 4327188"/>
                  <a:gd name="connsiteX21" fmla="*/ 8439613 w 9727651"/>
                  <a:gd name="connsiteY21" fmla="*/ 4325048 h 4327188"/>
                  <a:gd name="connsiteX22" fmla="*/ 8463273 w 9727651"/>
                  <a:gd name="connsiteY22" fmla="*/ 4090344 h 4327188"/>
                  <a:gd name="connsiteX23" fmla="*/ 7298691 w 9727651"/>
                  <a:gd name="connsiteY23" fmla="*/ 2925762 h 4327188"/>
                  <a:gd name="connsiteX24" fmla="*/ 6134109 w 9727651"/>
                  <a:gd name="connsiteY24" fmla="*/ 4090344 h 4327188"/>
                  <a:gd name="connsiteX25" fmla="*/ 6157769 w 9727651"/>
                  <a:gd name="connsiteY25" fmla="*/ 4325048 h 4327188"/>
                  <a:gd name="connsiteX26" fmla="*/ 6158433 w 9727651"/>
                  <a:gd name="connsiteY26" fmla="*/ 4327188 h 4327188"/>
                  <a:gd name="connsiteX27" fmla="*/ 3359824 w 9727651"/>
                  <a:gd name="connsiteY27" fmla="*/ 4327188 h 4327188"/>
                  <a:gd name="connsiteX28" fmla="*/ 3360488 w 9727651"/>
                  <a:gd name="connsiteY28" fmla="*/ 4325048 h 4327188"/>
                  <a:gd name="connsiteX29" fmla="*/ 3384148 w 9727651"/>
                  <a:gd name="connsiteY29" fmla="*/ 4090344 h 4327188"/>
                  <a:gd name="connsiteX30" fmla="*/ 2219566 w 9727651"/>
                  <a:gd name="connsiteY30" fmla="*/ 2925762 h 4327188"/>
                  <a:gd name="connsiteX31" fmla="*/ 1054984 w 9727651"/>
                  <a:gd name="connsiteY31" fmla="*/ 4090344 h 4327188"/>
                  <a:gd name="connsiteX32" fmla="*/ 1078645 w 9727651"/>
                  <a:gd name="connsiteY32" fmla="*/ 4325048 h 4327188"/>
                  <a:gd name="connsiteX33" fmla="*/ 1079309 w 9727651"/>
                  <a:gd name="connsiteY33" fmla="*/ 4327188 h 4327188"/>
                  <a:gd name="connsiteX34" fmla="*/ 1017603 w 9727651"/>
                  <a:gd name="connsiteY34" fmla="*/ 4327188 h 4327188"/>
                  <a:gd name="connsiteX35" fmla="*/ 0 w 9727651"/>
                  <a:gd name="connsiteY35" fmla="*/ 3309585 h 4327188"/>
                  <a:gd name="connsiteX36" fmla="*/ 0 w 9727651"/>
                  <a:gd name="connsiteY36" fmla="*/ 2767733 h 4327188"/>
                  <a:gd name="connsiteX37" fmla="*/ 1017603 w 9727651"/>
                  <a:gd name="connsiteY37" fmla="*/ 1750130 h 4327188"/>
                  <a:gd name="connsiteX38" fmla="*/ 1209415 w 9727651"/>
                  <a:gd name="connsiteY38" fmla="*/ 1750130 h 4327188"/>
                  <a:gd name="connsiteX39" fmla="*/ 1232083 w 9727651"/>
                  <a:gd name="connsiteY39" fmla="*/ 1654215 h 4327188"/>
                  <a:gd name="connsiteX40" fmla="*/ 4356692 w 9727651"/>
                  <a:gd name="connsiteY40" fmla="*/ 1232 h 432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727651" h="4327188">
                    <a:moveTo>
                      <a:pt x="5189008" y="392622"/>
                    </a:moveTo>
                    <a:cubicBezTo>
                      <a:pt x="5083963" y="391073"/>
                      <a:pt x="4979447" y="392612"/>
                      <a:pt x="4875190" y="393831"/>
                    </a:cubicBezTo>
                    <a:lnTo>
                      <a:pt x="4863825" y="393904"/>
                    </a:lnTo>
                    <a:lnTo>
                      <a:pt x="4863825" y="1750130"/>
                    </a:lnTo>
                    <a:lnTo>
                      <a:pt x="7379074" y="1750130"/>
                    </a:lnTo>
                    <a:lnTo>
                      <a:pt x="7287244" y="1615982"/>
                    </a:lnTo>
                    <a:cubicBezTo>
                      <a:pt x="6522774" y="532642"/>
                      <a:pt x="5845540" y="402304"/>
                      <a:pt x="5189008" y="392622"/>
                    </a:cubicBezTo>
                    <a:close/>
                    <a:moveTo>
                      <a:pt x="4315134" y="389302"/>
                    </a:moveTo>
                    <a:lnTo>
                      <a:pt x="4145447" y="394084"/>
                    </a:lnTo>
                    <a:cubicBezTo>
                      <a:pt x="3300271" y="436964"/>
                      <a:pt x="2301149" y="743298"/>
                      <a:pt x="1926233" y="1643041"/>
                    </a:cubicBezTo>
                    <a:lnTo>
                      <a:pt x="1888384" y="1750130"/>
                    </a:lnTo>
                    <a:lnTo>
                      <a:pt x="4315134" y="1750130"/>
                    </a:lnTo>
                    <a:close/>
                    <a:moveTo>
                      <a:pt x="4356692" y="1232"/>
                    </a:moveTo>
                    <a:cubicBezTo>
                      <a:pt x="4436017" y="-699"/>
                      <a:pt x="4512692" y="-350"/>
                      <a:pt x="4586069" y="2199"/>
                    </a:cubicBezTo>
                    <a:cubicBezTo>
                      <a:pt x="5686736" y="40431"/>
                      <a:pt x="6730848" y="-137261"/>
                      <a:pt x="7969553" y="1735030"/>
                    </a:cubicBezTo>
                    <a:lnTo>
                      <a:pt x="7979239" y="1750130"/>
                    </a:lnTo>
                    <a:lnTo>
                      <a:pt x="8710048" y="1750130"/>
                    </a:lnTo>
                    <a:cubicBezTo>
                      <a:pt x="9272055" y="1750130"/>
                      <a:pt x="9727651" y="2205726"/>
                      <a:pt x="9727651" y="2767733"/>
                    </a:cubicBezTo>
                    <a:lnTo>
                      <a:pt x="9727651" y="3309585"/>
                    </a:lnTo>
                    <a:cubicBezTo>
                      <a:pt x="9727651" y="3871592"/>
                      <a:pt x="9272055" y="4327188"/>
                      <a:pt x="8710048" y="4327188"/>
                    </a:cubicBezTo>
                    <a:lnTo>
                      <a:pt x="8438949" y="4327188"/>
                    </a:lnTo>
                    <a:lnTo>
                      <a:pt x="8439613" y="4325048"/>
                    </a:lnTo>
                    <a:cubicBezTo>
                      <a:pt x="8455126" y="4249236"/>
                      <a:pt x="8463273" y="4170742"/>
                      <a:pt x="8463273" y="4090344"/>
                    </a:cubicBezTo>
                    <a:cubicBezTo>
                      <a:pt x="8463273" y="3447163"/>
                      <a:pt x="7941872" y="2925762"/>
                      <a:pt x="7298691" y="2925762"/>
                    </a:cubicBezTo>
                    <a:cubicBezTo>
                      <a:pt x="6655510" y="2925762"/>
                      <a:pt x="6134109" y="3447163"/>
                      <a:pt x="6134109" y="4090344"/>
                    </a:cubicBezTo>
                    <a:cubicBezTo>
                      <a:pt x="6134109" y="4170742"/>
                      <a:pt x="6142256" y="4249236"/>
                      <a:pt x="6157769" y="4325048"/>
                    </a:cubicBezTo>
                    <a:lnTo>
                      <a:pt x="6158433" y="4327188"/>
                    </a:lnTo>
                    <a:lnTo>
                      <a:pt x="3359824" y="4327188"/>
                    </a:lnTo>
                    <a:lnTo>
                      <a:pt x="3360488" y="4325048"/>
                    </a:lnTo>
                    <a:cubicBezTo>
                      <a:pt x="3376001" y="4249236"/>
                      <a:pt x="3384148" y="4170742"/>
                      <a:pt x="3384148" y="4090344"/>
                    </a:cubicBezTo>
                    <a:cubicBezTo>
                      <a:pt x="3384148" y="3447163"/>
                      <a:pt x="2862747" y="2925762"/>
                      <a:pt x="2219566" y="2925762"/>
                    </a:cubicBezTo>
                    <a:cubicBezTo>
                      <a:pt x="1576385" y="2925762"/>
                      <a:pt x="1054984" y="3447163"/>
                      <a:pt x="1054984" y="4090344"/>
                    </a:cubicBezTo>
                    <a:cubicBezTo>
                      <a:pt x="1054984" y="4170742"/>
                      <a:pt x="1063131" y="4249236"/>
                      <a:pt x="1078645" y="4325048"/>
                    </a:cubicBezTo>
                    <a:lnTo>
                      <a:pt x="1079309" y="4327188"/>
                    </a:lnTo>
                    <a:lnTo>
                      <a:pt x="1017603" y="4327188"/>
                    </a:lnTo>
                    <a:cubicBezTo>
                      <a:pt x="455596" y="4327188"/>
                      <a:pt x="0" y="3871592"/>
                      <a:pt x="0" y="3309585"/>
                    </a:cubicBezTo>
                    <a:lnTo>
                      <a:pt x="0" y="2767733"/>
                    </a:lnTo>
                    <a:cubicBezTo>
                      <a:pt x="0" y="2205726"/>
                      <a:pt x="455596" y="1750130"/>
                      <a:pt x="1017603" y="1750130"/>
                    </a:cubicBezTo>
                    <a:lnTo>
                      <a:pt x="1209415" y="1750130"/>
                    </a:lnTo>
                    <a:lnTo>
                      <a:pt x="1232083" y="1654215"/>
                    </a:lnTo>
                    <a:cubicBezTo>
                      <a:pt x="1601377" y="506259"/>
                      <a:pt x="3241176" y="28383"/>
                      <a:pt x="4356692" y="123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4" name="Freeform: Shape 453"/>
              <p:cNvSpPr/>
              <p:nvPr/>
            </p:nvSpPr>
            <p:spPr>
              <a:xfrm rot="16200000">
                <a:off x="-4883891" y="-8782168"/>
                <a:ext cx="2567940" cy="3779756"/>
              </a:xfrm>
              <a:custGeom>
                <a:avLst/>
                <a:gdLst>
                  <a:gd name="connsiteX0" fmla="*/ 750390 w 2567940"/>
                  <a:gd name="connsiteY0" fmla="*/ 2499596 h 3779756"/>
                  <a:gd name="connsiteX1" fmla="*/ 750390 w 2567940"/>
                  <a:gd name="connsiteY1" fmla="*/ 3657836 h 3779756"/>
                  <a:gd name="connsiteX2" fmla="*/ 628470 w 2567940"/>
                  <a:gd name="connsiteY2" fmla="*/ 3779756 h 3779756"/>
                  <a:gd name="connsiteX3" fmla="*/ 506550 w 2567940"/>
                  <a:gd name="connsiteY3" fmla="*/ 3657836 h 3779756"/>
                  <a:gd name="connsiteX4" fmla="*/ 506550 w 2567940"/>
                  <a:gd name="connsiteY4" fmla="*/ 2499596 h 3779756"/>
                  <a:gd name="connsiteX5" fmla="*/ 1981376 w 2567940"/>
                  <a:gd name="connsiteY5" fmla="*/ 2499596 h 3779756"/>
                  <a:gd name="connsiteX6" fmla="*/ 1981376 w 2567940"/>
                  <a:gd name="connsiteY6" fmla="*/ 3657836 h 3779756"/>
                  <a:gd name="connsiteX7" fmla="*/ 1859456 w 2567940"/>
                  <a:gd name="connsiteY7" fmla="*/ 3779756 h 3779756"/>
                  <a:gd name="connsiteX8" fmla="*/ 1737536 w 2567940"/>
                  <a:gd name="connsiteY8" fmla="*/ 3657836 h 3779756"/>
                  <a:gd name="connsiteX9" fmla="*/ 1737536 w 2567940"/>
                  <a:gd name="connsiteY9" fmla="*/ 2499596 h 3779756"/>
                  <a:gd name="connsiteX10" fmla="*/ 2387696 w 2567940"/>
                  <a:gd name="connsiteY10" fmla="*/ 1169256 h 3779756"/>
                  <a:gd name="connsiteX11" fmla="*/ 2387696 w 2567940"/>
                  <a:gd name="connsiteY11" fmla="*/ 2060795 h 3779756"/>
                  <a:gd name="connsiteX12" fmla="*/ 180243 w 2567940"/>
                  <a:gd name="connsiteY12" fmla="*/ 2060795 h 3779756"/>
                  <a:gd name="connsiteX13" fmla="*/ 180243 w 2567940"/>
                  <a:gd name="connsiteY13" fmla="*/ 1169256 h 3779756"/>
                  <a:gd name="connsiteX14" fmla="*/ 736501 w 2567940"/>
                  <a:gd name="connsiteY14" fmla="*/ 612998 h 3779756"/>
                  <a:gd name="connsiteX15" fmla="*/ 940485 w 2567940"/>
                  <a:gd name="connsiteY15" fmla="*/ 612998 h 3779756"/>
                  <a:gd name="connsiteX16" fmla="*/ 940485 w 2567940"/>
                  <a:gd name="connsiteY16" fmla="*/ 263941 h 3779756"/>
                  <a:gd name="connsiteX17" fmla="*/ 1204426 w 2567940"/>
                  <a:gd name="connsiteY17" fmla="*/ 0 h 3779756"/>
                  <a:gd name="connsiteX18" fmla="*/ 1363515 w 2567940"/>
                  <a:gd name="connsiteY18" fmla="*/ 0 h 3779756"/>
                  <a:gd name="connsiteX19" fmla="*/ 1627456 w 2567940"/>
                  <a:gd name="connsiteY19" fmla="*/ 263941 h 3779756"/>
                  <a:gd name="connsiteX20" fmla="*/ 1627456 w 2567940"/>
                  <a:gd name="connsiteY20" fmla="*/ 612998 h 3779756"/>
                  <a:gd name="connsiteX21" fmla="*/ 1831438 w 2567940"/>
                  <a:gd name="connsiteY21" fmla="*/ 612998 h 3779756"/>
                  <a:gd name="connsiteX22" fmla="*/ 2387696 w 2567940"/>
                  <a:gd name="connsiteY22" fmla="*/ 1169256 h 3779756"/>
                  <a:gd name="connsiteX23" fmla="*/ 2567940 w 2567940"/>
                  <a:gd name="connsiteY23" fmla="*/ 2289398 h 3779756"/>
                  <a:gd name="connsiteX24" fmla="*/ 2446020 w 2567940"/>
                  <a:gd name="connsiteY24" fmla="*/ 2411318 h 3779756"/>
                  <a:gd name="connsiteX25" fmla="*/ 121920 w 2567940"/>
                  <a:gd name="connsiteY25" fmla="*/ 2411318 h 3779756"/>
                  <a:gd name="connsiteX26" fmla="*/ 0 w 2567940"/>
                  <a:gd name="connsiteY26" fmla="*/ 2289398 h 3779756"/>
                  <a:gd name="connsiteX27" fmla="*/ 121920 w 2567940"/>
                  <a:gd name="connsiteY27" fmla="*/ 2167478 h 3779756"/>
                  <a:gd name="connsiteX28" fmla="*/ 2446020 w 2567940"/>
                  <a:gd name="connsiteY28" fmla="*/ 2167478 h 3779756"/>
                  <a:gd name="connsiteX29" fmla="*/ 2567940 w 2567940"/>
                  <a:gd name="connsiteY29" fmla="*/ 2289398 h 377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67940" h="3779756">
                    <a:moveTo>
                      <a:pt x="750390" y="2499596"/>
                    </a:moveTo>
                    <a:lnTo>
                      <a:pt x="750390" y="3657836"/>
                    </a:lnTo>
                    <a:cubicBezTo>
                      <a:pt x="750390" y="3725171"/>
                      <a:pt x="695805" y="3779756"/>
                      <a:pt x="628470" y="3779756"/>
                    </a:cubicBezTo>
                    <a:cubicBezTo>
                      <a:pt x="561135" y="3779756"/>
                      <a:pt x="506550" y="3725171"/>
                      <a:pt x="506550" y="3657836"/>
                    </a:cubicBezTo>
                    <a:lnTo>
                      <a:pt x="506550" y="2499596"/>
                    </a:lnTo>
                    <a:close/>
                    <a:moveTo>
                      <a:pt x="1981376" y="2499596"/>
                    </a:moveTo>
                    <a:lnTo>
                      <a:pt x="1981376" y="3657836"/>
                    </a:lnTo>
                    <a:cubicBezTo>
                      <a:pt x="1981376" y="3725171"/>
                      <a:pt x="1926791" y="3779756"/>
                      <a:pt x="1859456" y="3779756"/>
                    </a:cubicBezTo>
                    <a:cubicBezTo>
                      <a:pt x="1792121" y="3779756"/>
                      <a:pt x="1737536" y="3725171"/>
                      <a:pt x="1737536" y="3657836"/>
                    </a:cubicBezTo>
                    <a:lnTo>
                      <a:pt x="1737536" y="2499596"/>
                    </a:lnTo>
                    <a:close/>
                    <a:moveTo>
                      <a:pt x="2387696" y="1169256"/>
                    </a:moveTo>
                    <a:lnTo>
                      <a:pt x="2387696" y="2060795"/>
                    </a:lnTo>
                    <a:lnTo>
                      <a:pt x="180243" y="2060795"/>
                    </a:lnTo>
                    <a:lnTo>
                      <a:pt x="180243" y="1169256"/>
                    </a:lnTo>
                    <a:cubicBezTo>
                      <a:pt x="180243" y="862043"/>
                      <a:pt x="429288" y="612998"/>
                      <a:pt x="736501" y="612998"/>
                    </a:cubicBezTo>
                    <a:lnTo>
                      <a:pt x="940485" y="612998"/>
                    </a:lnTo>
                    <a:lnTo>
                      <a:pt x="940485" y="263941"/>
                    </a:lnTo>
                    <a:cubicBezTo>
                      <a:pt x="940485" y="118170"/>
                      <a:pt x="1058655" y="0"/>
                      <a:pt x="1204426" y="0"/>
                    </a:cubicBezTo>
                    <a:lnTo>
                      <a:pt x="1363515" y="0"/>
                    </a:lnTo>
                    <a:cubicBezTo>
                      <a:pt x="1509286" y="0"/>
                      <a:pt x="1627456" y="118170"/>
                      <a:pt x="1627456" y="263941"/>
                    </a:cubicBezTo>
                    <a:lnTo>
                      <a:pt x="1627456" y="612998"/>
                    </a:lnTo>
                    <a:lnTo>
                      <a:pt x="1831438" y="612998"/>
                    </a:lnTo>
                    <a:cubicBezTo>
                      <a:pt x="2138651" y="612998"/>
                      <a:pt x="2387696" y="862043"/>
                      <a:pt x="2387696" y="1169256"/>
                    </a:cubicBezTo>
                    <a:close/>
                    <a:moveTo>
                      <a:pt x="2567940" y="2289398"/>
                    </a:moveTo>
                    <a:cubicBezTo>
                      <a:pt x="2567940" y="2356733"/>
                      <a:pt x="2513355" y="2411318"/>
                      <a:pt x="2446020" y="2411318"/>
                    </a:cubicBezTo>
                    <a:lnTo>
                      <a:pt x="121920" y="2411318"/>
                    </a:lnTo>
                    <a:cubicBezTo>
                      <a:pt x="54585" y="2411318"/>
                      <a:pt x="0" y="2356733"/>
                      <a:pt x="0" y="2289398"/>
                    </a:cubicBezTo>
                    <a:cubicBezTo>
                      <a:pt x="0" y="2222063"/>
                      <a:pt x="54585" y="2167478"/>
                      <a:pt x="121920" y="2167478"/>
                    </a:cubicBezTo>
                    <a:lnTo>
                      <a:pt x="2446020" y="2167478"/>
                    </a:lnTo>
                    <a:cubicBezTo>
                      <a:pt x="2513355" y="2167478"/>
                      <a:pt x="2567940" y="2222063"/>
                      <a:pt x="2567940" y="228939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671" name="Group 670"/>
          <p:cNvGrpSpPr/>
          <p:nvPr/>
        </p:nvGrpSpPr>
        <p:grpSpPr>
          <a:xfrm>
            <a:off x="-1725" y="4310632"/>
            <a:ext cx="12195300" cy="1005840"/>
            <a:chOff x="-1725" y="4310632"/>
            <a:chExt cx="12195300" cy="1005840"/>
          </a:xfrm>
        </p:grpSpPr>
        <p:sp>
          <p:nvSpPr>
            <p:cNvPr id="411" name="Rectangle 410"/>
            <p:cNvSpPr/>
            <p:nvPr/>
          </p:nvSpPr>
          <p:spPr bwMode="auto">
            <a:xfrm>
              <a:off x="-1725" y="4310632"/>
              <a:ext cx="12195300" cy="1005840"/>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63" name="Oval 62"/>
            <p:cNvSpPr/>
            <p:nvPr/>
          </p:nvSpPr>
          <p:spPr bwMode="auto">
            <a:xfrm>
              <a:off x="251683" y="4562128"/>
              <a:ext cx="502849" cy="502849"/>
            </a:xfrm>
            <a:prstGeom prst="ellipse">
              <a:avLst/>
            </a:prstGeom>
            <a:solidFill>
              <a:srgbClr val="F9F9F9"/>
            </a:solidFill>
            <a:ln w="19050" cap="flat" cmpd="sng" algn="ctr">
              <a:solidFill>
                <a:schemeClr val="tx2"/>
              </a:solid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r>
                <a:rPr lang="en-US" sz="1700" b="1" kern="0">
                  <a:solidFill>
                    <a:srgbClr val="002050"/>
                  </a:solidFill>
                  <a:cs typeface="Segoe UI Semibold" panose="020B0702040204020203" pitchFamily="34" charset="0"/>
                </a:rPr>
                <a:t>3</a:t>
              </a:r>
            </a:p>
          </p:txBody>
        </p:sp>
        <p:sp>
          <p:nvSpPr>
            <p:cNvPr id="60" name="TextBox 59"/>
            <p:cNvSpPr txBox="1"/>
            <p:nvPr/>
          </p:nvSpPr>
          <p:spPr>
            <a:xfrm>
              <a:off x="821095" y="4613497"/>
              <a:ext cx="1696298" cy="400110"/>
            </a:xfrm>
            <a:prstGeom prst="rect">
              <a:avLst/>
            </a:prstGeom>
            <a:noFill/>
          </p:spPr>
          <p:txBody>
            <a:bodyPr wrap="none" rtlCol="0">
              <a:spAutoFit/>
            </a:bodyPr>
            <a:lstStyle/>
            <a:p>
              <a:pPr defTabSz="896214">
                <a:spcAft>
                  <a:spcPts val="600"/>
                </a:spcAft>
                <a:defRPr/>
              </a:pPr>
              <a:r>
                <a:rPr lang="en-US" sz="2000" kern="0">
                  <a:solidFill>
                    <a:srgbClr val="505050"/>
                  </a:solidFill>
                  <a:latin typeface="Segoe UI Semibold" panose="020B0702040204020203" pitchFamily="34" charset="0"/>
                  <a:cs typeface="Segoe UI Semibold" panose="020B0702040204020203" pitchFamily="34" charset="0"/>
                </a:rPr>
                <a:t>Autonomous</a:t>
              </a:r>
            </a:p>
          </p:txBody>
        </p:sp>
        <p:sp>
          <p:nvSpPr>
            <p:cNvPr id="67" name="TextBox 66"/>
            <p:cNvSpPr txBox="1"/>
            <p:nvPr/>
          </p:nvSpPr>
          <p:spPr>
            <a:xfrm>
              <a:off x="4535903" y="4490387"/>
              <a:ext cx="3759362" cy="646331"/>
            </a:xfrm>
            <a:prstGeom prst="rect">
              <a:avLst/>
            </a:prstGeom>
            <a:noFill/>
          </p:spPr>
          <p:txBody>
            <a:bodyPr wrap="none" rtlCol="0">
              <a:spAutoFit/>
            </a:bodyPr>
            <a:lstStyle/>
            <a:p>
              <a:pPr defTabSz="896214">
                <a:defRPr/>
              </a:pPr>
              <a:r>
                <a:rPr lang="en-US" b="1" kern="0">
                  <a:solidFill>
                    <a:srgbClr val="002050"/>
                  </a:solidFill>
                </a:rPr>
                <a:t>~10-15% </a:t>
              </a:r>
              <a:r>
                <a:rPr lang="en-US" kern="0">
                  <a:solidFill>
                    <a:sysClr val="windowText" lastClr="000000"/>
                  </a:solidFill>
                </a:rPr>
                <a:t>of new cars projected to </a:t>
              </a:r>
            </a:p>
            <a:p>
              <a:pPr defTabSz="896214">
                <a:defRPr/>
              </a:pPr>
              <a:r>
                <a:rPr lang="en-US" kern="0">
                  <a:solidFill>
                    <a:sysClr val="windowText" lastClr="000000"/>
                  </a:solidFill>
                </a:rPr>
                <a:t>be fully autonomous</a:t>
              </a:r>
            </a:p>
          </p:txBody>
        </p:sp>
        <p:sp>
          <p:nvSpPr>
            <p:cNvPr id="69" name="Rectangle 68"/>
            <p:cNvSpPr/>
            <p:nvPr/>
          </p:nvSpPr>
          <p:spPr>
            <a:xfrm>
              <a:off x="8943053" y="4644275"/>
              <a:ext cx="2742811" cy="338554"/>
            </a:xfrm>
            <a:prstGeom prst="rect">
              <a:avLst/>
            </a:prstGeom>
          </p:spPr>
          <p:txBody>
            <a:bodyPr wrap="square">
              <a:spAutoFit/>
            </a:bodyPr>
            <a:lstStyle/>
            <a:p>
              <a:pPr defTabSz="896214">
                <a:spcAft>
                  <a:spcPts val="600"/>
                </a:spcAft>
                <a:defRPr/>
              </a:pPr>
              <a:r>
                <a:rPr lang="en-US" sz="1600" b="1" kern="0">
                  <a:solidFill>
                    <a:srgbClr val="002050"/>
                  </a:solidFill>
                </a:rPr>
                <a:t>Own </a:t>
              </a:r>
              <a:r>
                <a:rPr lang="en-US" sz="1600" b="1" u="sng" kern="0">
                  <a:solidFill>
                    <a:srgbClr val="002050"/>
                  </a:solidFill>
                </a:rPr>
                <a:t>AV technology</a:t>
              </a:r>
              <a:endParaRPr lang="en-US" sz="1600" kern="0">
                <a:solidFill>
                  <a:srgbClr val="002050"/>
                </a:solidFill>
              </a:endParaRPr>
            </a:p>
          </p:txBody>
        </p:sp>
        <p:sp>
          <p:nvSpPr>
            <p:cNvPr id="54" name="Pentagon 21"/>
            <p:cNvSpPr/>
            <p:nvPr/>
          </p:nvSpPr>
          <p:spPr bwMode="auto">
            <a:xfrm>
              <a:off x="3973307" y="4310632"/>
              <a:ext cx="365760" cy="1005840"/>
            </a:xfrm>
            <a:prstGeom prst="chevron">
              <a:avLst/>
            </a:prstGeom>
            <a:solidFill>
              <a:schemeClr val="bg1"/>
            </a:solidFill>
            <a:ln w="317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defRPr/>
              </a:pPr>
              <a:endParaRPr lang="en-US" sz="1400" kern="0" err="1">
                <a:solidFill>
                  <a:srgbClr val="505050"/>
                </a:solidFill>
              </a:endParaRPr>
            </a:p>
          </p:txBody>
        </p:sp>
        <p:sp>
          <p:nvSpPr>
            <p:cNvPr id="421" name="Pentagon 21"/>
            <p:cNvSpPr/>
            <p:nvPr/>
          </p:nvSpPr>
          <p:spPr bwMode="auto">
            <a:xfrm>
              <a:off x="8450548" y="4310632"/>
              <a:ext cx="365760" cy="1005840"/>
            </a:xfrm>
            <a:prstGeom prst="chevron">
              <a:avLst/>
            </a:prstGeom>
            <a:solidFill>
              <a:schemeClr val="bg1"/>
            </a:solidFill>
            <a:ln w="317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defRPr/>
              </a:pPr>
              <a:endParaRPr lang="en-US" sz="1400" kern="0" err="1">
                <a:solidFill>
                  <a:srgbClr val="505050"/>
                </a:solidFill>
              </a:endParaRPr>
            </a:p>
          </p:txBody>
        </p:sp>
        <p:grpSp>
          <p:nvGrpSpPr>
            <p:cNvPr id="648" name="Group 647"/>
            <p:cNvGrpSpPr>
              <a:grpSpLocks noChangeAspect="1"/>
            </p:cNvGrpSpPr>
            <p:nvPr/>
          </p:nvGrpSpPr>
          <p:grpSpPr>
            <a:xfrm>
              <a:off x="2587880" y="4362879"/>
              <a:ext cx="1329209" cy="822960"/>
              <a:chOff x="2587879" y="4362879"/>
              <a:chExt cx="1403162" cy="868747"/>
            </a:xfrm>
          </p:grpSpPr>
          <p:sp>
            <p:nvSpPr>
              <p:cNvPr id="600" name="Circle: Hollow 599"/>
              <p:cNvSpPr/>
              <p:nvPr/>
            </p:nvSpPr>
            <p:spPr>
              <a:xfrm>
                <a:off x="2926482" y="5025226"/>
                <a:ext cx="206400" cy="206400"/>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01" name="Circle: Hollow 600"/>
              <p:cNvSpPr/>
              <p:nvPr/>
            </p:nvSpPr>
            <p:spPr>
              <a:xfrm>
                <a:off x="3431747" y="5025226"/>
                <a:ext cx="206400" cy="206400"/>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02" name="Freeform: Shape 601"/>
              <p:cNvSpPr/>
              <p:nvPr/>
            </p:nvSpPr>
            <p:spPr>
              <a:xfrm>
                <a:off x="2810452" y="4721455"/>
                <a:ext cx="967694" cy="430463"/>
              </a:xfrm>
              <a:custGeom>
                <a:avLst/>
                <a:gdLst>
                  <a:gd name="connsiteX0" fmla="*/ 5189008 w 9727651"/>
                  <a:gd name="connsiteY0" fmla="*/ 392622 h 4327188"/>
                  <a:gd name="connsiteX1" fmla="*/ 4875190 w 9727651"/>
                  <a:gd name="connsiteY1" fmla="*/ 393831 h 4327188"/>
                  <a:gd name="connsiteX2" fmla="*/ 4863825 w 9727651"/>
                  <a:gd name="connsiteY2" fmla="*/ 393904 h 4327188"/>
                  <a:gd name="connsiteX3" fmla="*/ 4863825 w 9727651"/>
                  <a:gd name="connsiteY3" fmla="*/ 1750130 h 4327188"/>
                  <a:gd name="connsiteX4" fmla="*/ 7379074 w 9727651"/>
                  <a:gd name="connsiteY4" fmla="*/ 1750130 h 4327188"/>
                  <a:gd name="connsiteX5" fmla="*/ 7287244 w 9727651"/>
                  <a:gd name="connsiteY5" fmla="*/ 1615982 h 4327188"/>
                  <a:gd name="connsiteX6" fmla="*/ 5189008 w 9727651"/>
                  <a:gd name="connsiteY6" fmla="*/ 392622 h 4327188"/>
                  <a:gd name="connsiteX7" fmla="*/ 4315134 w 9727651"/>
                  <a:gd name="connsiteY7" fmla="*/ 389302 h 4327188"/>
                  <a:gd name="connsiteX8" fmla="*/ 4145447 w 9727651"/>
                  <a:gd name="connsiteY8" fmla="*/ 394084 h 4327188"/>
                  <a:gd name="connsiteX9" fmla="*/ 1926233 w 9727651"/>
                  <a:gd name="connsiteY9" fmla="*/ 1643041 h 4327188"/>
                  <a:gd name="connsiteX10" fmla="*/ 1888384 w 9727651"/>
                  <a:gd name="connsiteY10" fmla="*/ 1750130 h 4327188"/>
                  <a:gd name="connsiteX11" fmla="*/ 4315134 w 9727651"/>
                  <a:gd name="connsiteY11" fmla="*/ 1750130 h 4327188"/>
                  <a:gd name="connsiteX12" fmla="*/ 4356692 w 9727651"/>
                  <a:gd name="connsiteY12" fmla="*/ 1232 h 4327188"/>
                  <a:gd name="connsiteX13" fmla="*/ 4586069 w 9727651"/>
                  <a:gd name="connsiteY13" fmla="*/ 2199 h 4327188"/>
                  <a:gd name="connsiteX14" fmla="*/ 7969553 w 9727651"/>
                  <a:gd name="connsiteY14" fmla="*/ 1735030 h 4327188"/>
                  <a:gd name="connsiteX15" fmla="*/ 7979239 w 9727651"/>
                  <a:gd name="connsiteY15" fmla="*/ 1750130 h 4327188"/>
                  <a:gd name="connsiteX16" fmla="*/ 8710048 w 9727651"/>
                  <a:gd name="connsiteY16" fmla="*/ 1750130 h 4327188"/>
                  <a:gd name="connsiteX17" fmla="*/ 9727651 w 9727651"/>
                  <a:gd name="connsiteY17" fmla="*/ 2767733 h 4327188"/>
                  <a:gd name="connsiteX18" fmla="*/ 9727651 w 9727651"/>
                  <a:gd name="connsiteY18" fmla="*/ 3309585 h 4327188"/>
                  <a:gd name="connsiteX19" fmla="*/ 8710048 w 9727651"/>
                  <a:gd name="connsiteY19" fmla="*/ 4327188 h 4327188"/>
                  <a:gd name="connsiteX20" fmla="*/ 8438949 w 9727651"/>
                  <a:gd name="connsiteY20" fmla="*/ 4327188 h 4327188"/>
                  <a:gd name="connsiteX21" fmla="*/ 8439613 w 9727651"/>
                  <a:gd name="connsiteY21" fmla="*/ 4325048 h 4327188"/>
                  <a:gd name="connsiteX22" fmla="*/ 8463273 w 9727651"/>
                  <a:gd name="connsiteY22" fmla="*/ 4090344 h 4327188"/>
                  <a:gd name="connsiteX23" fmla="*/ 7298691 w 9727651"/>
                  <a:gd name="connsiteY23" fmla="*/ 2925762 h 4327188"/>
                  <a:gd name="connsiteX24" fmla="*/ 6134109 w 9727651"/>
                  <a:gd name="connsiteY24" fmla="*/ 4090344 h 4327188"/>
                  <a:gd name="connsiteX25" fmla="*/ 6157769 w 9727651"/>
                  <a:gd name="connsiteY25" fmla="*/ 4325048 h 4327188"/>
                  <a:gd name="connsiteX26" fmla="*/ 6158433 w 9727651"/>
                  <a:gd name="connsiteY26" fmla="*/ 4327188 h 4327188"/>
                  <a:gd name="connsiteX27" fmla="*/ 3359824 w 9727651"/>
                  <a:gd name="connsiteY27" fmla="*/ 4327188 h 4327188"/>
                  <a:gd name="connsiteX28" fmla="*/ 3360488 w 9727651"/>
                  <a:gd name="connsiteY28" fmla="*/ 4325048 h 4327188"/>
                  <a:gd name="connsiteX29" fmla="*/ 3384148 w 9727651"/>
                  <a:gd name="connsiteY29" fmla="*/ 4090344 h 4327188"/>
                  <a:gd name="connsiteX30" fmla="*/ 2219566 w 9727651"/>
                  <a:gd name="connsiteY30" fmla="*/ 2925762 h 4327188"/>
                  <a:gd name="connsiteX31" fmla="*/ 1054984 w 9727651"/>
                  <a:gd name="connsiteY31" fmla="*/ 4090344 h 4327188"/>
                  <a:gd name="connsiteX32" fmla="*/ 1078645 w 9727651"/>
                  <a:gd name="connsiteY32" fmla="*/ 4325048 h 4327188"/>
                  <a:gd name="connsiteX33" fmla="*/ 1079309 w 9727651"/>
                  <a:gd name="connsiteY33" fmla="*/ 4327188 h 4327188"/>
                  <a:gd name="connsiteX34" fmla="*/ 1017603 w 9727651"/>
                  <a:gd name="connsiteY34" fmla="*/ 4327188 h 4327188"/>
                  <a:gd name="connsiteX35" fmla="*/ 0 w 9727651"/>
                  <a:gd name="connsiteY35" fmla="*/ 3309585 h 4327188"/>
                  <a:gd name="connsiteX36" fmla="*/ 0 w 9727651"/>
                  <a:gd name="connsiteY36" fmla="*/ 2767733 h 4327188"/>
                  <a:gd name="connsiteX37" fmla="*/ 1017603 w 9727651"/>
                  <a:gd name="connsiteY37" fmla="*/ 1750130 h 4327188"/>
                  <a:gd name="connsiteX38" fmla="*/ 1209415 w 9727651"/>
                  <a:gd name="connsiteY38" fmla="*/ 1750130 h 4327188"/>
                  <a:gd name="connsiteX39" fmla="*/ 1232083 w 9727651"/>
                  <a:gd name="connsiteY39" fmla="*/ 1654215 h 4327188"/>
                  <a:gd name="connsiteX40" fmla="*/ 4356692 w 9727651"/>
                  <a:gd name="connsiteY40" fmla="*/ 1232 h 432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727651" h="4327188">
                    <a:moveTo>
                      <a:pt x="5189008" y="392622"/>
                    </a:moveTo>
                    <a:cubicBezTo>
                      <a:pt x="5083963" y="391073"/>
                      <a:pt x="4979447" y="392612"/>
                      <a:pt x="4875190" y="393831"/>
                    </a:cubicBezTo>
                    <a:lnTo>
                      <a:pt x="4863825" y="393904"/>
                    </a:lnTo>
                    <a:lnTo>
                      <a:pt x="4863825" y="1750130"/>
                    </a:lnTo>
                    <a:lnTo>
                      <a:pt x="7379074" y="1750130"/>
                    </a:lnTo>
                    <a:lnTo>
                      <a:pt x="7287244" y="1615982"/>
                    </a:lnTo>
                    <a:cubicBezTo>
                      <a:pt x="6522774" y="532642"/>
                      <a:pt x="5845540" y="402304"/>
                      <a:pt x="5189008" y="392622"/>
                    </a:cubicBezTo>
                    <a:close/>
                    <a:moveTo>
                      <a:pt x="4315134" y="389302"/>
                    </a:moveTo>
                    <a:lnTo>
                      <a:pt x="4145447" y="394084"/>
                    </a:lnTo>
                    <a:cubicBezTo>
                      <a:pt x="3300271" y="436964"/>
                      <a:pt x="2301149" y="743298"/>
                      <a:pt x="1926233" y="1643041"/>
                    </a:cubicBezTo>
                    <a:lnTo>
                      <a:pt x="1888384" y="1750130"/>
                    </a:lnTo>
                    <a:lnTo>
                      <a:pt x="4315134" y="1750130"/>
                    </a:lnTo>
                    <a:close/>
                    <a:moveTo>
                      <a:pt x="4356692" y="1232"/>
                    </a:moveTo>
                    <a:cubicBezTo>
                      <a:pt x="4436017" y="-699"/>
                      <a:pt x="4512692" y="-350"/>
                      <a:pt x="4586069" y="2199"/>
                    </a:cubicBezTo>
                    <a:cubicBezTo>
                      <a:pt x="5686736" y="40431"/>
                      <a:pt x="6730848" y="-137261"/>
                      <a:pt x="7969553" y="1735030"/>
                    </a:cubicBezTo>
                    <a:lnTo>
                      <a:pt x="7979239" y="1750130"/>
                    </a:lnTo>
                    <a:lnTo>
                      <a:pt x="8710048" y="1750130"/>
                    </a:lnTo>
                    <a:cubicBezTo>
                      <a:pt x="9272055" y="1750130"/>
                      <a:pt x="9727651" y="2205726"/>
                      <a:pt x="9727651" y="2767733"/>
                    </a:cubicBezTo>
                    <a:lnTo>
                      <a:pt x="9727651" y="3309585"/>
                    </a:lnTo>
                    <a:cubicBezTo>
                      <a:pt x="9727651" y="3871592"/>
                      <a:pt x="9272055" y="4327188"/>
                      <a:pt x="8710048" y="4327188"/>
                    </a:cubicBezTo>
                    <a:lnTo>
                      <a:pt x="8438949" y="4327188"/>
                    </a:lnTo>
                    <a:lnTo>
                      <a:pt x="8439613" y="4325048"/>
                    </a:lnTo>
                    <a:cubicBezTo>
                      <a:pt x="8455126" y="4249236"/>
                      <a:pt x="8463273" y="4170742"/>
                      <a:pt x="8463273" y="4090344"/>
                    </a:cubicBezTo>
                    <a:cubicBezTo>
                      <a:pt x="8463273" y="3447163"/>
                      <a:pt x="7941872" y="2925762"/>
                      <a:pt x="7298691" y="2925762"/>
                    </a:cubicBezTo>
                    <a:cubicBezTo>
                      <a:pt x="6655510" y="2925762"/>
                      <a:pt x="6134109" y="3447163"/>
                      <a:pt x="6134109" y="4090344"/>
                    </a:cubicBezTo>
                    <a:cubicBezTo>
                      <a:pt x="6134109" y="4170742"/>
                      <a:pt x="6142256" y="4249236"/>
                      <a:pt x="6157769" y="4325048"/>
                    </a:cubicBezTo>
                    <a:lnTo>
                      <a:pt x="6158433" y="4327188"/>
                    </a:lnTo>
                    <a:lnTo>
                      <a:pt x="3359824" y="4327188"/>
                    </a:lnTo>
                    <a:lnTo>
                      <a:pt x="3360488" y="4325048"/>
                    </a:lnTo>
                    <a:cubicBezTo>
                      <a:pt x="3376001" y="4249236"/>
                      <a:pt x="3384148" y="4170742"/>
                      <a:pt x="3384148" y="4090344"/>
                    </a:cubicBezTo>
                    <a:cubicBezTo>
                      <a:pt x="3384148" y="3447163"/>
                      <a:pt x="2862747" y="2925762"/>
                      <a:pt x="2219566" y="2925762"/>
                    </a:cubicBezTo>
                    <a:cubicBezTo>
                      <a:pt x="1576385" y="2925762"/>
                      <a:pt x="1054984" y="3447163"/>
                      <a:pt x="1054984" y="4090344"/>
                    </a:cubicBezTo>
                    <a:cubicBezTo>
                      <a:pt x="1054984" y="4170742"/>
                      <a:pt x="1063131" y="4249236"/>
                      <a:pt x="1078645" y="4325048"/>
                    </a:cubicBezTo>
                    <a:lnTo>
                      <a:pt x="1079309" y="4327188"/>
                    </a:lnTo>
                    <a:lnTo>
                      <a:pt x="1017603" y="4327188"/>
                    </a:lnTo>
                    <a:cubicBezTo>
                      <a:pt x="455596" y="4327188"/>
                      <a:pt x="0" y="3871592"/>
                      <a:pt x="0" y="3309585"/>
                    </a:cubicBezTo>
                    <a:lnTo>
                      <a:pt x="0" y="2767733"/>
                    </a:lnTo>
                    <a:cubicBezTo>
                      <a:pt x="0" y="2205726"/>
                      <a:pt x="455596" y="1750130"/>
                      <a:pt x="1017603" y="1750130"/>
                    </a:cubicBezTo>
                    <a:lnTo>
                      <a:pt x="1209415" y="1750130"/>
                    </a:lnTo>
                    <a:lnTo>
                      <a:pt x="1232083" y="1654215"/>
                    </a:lnTo>
                    <a:cubicBezTo>
                      <a:pt x="1601377" y="506259"/>
                      <a:pt x="3241176" y="28383"/>
                      <a:pt x="4356692" y="123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9" name="Straight Connector 18"/>
              <p:cNvCxnSpPr/>
              <p:nvPr/>
            </p:nvCxnSpPr>
            <p:spPr bwMode="auto">
              <a:xfrm>
                <a:off x="2819400" y="4648200"/>
                <a:ext cx="188913" cy="144463"/>
              </a:xfrm>
              <a:prstGeom prst="line">
                <a:avLst/>
              </a:prstGeom>
              <a:noFill/>
              <a:ln w="9525" cap="flat" cmpd="sng" algn="ctr">
                <a:solidFill>
                  <a:schemeClr val="tx2"/>
                </a:solidFill>
                <a:prstDash val="sysDot"/>
                <a:round/>
                <a:headEnd type="none" w="med" len="med"/>
                <a:tailEnd type="none" w="med" len="med"/>
              </a:ln>
              <a:effectLst/>
            </p:spPr>
          </p:cxnSp>
          <p:cxnSp>
            <p:nvCxnSpPr>
              <p:cNvPr id="607" name="Straight Connector 606"/>
              <p:cNvCxnSpPr>
                <a:stCxn id="604" idx="0"/>
              </p:cNvCxnSpPr>
              <p:nvPr/>
            </p:nvCxnSpPr>
            <p:spPr bwMode="auto">
              <a:xfrm>
                <a:off x="3117182" y="4386003"/>
                <a:ext cx="49881" cy="343160"/>
              </a:xfrm>
              <a:prstGeom prst="line">
                <a:avLst/>
              </a:prstGeom>
              <a:noFill/>
              <a:ln w="9525" cap="flat" cmpd="sng" algn="ctr">
                <a:solidFill>
                  <a:schemeClr val="tx2"/>
                </a:solidFill>
                <a:prstDash val="sysDot"/>
                <a:round/>
                <a:headEnd type="none" w="med" len="med"/>
                <a:tailEnd type="none" w="med" len="med"/>
              </a:ln>
              <a:effectLst/>
            </p:spPr>
          </p:cxnSp>
          <p:cxnSp>
            <p:nvCxnSpPr>
              <p:cNvPr id="608" name="Straight Connector 607"/>
              <p:cNvCxnSpPr/>
              <p:nvPr/>
            </p:nvCxnSpPr>
            <p:spPr bwMode="auto">
              <a:xfrm flipH="1">
                <a:off x="3365500" y="4478338"/>
                <a:ext cx="57150" cy="244475"/>
              </a:xfrm>
              <a:prstGeom prst="line">
                <a:avLst/>
              </a:prstGeom>
              <a:noFill/>
              <a:ln w="9525" cap="flat" cmpd="sng" algn="ctr">
                <a:solidFill>
                  <a:schemeClr val="tx2"/>
                </a:solidFill>
                <a:prstDash val="sysDot"/>
                <a:round/>
                <a:headEnd type="none" w="med" len="med"/>
                <a:tailEnd type="none" w="med" len="med"/>
              </a:ln>
              <a:effectLst/>
            </p:spPr>
          </p:cxnSp>
          <p:cxnSp>
            <p:nvCxnSpPr>
              <p:cNvPr id="611" name="Straight Connector 610"/>
              <p:cNvCxnSpPr/>
              <p:nvPr/>
            </p:nvCxnSpPr>
            <p:spPr bwMode="auto">
              <a:xfrm flipH="1">
                <a:off x="3537845" y="4652249"/>
                <a:ext cx="180624" cy="225239"/>
              </a:xfrm>
              <a:prstGeom prst="line">
                <a:avLst/>
              </a:prstGeom>
              <a:noFill/>
              <a:ln w="9525" cap="flat" cmpd="sng" algn="ctr">
                <a:solidFill>
                  <a:schemeClr val="tx2"/>
                </a:solidFill>
                <a:prstDash val="sysDot"/>
                <a:round/>
                <a:headEnd type="none" w="med" len="med"/>
                <a:tailEnd type="none" w="med" len="med"/>
              </a:ln>
              <a:effectLst/>
            </p:spPr>
          </p:cxnSp>
          <p:sp>
            <p:nvSpPr>
              <p:cNvPr id="637" name="Freeform: Shape 636"/>
              <p:cNvSpPr>
                <a:spLocks noChangeAspect="1"/>
              </p:cNvSpPr>
              <p:nvPr/>
            </p:nvSpPr>
            <p:spPr>
              <a:xfrm rot="5166747">
                <a:off x="3762476" y="4920031"/>
                <a:ext cx="284829" cy="172301"/>
              </a:xfrm>
              <a:custGeom>
                <a:avLst/>
                <a:gdLst>
                  <a:gd name="connsiteX0" fmla="*/ 2320655 w 4641308"/>
                  <a:gd name="connsiteY0" fmla="*/ 2131841 h 2807661"/>
                  <a:gd name="connsiteX1" fmla="*/ 2658565 w 4641308"/>
                  <a:gd name="connsiteY1" fmla="*/ 2469751 h 2807661"/>
                  <a:gd name="connsiteX2" fmla="*/ 2320655 w 4641308"/>
                  <a:gd name="connsiteY2" fmla="*/ 2807661 h 2807661"/>
                  <a:gd name="connsiteX3" fmla="*/ 1982745 w 4641308"/>
                  <a:gd name="connsiteY3" fmla="*/ 2469751 h 2807661"/>
                  <a:gd name="connsiteX4" fmla="*/ 2320655 w 4641308"/>
                  <a:gd name="connsiteY4" fmla="*/ 2131841 h 2807661"/>
                  <a:gd name="connsiteX5" fmla="*/ 2302761 w 4641308"/>
                  <a:gd name="connsiteY5" fmla="*/ 1551728 h 2807661"/>
                  <a:gd name="connsiteX6" fmla="*/ 3231787 w 4641308"/>
                  <a:gd name="connsiteY6" fmla="*/ 1937010 h 2807661"/>
                  <a:gd name="connsiteX7" fmla="*/ 3107502 w 4641308"/>
                  <a:gd name="connsiteY7" fmla="*/ 2042652 h 2807661"/>
                  <a:gd name="connsiteX8" fmla="*/ 2312082 w 4641308"/>
                  <a:gd name="connsiteY8" fmla="*/ 1716405 h 2807661"/>
                  <a:gd name="connsiteX9" fmla="*/ 1525983 w 4641308"/>
                  <a:gd name="connsiteY9" fmla="*/ 2042652 h 2807661"/>
                  <a:gd name="connsiteX10" fmla="*/ 1407913 w 4641308"/>
                  <a:gd name="connsiteY10" fmla="*/ 1937010 h 2807661"/>
                  <a:gd name="connsiteX11" fmla="*/ 2302761 w 4641308"/>
                  <a:gd name="connsiteY11" fmla="*/ 1551728 h 2807661"/>
                  <a:gd name="connsiteX12" fmla="*/ 2291336 w 4641308"/>
                  <a:gd name="connsiteY12" fmla="*/ 826091 h 2807661"/>
                  <a:gd name="connsiteX13" fmla="*/ 3813487 w 4641308"/>
                  <a:gd name="connsiteY13" fmla="*/ 1457351 h 2807661"/>
                  <a:gd name="connsiteX14" fmla="*/ 3609855 w 4641308"/>
                  <a:gd name="connsiteY14" fmla="*/ 1630438 h 2807661"/>
                  <a:gd name="connsiteX15" fmla="*/ 2306608 w 4641308"/>
                  <a:gd name="connsiteY15" fmla="*/ 1095904 h 2807661"/>
                  <a:gd name="connsiteX16" fmla="*/ 1018634 w 4641308"/>
                  <a:gd name="connsiteY16" fmla="*/ 1630438 h 2807661"/>
                  <a:gd name="connsiteX17" fmla="*/ 825184 w 4641308"/>
                  <a:gd name="connsiteY17" fmla="*/ 1457351 h 2807661"/>
                  <a:gd name="connsiteX18" fmla="*/ 2291336 w 4641308"/>
                  <a:gd name="connsiteY18" fmla="*/ 826091 h 2807661"/>
                  <a:gd name="connsiteX19" fmla="*/ 2276027 w 4641308"/>
                  <a:gd name="connsiteY19" fmla="*/ 881 h 2807661"/>
                  <a:gd name="connsiteX20" fmla="*/ 4593023 w 4641308"/>
                  <a:gd name="connsiteY20" fmla="*/ 961776 h 2807661"/>
                  <a:gd name="connsiteX21" fmla="*/ 4283057 w 4641308"/>
                  <a:gd name="connsiteY21" fmla="*/ 1225247 h 2807661"/>
                  <a:gd name="connsiteX22" fmla="*/ 2299274 w 4641308"/>
                  <a:gd name="connsiteY22" fmla="*/ 411586 h 2807661"/>
                  <a:gd name="connsiteX23" fmla="*/ 338738 w 4641308"/>
                  <a:gd name="connsiteY23" fmla="*/ 1225247 h 2807661"/>
                  <a:gd name="connsiteX24" fmla="*/ 44271 w 4641308"/>
                  <a:gd name="connsiteY24" fmla="*/ 961776 h 2807661"/>
                  <a:gd name="connsiteX25" fmla="*/ 2276027 w 4641308"/>
                  <a:gd name="connsiteY25" fmla="*/ 881 h 280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41308" h="2807661">
                    <a:moveTo>
                      <a:pt x="2320655" y="2131841"/>
                    </a:moveTo>
                    <a:cubicBezTo>
                      <a:pt x="2507278" y="2131841"/>
                      <a:pt x="2658565" y="2283128"/>
                      <a:pt x="2658565" y="2469751"/>
                    </a:cubicBezTo>
                    <a:cubicBezTo>
                      <a:pt x="2658565" y="2656374"/>
                      <a:pt x="2507278" y="2807661"/>
                      <a:pt x="2320655" y="2807661"/>
                    </a:cubicBezTo>
                    <a:cubicBezTo>
                      <a:pt x="2134032" y="2807661"/>
                      <a:pt x="1982745" y="2656374"/>
                      <a:pt x="1982745" y="2469751"/>
                    </a:cubicBezTo>
                    <a:cubicBezTo>
                      <a:pt x="1982745" y="2283128"/>
                      <a:pt x="2134032" y="2131841"/>
                      <a:pt x="2320655" y="2131841"/>
                    </a:cubicBezTo>
                    <a:close/>
                    <a:moveTo>
                      <a:pt x="2302761" y="1551728"/>
                    </a:moveTo>
                    <a:cubicBezTo>
                      <a:pt x="2836666" y="1539300"/>
                      <a:pt x="3140082" y="1858638"/>
                      <a:pt x="3231787" y="1937010"/>
                    </a:cubicBezTo>
                    <a:cubicBezTo>
                      <a:pt x="3293227" y="1989518"/>
                      <a:pt x="3196582" y="2106859"/>
                      <a:pt x="3107502" y="2042652"/>
                    </a:cubicBezTo>
                    <a:cubicBezTo>
                      <a:pt x="2963766" y="1939049"/>
                      <a:pt x="2734131" y="1722620"/>
                      <a:pt x="2312082" y="1716405"/>
                    </a:cubicBezTo>
                    <a:cubicBezTo>
                      <a:pt x="1890033" y="1710191"/>
                      <a:pt x="1605247" y="1983897"/>
                      <a:pt x="1525983" y="2042652"/>
                    </a:cubicBezTo>
                    <a:cubicBezTo>
                      <a:pt x="1446719" y="2101406"/>
                      <a:pt x="1349676" y="1997642"/>
                      <a:pt x="1407913" y="1937010"/>
                    </a:cubicBezTo>
                    <a:cubicBezTo>
                      <a:pt x="1466150" y="1876378"/>
                      <a:pt x="1768856" y="1564157"/>
                      <a:pt x="2302761" y="1551728"/>
                    </a:cubicBezTo>
                    <a:close/>
                    <a:moveTo>
                      <a:pt x="2291336" y="826091"/>
                    </a:moveTo>
                    <a:cubicBezTo>
                      <a:pt x="3166107" y="805727"/>
                      <a:pt x="3663235" y="1328944"/>
                      <a:pt x="3813487" y="1457351"/>
                    </a:cubicBezTo>
                    <a:cubicBezTo>
                      <a:pt x="3914154" y="1543383"/>
                      <a:pt x="3755806" y="1735638"/>
                      <a:pt x="3609855" y="1630438"/>
                    </a:cubicBezTo>
                    <a:cubicBezTo>
                      <a:pt x="3374352" y="1460692"/>
                      <a:pt x="2998109" y="1106086"/>
                      <a:pt x="2306608" y="1095904"/>
                    </a:cubicBezTo>
                    <a:cubicBezTo>
                      <a:pt x="1615107" y="1085722"/>
                      <a:pt x="1148503" y="1534173"/>
                      <a:pt x="1018634" y="1630438"/>
                    </a:cubicBezTo>
                    <a:cubicBezTo>
                      <a:pt x="888765" y="1726704"/>
                      <a:pt x="729766" y="1556692"/>
                      <a:pt x="825184" y="1457351"/>
                    </a:cubicBezTo>
                    <a:cubicBezTo>
                      <a:pt x="920602" y="1358010"/>
                      <a:pt x="1416566" y="846454"/>
                      <a:pt x="2291336" y="826091"/>
                    </a:cubicBezTo>
                    <a:close/>
                    <a:moveTo>
                      <a:pt x="2276027" y="881"/>
                    </a:moveTo>
                    <a:cubicBezTo>
                      <a:pt x="3607590" y="-30116"/>
                      <a:pt x="4364312" y="766316"/>
                      <a:pt x="4593023" y="961776"/>
                    </a:cubicBezTo>
                    <a:cubicBezTo>
                      <a:pt x="4746257" y="1092732"/>
                      <a:pt x="4505222" y="1385380"/>
                      <a:pt x="4283057" y="1225247"/>
                    </a:cubicBezTo>
                    <a:cubicBezTo>
                      <a:pt x="3924578" y="966862"/>
                      <a:pt x="3351867" y="427085"/>
                      <a:pt x="2299274" y="411586"/>
                    </a:cubicBezTo>
                    <a:cubicBezTo>
                      <a:pt x="1246681" y="396087"/>
                      <a:pt x="536423" y="1078713"/>
                      <a:pt x="338738" y="1225247"/>
                    </a:cubicBezTo>
                    <a:cubicBezTo>
                      <a:pt x="141053" y="1371781"/>
                      <a:pt x="-100973" y="1112992"/>
                      <a:pt x="44271" y="961776"/>
                    </a:cubicBezTo>
                    <a:cubicBezTo>
                      <a:pt x="189515" y="810560"/>
                      <a:pt x="944464" y="31878"/>
                      <a:pt x="2276027" y="881"/>
                    </a:cubicBezTo>
                    <a:close/>
                  </a:path>
                </a:pathLst>
              </a:cu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639" name="Freeform: Shape 638"/>
              <p:cNvSpPr>
                <a:spLocks noChangeAspect="1"/>
              </p:cNvSpPr>
              <p:nvPr/>
            </p:nvSpPr>
            <p:spPr>
              <a:xfrm rot="16433253" flipH="1">
                <a:off x="2531615" y="4932573"/>
                <a:ext cx="284829" cy="172301"/>
              </a:xfrm>
              <a:custGeom>
                <a:avLst/>
                <a:gdLst>
                  <a:gd name="connsiteX0" fmla="*/ 2320655 w 4641308"/>
                  <a:gd name="connsiteY0" fmla="*/ 2131841 h 2807661"/>
                  <a:gd name="connsiteX1" fmla="*/ 2658565 w 4641308"/>
                  <a:gd name="connsiteY1" fmla="*/ 2469751 h 2807661"/>
                  <a:gd name="connsiteX2" fmla="*/ 2320655 w 4641308"/>
                  <a:gd name="connsiteY2" fmla="*/ 2807661 h 2807661"/>
                  <a:gd name="connsiteX3" fmla="*/ 1982745 w 4641308"/>
                  <a:gd name="connsiteY3" fmla="*/ 2469751 h 2807661"/>
                  <a:gd name="connsiteX4" fmla="*/ 2320655 w 4641308"/>
                  <a:gd name="connsiteY4" fmla="*/ 2131841 h 2807661"/>
                  <a:gd name="connsiteX5" fmla="*/ 2302761 w 4641308"/>
                  <a:gd name="connsiteY5" fmla="*/ 1551728 h 2807661"/>
                  <a:gd name="connsiteX6" fmla="*/ 3231787 w 4641308"/>
                  <a:gd name="connsiteY6" fmla="*/ 1937010 h 2807661"/>
                  <a:gd name="connsiteX7" fmla="*/ 3107502 w 4641308"/>
                  <a:gd name="connsiteY7" fmla="*/ 2042652 h 2807661"/>
                  <a:gd name="connsiteX8" fmla="*/ 2312082 w 4641308"/>
                  <a:gd name="connsiteY8" fmla="*/ 1716405 h 2807661"/>
                  <a:gd name="connsiteX9" fmla="*/ 1525983 w 4641308"/>
                  <a:gd name="connsiteY9" fmla="*/ 2042652 h 2807661"/>
                  <a:gd name="connsiteX10" fmla="*/ 1407913 w 4641308"/>
                  <a:gd name="connsiteY10" fmla="*/ 1937010 h 2807661"/>
                  <a:gd name="connsiteX11" fmla="*/ 2302761 w 4641308"/>
                  <a:gd name="connsiteY11" fmla="*/ 1551728 h 2807661"/>
                  <a:gd name="connsiteX12" fmla="*/ 2291336 w 4641308"/>
                  <a:gd name="connsiteY12" fmla="*/ 826091 h 2807661"/>
                  <a:gd name="connsiteX13" fmla="*/ 3813487 w 4641308"/>
                  <a:gd name="connsiteY13" fmla="*/ 1457351 h 2807661"/>
                  <a:gd name="connsiteX14" fmla="*/ 3609855 w 4641308"/>
                  <a:gd name="connsiteY14" fmla="*/ 1630438 h 2807661"/>
                  <a:gd name="connsiteX15" fmla="*/ 2306608 w 4641308"/>
                  <a:gd name="connsiteY15" fmla="*/ 1095904 h 2807661"/>
                  <a:gd name="connsiteX16" fmla="*/ 1018634 w 4641308"/>
                  <a:gd name="connsiteY16" fmla="*/ 1630438 h 2807661"/>
                  <a:gd name="connsiteX17" fmla="*/ 825184 w 4641308"/>
                  <a:gd name="connsiteY17" fmla="*/ 1457351 h 2807661"/>
                  <a:gd name="connsiteX18" fmla="*/ 2291336 w 4641308"/>
                  <a:gd name="connsiteY18" fmla="*/ 826091 h 2807661"/>
                  <a:gd name="connsiteX19" fmla="*/ 2276027 w 4641308"/>
                  <a:gd name="connsiteY19" fmla="*/ 881 h 2807661"/>
                  <a:gd name="connsiteX20" fmla="*/ 4593023 w 4641308"/>
                  <a:gd name="connsiteY20" fmla="*/ 961776 h 2807661"/>
                  <a:gd name="connsiteX21" fmla="*/ 4283057 w 4641308"/>
                  <a:gd name="connsiteY21" fmla="*/ 1225247 h 2807661"/>
                  <a:gd name="connsiteX22" fmla="*/ 2299274 w 4641308"/>
                  <a:gd name="connsiteY22" fmla="*/ 411586 h 2807661"/>
                  <a:gd name="connsiteX23" fmla="*/ 338738 w 4641308"/>
                  <a:gd name="connsiteY23" fmla="*/ 1225247 h 2807661"/>
                  <a:gd name="connsiteX24" fmla="*/ 44271 w 4641308"/>
                  <a:gd name="connsiteY24" fmla="*/ 961776 h 2807661"/>
                  <a:gd name="connsiteX25" fmla="*/ 2276027 w 4641308"/>
                  <a:gd name="connsiteY25" fmla="*/ 881 h 280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41308" h="2807661">
                    <a:moveTo>
                      <a:pt x="2320655" y="2131841"/>
                    </a:moveTo>
                    <a:cubicBezTo>
                      <a:pt x="2507278" y="2131841"/>
                      <a:pt x="2658565" y="2283128"/>
                      <a:pt x="2658565" y="2469751"/>
                    </a:cubicBezTo>
                    <a:cubicBezTo>
                      <a:pt x="2658565" y="2656374"/>
                      <a:pt x="2507278" y="2807661"/>
                      <a:pt x="2320655" y="2807661"/>
                    </a:cubicBezTo>
                    <a:cubicBezTo>
                      <a:pt x="2134032" y="2807661"/>
                      <a:pt x="1982745" y="2656374"/>
                      <a:pt x="1982745" y="2469751"/>
                    </a:cubicBezTo>
                    <a:cubicBezTo>
                      <a:pt x="1982745" y="2283128"/>
                      <a:pt x="2134032" y="2131841"/>
                      <a:pt x="2320655" y="2131841"/>
                    </a:cubicBezTo>
                    <a:close/>
                    <a:moveTo>
                      <a:pt x="2302761" y="1551728"/>
                    </a:moveTo>
                    <a:cubicBezTo>
                      <a:pt x="2836666" y="1539300"/>
                      <a:pt x="3140082" y="1858638"/>
                      <a:pt x="3231787" y="1937010"/>
                    </a:cubicBezTo>
                    <a:cubicBezTo>
                      <a:pt x="3293227" y="1989518"/>
                      <a:pt x="3196582" y="2106859"/>
                      <a:pt x="3107502" y="2042652"/>
                    </a:cubicBezTo>
                    <a:cubicBezTo>
                      <a:pt x="2963766" y="1939049"/>
                      <a:pt x="2734131" y="1722620"/>
                      <a:pt x="2312082" y="1716405"/>
                    </a:cubicBezTo>
                    <a:cubicBezTo>
                      <a:pt x="1890033" y="1710191"/>
                      <a:pt x="1605247" y="1983897"/>
                      <a:pt x="1525983" y="2042652"/>
                    </a:cubicBezTo>
                    <a:cubicBezTo>
                      <a:pt x="1446719" y="2101406"/>
                      <a:pt x="1349676" y="1997642"/>
                      <a:pt x="1407913" y="1937010"/>
                    </a:cubicBezTo>
                    <a:cubicBezTo>
                      <a:pt x="1466150" y="1876378"/>
                      <a:pt x="1768856" y="1564157"/>
                      <a:pt x="2302761" y="1551728"/>
                    </a:cubicBezTo>
                    <a:close/>
                    <a:moveTo>
                      <a:pt x="2291336" y="826091"/>
                    </a:moveTo>
                    <a:cubicBezTo>
                      <a:pt x="3166107" y="805727"/>
                      <a:pt x="3663235" y="1328944"/>
                      <a:pt x="3813487" y="1457351"/>
                    </a:cubicBezTo>
                    <a:cubicBezTo>
                      <a:pt x="3914154" y="1543383"/>
                      <a:pt x="3755806" y="1735638"/>
                      <a:pt x="3609855" y="1630438"/>
                    </a:cubicBezTo>
                    <a:cubicBezTo>
                      <a:pt x="3374352" y="1460692"/>
                      <a:pt x="2998109" y="1106086"/>
                      <a:pt x="2306608" y="1095904"/>
                    </a:cubicBezTo>
                    <a:cubicBezTo>
                      <a:pt x="1615107" y="1085722"/>
                      <a:pt x="1148503" y="1534173"/>
                      <a:pt x="1018634" y="1630438"/>
                    </a:cubicBezTo>
                    <a:cubicBezTo>
                      <a:pt x="888765" y="1726704"/>
                      <a:pt x="729766" y="1556692"/>
                      <a:pt x="825184" y="1457351"/>
                    </a:cubicBezTo>
                    <a:cubicBezTo>
                      <a:pt x="920602" y="1358010"/>
                      <a:pt x="1416566" y="846454"/>
                      <a:pt x="2291336" y="826091"/>
                    </a:cubicBezTo>
                    <a:close/>
                    <a:moveTo>
                      <a:pt x="2276027" y="881"/>
                    </a:moveTo>
                    <a:cubicBezTo>
                      <a:pt x="3607590" y="-30116"/>
                      <a:pt x="4364312" y="766316"/>
                      <a:pt x="4593023" y="961776"/>
                    </a:cubicBezTo>
                    <a:cubicBezTo>
                      <a:pt x="4746257" y="1092732"/>
                      <a:pt x="4505222" y="1385380"/>
                      <a:pt x="4283057" y="1225247"/>
                    </a:cubicBezTo>
                    <a:cubicBezTo>
                      <a:pt x="3924578" y="966862"/>
                      <a:pt x="3351867" y="427085"/>
                      <a:pt x="2299274" y="411586"/>
                    </a:cubicBezTo>
                    <a:cubicBezTo>
                      <a:pt x="1246681" y="396087"/>
                      <a:pt x="536423" y="1078713"/>
                      <a:pt x="338738" y="1225247"/>
                    </a:cubicBezTo>
                    <a:cubicBezTo>
                      <a:pt x="141053" y="1371781"/>
                      <a:pt x="-100973" y="1112992"/>
                      <a:pt x="44271" y="961776"/>
                    </a:cubicBezTo>
                    <a:cubicBezTo>
                      <a:pt x="189515" y="810560"/>
                      <a:pt x="944464" y="31878"/>
                      <a:pt x="2276027" y="881"/>
                    </a:cubicBezTo>
                    <a:close/>
                  </a:path>
                </a:pathLst>
              </a:cu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nvGrpSpPr>
              <p:cNvPr id="646" name="Group 645"/>
              <p:cNvGrpSpPr/>
              <p:nvPr/>
            </p:nvGrpSpPr>
            <p:grpSpPr>
              <a:xfrm>
                <a:off x="3294701" y="4362879"/>
                <a:ext cx="249561" cy="249561"/>
                <a:chOff x="3294701" y="4362879"/>
                <a:chExt cx="249561" cy="249561"/>
              </a:xfrm>
            </p:grpSpPr>
            <p:sp>
              <p:nvSpPr>
                <p:cNvPr id="605" name="Oval 604"/>
                <p:cNvSpPr/>
                <p:nvPr/>
              </p:nvSpPr>
              <p:spPr bwMode="auto">
                <a:xfrm>
                  <a:off x="3294701" y="4362879"/>
                  <a:ext cx="249561" cy="249561"/>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640" name="Freeform 79"/>
                <p:cNvSpPr>
                  <a:spLocks noChangeAspect="1"/>
                </p:cNvSpPr>
                <p:nvPr/>
              </p:nvSpPr>
              <p:spPr bwMode="auto">
                <a:xfrm>
                  <a:off x="3355114" y="4419079"/>
                  <a:ext cx="128734" cy="137160"/>
                </a:xfrm>
                <a:custGeom>
                  <a:avLst/>
                  <a:gdLst>
                    <a:gd name="connsiteX0" fmla="*/ 254159 w 872148"/>
                    <a:gd name="connsiteY0" fmla="*/ 97966 h 929236"/>
                    <a:gd name="connsiteX1" fmla="*/ 296409 w 872148"/>
                    <a:gd name="connsiteY1" fmla="*/ 193849 h 929236"/>
                    <a:gd name="connsiteX2" fmla="*/ 250910 w 872148"/>
                    <a:gd name="connsiteY2" fmla="*/ 218545 h 929236"/>
                    <a:gd name="connsiteX3" fmla="*/ 104897 w 872148"/>
                    <a:gd name="connsiteY3" fmla="*/ 493163 h 929236"/>
                    <a:gd name="connsiteX4" fmla="*/ 436075 w 872148"/>
                    <a:gd name="connsiteY4" fmla="*/ 824341 h 929236"/>
                    <a:gd name="connsiteX5" fmla="*/ 767253 w 872148"/>
                    <a:gd name="connsiteY5" fmla="*/ 493163 h 929236"/>
                    <a:gd name="connsiteX6" fmla="*/ 621239 w 872148"/>
                    <a:gd name="connsiteY6" fmla="*/ 218545 h 929236"/>
                    <a:gd name="connsiteX7" fmla="*/ 575739 w 872148"/>
                    <a:gd name="connsiteY7" fmla="*/ 193849 h 929236"/>
                    <a:gd name="connsiteX8" fmla="*/ 617989 w 872148"/>
                    <a:gd name="connsiteY8" fmla="*/ 97966 h 929236"/>
                    <a:gd name="connsiteX9" fmla="*/ 679887 w 872148"/>
                    <a:gd name="connsiteY9" fmla="*/ 131564 h 929236"/>
                    <a:gd name="connsiteX10" fmla="*/ 872148 w 872148"/>
                    <a:gd name="connsiteY10" fmla="*/ 493162 h 929236"/>
                    <a:gd name="connsiteX11" fmla="*/ 436074 w 872148"/>
                    <a:gd name="connsiteY11" fmla="*/ 929236 h 929236"/>
                    <a:gd name="connsiteX12" fmla="*/ 0 w 872148"/>
                    <a:gd name="connsiteY12" fmla="*/ 493162 h 929236"/>
                    <a:gd name="connsiteX13" fmla="*/ 192261 w 872148"/>
                    <a:gd name="connsiteY13" fmla="*/ 131564 h 929236"/>
                    <a:gd name="connsiteX14" fmla="*/ 388636 w 872148"/>
                    <a:gd name="connsiteY14" fmla="*/ 0 h 929236"/>
                    <a:gd name="connsiteX15" fmla="*/ 490987 w 872148"/>
                    <a:gd name="connsiteY15" fmla="*/ 0 h 929236"/>
                    <a:gd name="connsiteX16" fmla="*/ 490987 w 872148"/>
                    <a:gd name="connsiteY16" fmla="*/ 541054 h 929236"/>
                    <a:gd name="connsiteX17" fmla="*/ 388636 w 872148"/>
                    <a:gd name="connsiteY17" fmla="*/ 541054 h 92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2148" h="929236">
                      <a:moveTo>
                        <a:pt x="254159" y="97966"/>
                      </a:moveTo>
                      <a:lnTo>
                        <a:pt x="296409" y="193849"/>
                      </a:lnTo>
                      <a:lnTo>
                        <a:pt x="250910" y="218545"/>
                      </a:lnTo>
                      <a:cubicBezTo>
                        <a:pt x="162816" y="278061"/>
                        <a:pt x="104897" y="378848"/>
                        <a:pt x="104897" y="493163"/>
                      </a:cubicBezTo>
                      <a:cubicBezTo>
                        <a:pt x="104897" y="676067"/>
                        <a:pt x="253170" y="824341"/>
                        <a:pt x="436075" y="824341"/>
                      </a:cubicBezTo>
                      <a:cubicBezTo>
                        <a:pt x="618979" y="824341"/>
                        <a:pt x="767253" y="676067"/>
                        <a:pt x="767253" y="493163"/>
                      </a:cubicBezTo>
                      <a:cubicBezTo>
                        <a:pt x="767253" y="378848"/>
                        <a:pt x="709333" y="278061"/>
                        <a:pt x="621239" y="218545"/>
                      </a:cubicBezTo>
                      <a:lnTo>
                        <a:pt x="575739" y="193849"/>
                      </a:lnTo>
                      <a:lnTo>
                        <a:pt x="617989" y="97966"/>
                      </a:lnTo>
                      <a:lnTo>
                        <a:pt x="679887" y="131564"/>
                      </a:lnTo>
                      <a:cubicBezTo>
                        <a:pt x="795884" y="209929"/>
                        <a:pt x="872148" y="342640"/>
                        <a:pt x="872148" y="493162"/>
                      </a:cubicBezTo>
                      <a:cubicBezTo>
                        <a:pt x="872148" y="733999"/>
                        <a:pt x="676911" y="929236"/>
                        <a:pt x="436074" y="929236"/>
                      </a:cubicBezTo>
                      <a:cubicBezTo>
                        <a:pt x="195237" y="929236"/>
                        <a:pt x="0" y="733999"/>
                        <a:pt x="0" y="493162"/>
                      </a:cubicBezTo>
                      <a:cubicBezTo>
                        <a:pt x="0" y="342640"/>
                        <a:pt x="76265" y="209929"/>
                        <a:pt x="192261" y="131564"/>
                      </a:cubicBezTo>
                      <a:close/>
                      <a:moveTo>
                        <a:pt x="388636" y="0"/>
                      </a:moveTo>
                      <a:lnTo>
                        <a:pt x="490987" y="0"/>
                      </a:lnTo>
                      <a:lnTo>
                        <a:pt x="490987" y="541054"/>
                      </a:lnTo>
                      <a:lnTo>
                        <a:pt x="388636" y="54105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5" name="Group 644"/>
              <p:cNvGrpSpPr/>
              <p:nvPr/>
            </p:nvGrpSpPr>
            <p:grpSpPr>
              <a:xfrm>
                <a:off x="2992401" y="4386003"/>
                <a:ext cx="249561" cy="249561"/>
                <a:chOff x="2992401" y="4386003"/>
                <a:chExt cx="249561" cy="249561"/>
              </a:xfrm>
            </p:grpSpPr>
            <p:sp>
              <p:nvSpPr>
                <p:cNvPr id="604" name="Oval 603"/>
                <p:cNvSpPr/>
                <p:nvPr/>
              </p:nvSpPr>
              <p:spPr bwMode="auto">
                <a:xfrm>
                  <a:off x="2992401" y="4386003"/>
                  <a:ext cx="249561" cy="249561"/>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641" name="Freeform 9"/>
                <p:cNvSpPr>
                  <a:spLocks noChangeAspect="1" noEditPoints="1"/>
                </p:cNvSpPr>
                <p:nvPr/>
              </p:nvSpPr>
              <p:spPr bwMode="auto">
                <a:xfrm>
                  <a:off x="3032601" y="4442203"/>
                  <a:ext cx="169160" cy="1371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7" name="Group 646"/>
              <p:cNvGrpSpPr/>
              <p:nvPr/>
            </p:nvGrpSpPr>
            <p:grpSpPr>
              <a:xfrm>
                <a:off x="3597001" y="4521080"/>
                <a:ext cx="249561" cy="249561"/>
                <a:chOff x="3597001" y="4521080"/>
                <a:chExt cx="249561" cy="249561"/>
              </a:xfrm>
            </p:grpSpPr>
            <p:sp>
              <p:nvSpPr>
                <p:cNvPr id="606" name="Oval 605"/>
                <p:cNvSpPr/>
                <p:nvPr/>
              </p:nvSpPr>
              <p:spPr bwMode="auto">
                <a:xfrm>
                  <a:off x="3597001" y="4521080"/>
                  <a:ext cx="249561" cy="249561"/>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642" name="Freeform 110"/>
                <p:cNvSpPr>
                  <a:spLocks noChangeAspect="1" noEditPoints="1"/>
                </p:cNvSpPr>
                <p:nvPr/>
              </p:nvSpPr>
              <p:spPr bwMode="auto">
                <a:xfrm>
                  <a:off x="3685215" y="4577280"/>
                  <a:ext cx="73133" cy="13716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644" name="Group 643"/>
              <p:cNvGrpSpPr/>
              <p:nvPr/>
            </p:nvGrpSpPr>
            <p:grpSpPr>
              <a:xfrm>
                <a:off x="2690101" y="4521954"/>
                <a:ext cx="249561" cy="249561"/>
                <a:chOff x="2690101" y="4521954"/>
                <a:chExt cx="249561" cy="249561"/>
              </a:xfrm>
            </p:grpSpPr>
            <p:sp>
              <p:nvSpPr>
                <p:cNvPr id="17" name="Oval 16"/>
                <p:cNvSpPr/>
                <p:nvPr/>
              </p:nvSpPr>
              <p:spPr bwMode="auto">
                <a:xfrm>
                  <a:off x="2690101" y="4521954"/>
                  <a:ext cx="249561" cy="249561"/>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643" name="Freeform 77"/>
                <p:cNvSpPr>
                  <a:spLocks noChangeAspect="1" noEditPoints="1"/>
                </p:cNvSpPr>
                <p:nvPr/>
              </p:nvSpPr>
              <p:spPr bwMode="auto">
                <a:xfrm>
                  <a:off x="2771170" y="4578154"/>
                  <a:ext cx="87423" cy="137160"/>
                </a:xfrm>
                <a:custGeom>
                  <a:avLst/>
                  <a:gdLst>
                    <a:gd name="T0" fmla="*/ 540 w 961"/>
                    <a:gd name="T1" fmla="*/ 783 h 1510"/>
                    <a:gd name="T2" fmla="*/ 771 w 961"/>
                    <a:gd name="T3" fmla="*/ 1057 h 1510"/>
                    <a:gd name="T4" fmla="*/ 480 w 961"/>
                    <a:gd name="T5" fmla="*/ 1331 h 1510"/>
                    <a:gd name="T6" fmla="*/ 190 w 961"/>
                    <a:gd name="T7" fmla="*/ 1057 h 1510"/>
                    <a:gd name="T8" fmla="*/ 420 w 961"/>
                    <a:gd name="T9" fmla="*/ 783 h 1510"/>
                    <a:gd name="T10" fmla="*/ 420 w 961"/>
                    <a:gd name="T11" fmla="*/ 358 h 1510"/>
                    <a:gd name="T12" fmla="*/ 540 w 961"/>
                    <a:gd name="T13" fmla="*/ 358 h 1510"/>
                    <a:gd name="T14" fmla="*/ 540 w 961"/>
                    <a:gd name="T15" fmla="*/ 783 h 1510"/>
                    <a:gd name="T16" fmla="*/ 710 w 961"/>
                    <a:gd name="T17" fmla="*/ 651 h 1510"/>
                    <a:gd name="T18" fmla="*/ 961 w 961"/>
                    <a:gd name="T19" fmla="*/ 1057 h 1510"/>
                    <a:gd name="T20" fmla="*/ 480 w 961"/>
                    <a:gd name="T21" fmla="*/ 1510 h 1510"/>
                    <a:gd name="T22" fmla="*/ 0 w 961"/>
                    <a:gd name="T23" fmla="*/ 1057 h 1510"/>
                    <a:gd name="T24" fmla="*/ 250 w 961"/>
                    <a:gd name="T25" fmla="*/ 651 h 1510"/>
                    <a:gd name="T26" fmla="*/ 250 w 961"/>
                    <a:gd name="T27" fmla="*/ 217 h 1510"/>
                    <a:gd name="T28" fmla="*/ 480 w 961"/>
                    <a:gd name="T29" fmla="*/ 0 h 1510"/>
                    <a:gd name="T30" fmla="*/ 710 w 961"/>
                    <a:gd name="T31" fmla="*/ 217 h 1510"/>
                    <a:gd name="T32" fmla="*/ 710 w 961"/>
                    <a:gd name="T33" fmla="*/ 293 h 1510"/>
                    <a:gd name="T34" fmla="*/ 790 w 961"/>
                    <a:gd name="T35" fmla="*/ 293 h 1510"/>
                    <a:gd name="T36" fmla="*/ 790 w 961"/>
                    <a:gd name="T37" fmla="*/ 378 h 1510"/>
                    <a:gd name="T38" fmla="*/ 710 w 961"/>
                    <a:gd name="T39" fmla="*/ 378 h 1510"/>
                    <a:gd name="T40" fmla="*/ 710 w 961"/>
                    <a:gd name="T41" fmla="*/ 491 h 1510"/>
                    <a:gd name="T42" fmla="*/ 790 w 961"/>
                    <a:gd name="T43" fmla="*/ 491 h 1510"/>
                    <a:gd name="T44" fmla="*/ 790 w 961"/>
                    <a:gd name="T45" fmla="*/ 566 h 1510"/>
                    <a:gd name="T46" fmla="*/ 710 w 961"/>
                    <a:gd name="T47" fmla="*/ 566 h 1510"/>
                    <a:gd name="T48" fmla="*/ 710 w 961"/>
                    <a:gd name="T49" fmla="*/ 651 h 1510"/>
                    <a:gd name="T50" fmla="*/ 480 w 961"/>
                    <a:gd name="T51" fmla="*/ 1397 h 1510"/>
                    <a:gd name="T52" fmla="*/ 841 w 961"/>
                    <a:gd name="T53" fmla="*/ 1057 h 1510"/>
                    <a:gd name="T54" fmla="*/ 630 w 961"/>
                    <a:gd name="T55" fmla="*/ 746 h 1510"/>
                    <a:gd name="T56" fmla="*/ 590 w 961"/>
                    <a:gd name="T57" fmla="*/ 727 h 1510"/>
                    <a:gd name="T58" fmla="*/ 590 w 961"/>
                    <a:gd name="T59" fmla="*/ 217 h 1510"/>
                    <a:gd name="T60" fmla="*/ 480 w 961"/>
                    <a:gd name="T61" fmla="*/ 113 h 1510"/>
                    <a:gd name="T62" fmla="*/ 370 w 961"/>
                    <a:gd name="T63" fmla="*/ 217 h 1510"/>
                    <a:gd name="T64" fmla="*/ 370 w 961"/>
                    <a:gd name="T65" fmla="*/ 727 h 1510"/>
                    <a:gd name="T66" fmla="*/ 330 w 961"/>
                    <a:gd name="T67" fmla="*/ 746 h 1510"/>
                    <a:gd name="T68" fmla="*/ 120 w 961"/>
                    <a:gd name="T69" fmla="*/ 1057 h 1510"/>
                    <a:gd name="T70" fmla="*/ 480 w 961"/>
                    <a:gd name="T71" fmla="*/ 1397 h 1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1" h="1510">
                      <a:moveTo>
                        <a:pt x="540" y="783"/>
                      </a:moveTo>
                      <a:cubicBezTo>
                        <a:pt x="671" y="811"/>
                        <a:pt x="771" y="925"/>
                        <a:pt x="771" y="1057"/>
                      </a:cubicBezTo>
                      <a:cubicBezTo>
                        <a:pt x="771" y="1208"/>
                        <a:pt x="641" y="1331"/>
                        <a:pt x="480" y="1331"/>
                      </a:cubicBezTo>
                      <a:cubicBezTo>
                        <a:pt x="320" y="1331"/>
                        <a:pt x="190" y="1208"/>
                        <a:pt x="190" y="1057"/>
                      </a:cubicBezTo>
                      <a:cubicBezTo>
                        <a:pt x="190" y="925"/>
                        <a:pt x="290" y="811"/>
                        <a:pt x="420" y="783"/>
                      </a:cubicBezTo>
                      <a:cubicBezTo>
                        <a:pt x="420" y="783"/>
                        <a:pt x="420" y="783"/>
                        <a:pt x="420" y="358"/>
                      </a:cubicBezTo>
                      <a:cubicBezTo>
                        <a:pt x="420" y="358"/>
                        <a:pt x="420" y="358"/>
                        <a:pt x="540" y="358"/>
                      </a:cubicBezTo>
                      <a:cubicBezTo>
                        <a:pt x="540" y="358"/>
                        <a:pt x="540" y="358"/>
                        <a:pt x="540" y="783"/>
                      </a:cubicBezTo>
                      <a:close/>
                      <a:moveTo>
                        <a:pt x="710" y="651"/>
                      </a:moveTo>
                      <a:cubicBezTo>
                        <a:pt x="861" y="736"/>
                        <a:pt x="961" y="887"/>
                        <a:pt x="961" y="1057"/>
                      </a:cubicBezTo>
                      <a:cubicBezTo>
                        <a:pt x="961" y="1302"/>
                        <a:pt x="740" y="1510"/>
                        <a:pt x="480" y="1510"/>
                      </a:cubicBezTo>
                      <a:cubicBezTo>
                        <a:pt x="210" y="1510"/>
                        <a:pt x="0" y="1302"/>
                        <a:pt x="0" y="1057"/>
                      </a:cubicBezTo>
                      <a:cubicBezTo>
                        <a:pt x="0" y="887"/>
                        <a:pt x="90" y="736"/>
                        <a:pt x="250" y="651"/>
                      </a:cubicBezTo>
                      <a:cubicBezTo>
                        <a:pt x="250" y="651"/>
                        <a:pt x="250" y="651"/>
                        <a:pt x="250" y="217"/>
                      </a:cubicBezTo>
                      <a:cubicBezTo>
                        <a:pt x="250" y="104"/>
                        <a:pt x="350" y="0"/>
                        <a:pt x="480" y="0"/>
                      </a:cubicBezTo>
                      <a:cubicBezTo>
                        <a:pt x="610" y="0"/>
                        <a:pt x="710" y="104"/>
                        <a:pt x="710" y="217"/>
                      </a:cubicBezTo>
                      <a:cubicBezTo>
                        <a:pt x="710" y="217"/>
                        <a:pt x="710" y="217"/>
                        <a:pt x="710" y="293"/>
                      </a:cubicBezTo>
                      <a:cubicBezTo>
                        <a:pt x="710" y="293"/>
                        <a:pt x="710" y="293"/>
                        <a:pt x="790" y="293"/>
                      </a:cubicBezTo>
                      <a:cubicBezTo>
                        <a:pt x="790" y="293"/>
                        <a:pt x="790" y="293"/>
                        <a:pt x="790" y="378"/>
                      </a:cubicBezTo>
                      <a:cubicBezTo>
                        <a:pt x="790" y="378"/>
                        <a:pt x="790" y="378"/>
                        <a:pt x="710" y="378"/>
                      </a:cubicBezTo>
                      <a:cubicBezTo>
                        <a:pt x="710" y="378"/>
                        <a:pt x="710" y="378"/>
                        <a:pt x="710" y="491"/>
                      </a:cubicBezTo>
                      <a:cubicBezTo>
                        <a:pt x="710" y="491"/>
                        <a:pt x="710" y="491"/>
                        <a:pt x="790" y="491"/>
                      </a:cubicBezTo>
                      <a:cubicBezTo>
                        <a:pt x="790" y="491"/>
                        <a:pt x="790" y="491"/>
                        <a:pt x="790" y="566"/>
                      </a:cubicBezTo>
                      <a:cubicBezTo>
                        <a:pt x="790" y="566"/>
                        <a:pt x="790" y="566"/>
                        <a:pt x="710" y="566"/>
                      </a:cubicBezTo>
                      <a:cubicBezTo>
                        <a:pt x="710" y="566"/>
                        <a:pt x="710" y="566"/>
                        <a:pt x="710" y="651"/>
                      </a:cubicBezTo>
                      <a:close/>
                      <a:moveTo>
                        <a:pt x="480" y="1397"/>
                      </a:moveTo>
                      <a:cubicBezTo>
                        <a:pt x="680" y="1397"/>
                        <a:pt x="841" y="1246"/>
                        <a:pt x="841" y="1057"/>
                      </a:cubicBezTo>
                      <a:cubicBezTo>
                        <a:pt x="841" y="915"/>
                        <a:pt x="760" y="793"/>
                        <a:pt x="630" y="746"/>
                      </a:cubicBezTo>
                      <a:cubicBezTo>
                        <a:pt x="630" y="746"/>
                        <a:pt x="630" y="746"/>
                        <a:pt x="590" y="727"/>
                      </a:cubicBezTo>
                      <a:cubicBezTo>
                        <a:pt x="590" y="727"/>
                        <a:pt x="590" y="727"/>
                        <a:pt x="590" y="217"/>
                      </a:cubicBezTo>
                      <a:cubicBezTo>
                        <a:pt x="590" y="161"/>
                        <a:pt x="540" y="113"/>
                        <a:pt x="480" y="113"/>
                      </a:cubicBezTo>
                      <a:cubicBezTo>
                        <a:pt x="420" y="113"/>
                        <a:pt x="370" y="161"/>
                        <a:pt x="370" y="217"/>
                      </a:cubicBezTo>
                      <a:cubicBezTo>
                        <a:pt x="370" y="217"/>
                        <a:pt x="370" y="217"/>
                        <a:pt x="370" y="727"/>
                      </a:cubicBezTo>
                      <a:cubicBezTo>
                        <a:pt x="370" y="727"/>
                        <a:pt x="370" y="727"/>
                        <a:pt x="330" y="746"/>
                      </a:cubicBezTo>
                      <a:cubicBezTo>
                        <a:pt x="200" y="793"/>
                        <a:pt x="120" y="915"/>
                        <a:pt x="120" y="1057"/>
                      </a:cubicBezTo>
                      <a:cubicBezTo>
                        <a:pt x="120" y="1246"/>
                        <a:pt x="280" y="1397"/>
                        <a:pt x="480" y="139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grpSp>
        <p:nvGrpSpPr>
          <p:cNvPr id="670" name="Group 669"/>
          <p:cNvGrpSpPr/>
          <p:nvPr/>
        </p:nvGrpSpPr>
        <p:grpSpPr>
          <a:xfrm>
            <a:off x="-1725" y="3107073"/>
            <a:ext cx="12195300" cy="1005840"/>
            <a:chOff x="-1725" y="3107073"/>
            <a:chExt cx="12195300" cy="1005840"/>
          </a:xfrm>
        </p:grpSpPr>
        <p:sp>
          <p:nvSpPr>
            <p:cNvPr id="390" name="Rectangle 389"/>
            <p:cNvSpPr/>
            <p:nvPr/>
          </p:nvSpPr>
          <p:spPr bwMode="auto">
            <a:xfrm>
              <a:off x="-1725" y="3107073"/>
              <a:ext cx="12195300" cy="1005840"/>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64" name="Oval 63"/>
            <p:cNvSpPr/>
            <p:nvPr/>
          </p:nvSpPr>
          <p:spPr bwMode="auto">
            <a:xfrm>
              <a:off x="251683" y="3358569"/>
              <a:ext cx="502849" cy="502849"/>
            </a:xfrm>
            <a:prstGeom prst="ellipse">
              <a:avLst/>
            </a:prstGeom>
            <a:solidFill>
              <a:srgbClr val="F9F9F9"/>
            </a:solidFill>
            <a:ln w="19050" cap="flat" cmpd="sng" algn="ctr">
              <a:solidFill>
                <a:schemeClr val="tx2"/>
              </a:solid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r>
                <a:rPr lang="en-US" sz="1700" b="1" kern="0">
                  <a:solidFill>
                    <a:srgbClr val="002050"/>
                  </a:solidFill>
                  <a:cs typeface="Segoe UI Semibold" panose="020B0702040204020203" pitchFamily="34" charset="0"/>
                </a:rPr>
                <a:t>2</a:t>
              </a:r>
            </a:p>
          </p:txBody>
        </p:sp>
        <p:sp>
          <p:nvSpPr>
            <p:cNvPr id="61" name="TextBox 60"/>
            <p:cNvSpPr txBox="1"/>
            <p:nvPr/>
          </p:nvSpPr>
          <p:spPr>
            <a:xfrm>
              <a:off x="821095" y="3409938"/>
              <a:ext cx="992579" cy="400110"/>
            </a:xfrm>
            <a:prstGeom prst="rect">
              <a:avLst/>
            </a:prstGeom>
            <a:noFill/>
          </p:spPr>
          <p:txBody>
            <a:bodyPr wrap="none" rtlCol="0">
              <a:spAutoFit/>
            </a:bodyPr>
            <a:lstStyle>
              <a:defPPr>
                <a:defRPr lang="en-US"/>
              </a:defPPr>
              <a:lvl1pPr defTabSz="896386">
                <a:spcAft>
                  <a:spcPts val="600"/>
                </a:spcAft>
                <a:defRPr sz="2200" kern="0">
                  <a:solidFill>
                    <a:schemeClr val="accent4"/>
                  </a:solidFill>
                  <a:latin typeface="Segoe UI Semibold" panose="020B0702040204020203" pitchFamily="34" charset="0"/>
                  <a:cs typeface="Segoe UI Semibold" panose="020B0702040204020203" pitchFamily="34" charset="0"/>
                </a:defRPr>
              </a:lvl1pPr>
            </a:lstStyle>
            <a:p>
              <a:pPr defTabSz="896214">
                <a:defRPr/>
              </a:pPr>
              <a:r>
                <a:rPr lang="en-US" sz="2000">
                  <a:solidFill>
                    <a:srgbClr val="505050"/>
                  </a:solidFill>
                </a:rPr>
                <a:t>Shared</a:t>
              </a:r>
            </a:p>
          </p:txBody>
        </p:sp>
        <p:sp>
          <p:nvSpPr>
            <p:cNvPr id="66" name="TextBox 65"/>
            <p:cNvSpPr txBox="1"/>
            <p:nvPr/>
          </p:nvSpPr>
          <p:spPr>
            <a:xfrm>
              <a:off x="4535903" y="3286828"/>
              <a:ext cx="3706464" cy="646331"/>
            </a:xfrm>
            <a:prstGeom prst="rect">
              <a:avLst/>
            </a:prstGeom>
            <a:noFill/>
          </p:spPr>
          <p:txBody>
            <a:bodyPr wrap="none" rtlCol="0">
              <a:spAutoFit/>
            </a:bodyPr>
            <a:lstStyle/>
            <a:p>
              <a:pPr defTabSz="896214">
                <a:defRPr/>
              </a:pPr>
              <a:r>
                <a:rPr lang="en-US" b="1" kern="0">
                  <a:solidFill>
                    <a:srgbClr val="002050"/>
                  </a:solidFill>
                </a:rPr>
                <a:t>~32% </a:t>
              </a:r>
              <a:r>
                <a:rPr lang="en-US" kern="0">
                  <a:solidFill>
                    <a:sysClr val="windowText" lastClr="000000"/>
                  </a:solidFill>
                </a:rPr>
                <a:t>of miles driven on new cars </a:t>
              </a:r>
            </a:p>
            <a:p>
              <a:pPr defTabSz="896214">
                <a:defRPr/>
              </a:pPr>
              <a:r>
                <a:rPr lang="en-US" kern="0">
                  <a:solidFill>
                    <a:sysClr val="windowText" lastClr="000000"/>
                  </a:solidFill>
                </a:rPr>
                <a:t>will be in shared rides</a:t>
              </a:r>
            </a:p>
          </p:txBody>
        </p:sp>
        <p:sp>
          <p:nvSpPr>
            <p:cNvPr id="70" name="Rectangle 69"/>
            <p:cNvSpPr/>
            <p:nvPr/>
          </p:nvSpPr>
          <p:spPr>
            <a:xfrm>
              <a:off x="8919690" y="3317606"/>
              <a:ext cx="3272310" cy="584775"/>
            </a:xfrm>
            <a:prstGeom prst="rect">
              <a:avLst/>
            </a:prstGeom>
          </p:spPr>
          <p:txBody>
            <a:bodyPr wrap="square">
              <a:spAutoFit/>
            </a:bodyPr>
            <a:lstStyle/>
            <a:p>
              <a:pPr defTabSz="896214">
                <a:spcAft>
                  <a:spcPts val="600"/>
                </a:spcAft>
                <a:defRPr/>
              </a:pPr>
              <a:r>
                <a:rPr lang="en-US" sz="1600" b="1" kern="0">
                  <a:solidFill>
                    <a:srgbClr val="002050"/>
                  </a:solidFill>
                </a:rPr>
                <a:t>Invest in </a:t>
              </a:r>
              <a:r>
                <a:rPr lang="en-US" sz="1600" b="1" u="sng" kern="0">
                  <a:solidFill>
                    <a:srgbClr val="002050"/>
                  </a:solidFill>
                </a:rPr>
                <a:t>vehicle sharing</a:t>
              </a:r>
              <a:r>
                <a:rPr lang="en-US" sz="1600" b="1" kern="0">
                  <a:solidFill>
                    <a:srgbClr val="002050"/>
                  </a:solidFill>
                </a:rPr>
                <a:t> and </a:t>
              </a:r>
              <a:r>
                <a:rPr lang="en-US" sz="1600" b="1" u="sng" kern="0">
                  <a:solidFill>
                    <a:srgbClr val="002050"/>
                  </a:solidFill>
                </a:rPr>
                <a:t>fleet management</a:t>
              </a:r>
              <a:r>
                <a:rPr lang="en-US" sz="1600" b="1" kern="0">
                  <a:solidFill>
                    <a:srgbClr val="002050"/>
                  </a:solidFill>
                </a:rPr>
                <a:t> services</a:t>
              </a:r>
              <a:endParaRPr lang="en-US" sz="1600" kern="0">
                <a:solidFill>
                  <a:srgbClr val="002050"/>
                </a:solidFill>
              </a:endParaRPr>
            </a:p>
          </p:txBody>
        </p:sp>
        <p:sp>
          <p:nvSpPr>
            <p:cNvPr id="53" name="Pentagon 20"/>
            <p:cNvSpPr/>
            <p:nvPr/>
          </p:nvSpPr>
          <p:spPr bwMode="auto">
            <a:xfrm>
              <a:off x="3973307" y="3107073"/>
              <a:ext cx="365760" cy="1005840"/>
            </a:xfrm>
            <a:prstGeom prst="chevron">
              <a:avLst/>
            </a:prstGeom>
            <a:solidFill>
              <a:schemeClr val="bg1"/>
            </a:solidFill>
            <a:ln w="317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defRPr/>
              </a:pPr>
              <a:endParaRPr lang="en-US" sz="1400" kern="0" err="1">
                <a:solidFill>
                  <a:srgbClr val="505050"/>
                </a:solidFill>
              </a:endParaRPr>
            </a:p>
          </p:txBody>
        </p:sp>
        <p:sp>
          <p:nvSpPr>
            <p:cNvPr id="420" name="Pentagon 20"/>
            <p:cNvSpPr/>
            <p:nvPr/>
          </p:nvSpPr>
          <p:spPr bwMode="auto">
            <a:xfrm>
              <a:off x="8450548" y="3107073"/>
              <a:ext cx="365760" cy="1005840"/>
            </a:xfrm>
            <a:prstGeom prst="chevron">
              <a:avLst/>
            </a:prstGeom>
            <a:solidFill>
              <a:schemeClr val="bg1"/>
            </a:solidFill>
            <a:ln w="317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defRPr/>
              </a:pPr>
              <a:endParaRPr lang="en-US" sz="1400" kern="0" err="1">
                <a:solidFill>
                  <a:srgbClr val="505050"/>
                </a:solidFill>
              </a:endParaRPr>
            </a:p>
          </p:txBody>
        </p:sp>
        <p:grpSp>
          <p:nvGrpSpPr>
            <p:cNvPr id="668" name="Group 667"/>
            <p:cNvGrpSpPr/>
            <p:nvPr/>
          </p:nvGrpSpPr>
          <p:grpSpPr>
            <a:xfrm>
              <a:off x="2982193" y="3174963"/>
              <a:ext cx="540583" cy="838275"/>
              <a:chOff x="2950489" y="3174963"/>
              <a:chExt cx="540583" cy="838275"/>
            </a:xfrm>
          </p:grpSpPr>
          <p:grpSp>
            <p:nvGrpSpPr>
              <p:cNvPr id="649" name="Group 648"/>
              <p:cNvGrpSpPr>
                <a:grpSpLocks noChangeAspect="1"/>
              </p:cNvGrpSpPr>
              <p:nvPr/>
            </p:nvGrpSpPr>
            <p:grpSpPr>
              <a:xfrm>
                <a:off x="2950489" y="3174963"/>
                <a:ext cx="540583" cy="838275"/>
                <a:chOff x="6446738" y="4659402"/>
                <a:chExt cx="1004711" cy="1557995"/>
              </a:xfrm>
            </p:grpSpPr>
            <p:sp>
              <p:nvSpPr>
                <p:cNvPr id="650" name="Rounded Rectangle 110"/>
                <p:cNvSpPr/>
                <p:nvPr/>
              </p:nvSpPr>
              <p:spPr>
                <a:xfrm>
                  <a:off x="6446738" y="4659402"/>
                  <a:ext cx="1004711" cy="1557995"/>
                </a:xfrm>
                <a:prstGeom prst="roundRect">
                  <a:avLst>
                    <a:gd name="adj" fmla="val 6467"/>
                  </a:avLst>
                </a:prstGeom>
                <a:solidFill>
                  <a:srgbClr val="3D3D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2010"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651" name="Rectangle 650"/>
                <p:cNvSpPr/>
                <p:nvPr/>
              </p:nvSpPr>
              <p:spPr>
                <a:xfrm>
                  <a:off x="6513795" y="4845482"/>
                  <a:ext cx="870596" cy="11673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2010"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652" name="Rounded Rectangle 112"/>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653" name="Oval 652"/>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654" name="Group 653"/>
              <p:cNvGrpSpPr>
                <a:grpSpLocks noChangeAspect="1"/>
              </p:cNvGrpSpPr>
              <p:nvPr/>
            </p:nvGrpSpPr>
            <p:grpSpPr>
              <a:xfrm>
                <a:off x="3002705" y="3575191"/>
                <a:ext cx="436151" cy="229940"/>
                <a:chOff x="-7667934" y="-4472597"/>
                <a:chExt cx="9727651" cy="5128442"/>
              </a:xfrm>
            </p:grpSpPr>
            <p:sp>
              <p:nvSpPr>
                <p:cNvPr id="656" name="Circle: Hollow 655"/>
                <p:cNvSpPr/>
                <p:nvPr/>
              </p:nvSpPr>
              <p:spPr>
                <a:xfrm>
                  <a:off x="-6501554" y="-1418972"/>
                  <a:ext cx="2074817" cy="2074817"/>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57" name="Circle: Hollow 656"/>
                <p:cNvSpPr/>
                <p:nvPr/>
              </p:nvSpPr>
              <p:spPr>
                <a:xfrm>
                  <a:off x="-1422429" y="-1418972"/>
                  <a:ext cx="2074817" cy="2074817"/>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58" name="Freeform: Shape 657"/>
                <p:cNvSpPr/>
                <p:nvPr/>
              </p:nvSpPr>
              <p:spPr>
                <a:xfrm>
                  <a:off x="-7667934" y="-4472597"/>
                  <a:ext cx="9727651" cy="4327188"/>
                </a:xfrm>
                <a:custGeom>
                  <a:avLst/>
                  <a:gdLst>
                    <a:gd name="connsiteX0" fmla="*/ 5189008 w 9727651"/>
                    <a:gd name="connsiteY0" fmla="*/ 392622 h 4327188"/>
                    <a:gd name="connsiteX1" fmla="*/ 4875190 w 9727651"/>
                    <a:gd name="connsiteY1" fmla="*/ 393831 h 4327188"/>
                    <a:gd name="connsiteX2" fmla="*/ 4863825 w 9727651"/>
                    <a:gd name="connsiteY2" fmla="*/ 393904 h 4327188"/>
                    <a:gd name="connsiteX3" fmla="*/ 4863825 w 9727651"/>
                    <a:gd name="connsiteY3" fmla="*/ 1750130 h 4327188"/>
                    <a:gd name="connsiteX4" fmla="*/ 7379074 w 9727651"/>
                    <a:gd name="connsiteY4" fmla="*/ 1750130 h 4327188"/>
                    <a:gd name="connsiteX5" fmla="*/ 7287244 w 9727651"/>
                    <a:gd name="connsiteY5" fmla="*/ 1615982 h 4327188"/>
                    <a:gd name="connsiteX6" fmla="*/ 5189008 w 9727651"/>
                    <a:gd name="connsiteY6" fmla="*/ 392622 h 4327188"/>
                    <a:gd name="connsiteX7" fmla="*/ 4315134 w 9727651"/>
                    <a:gd name="connsiteY7" fmla="*/ 389302 h 4327188"/>
                    <a:gd name="connsiteX8" fmla="*/ 4145447 w 9727651"/>
                    <a:gd name="connsiteY8" fmla="*/ 394084 h 4327188"/>
                    <a:gd name="connsiteX9" fmla="*/ 1926233 w 9727651"/>
                    <a:gd name="connsiteY9" fmla="*/ 1643041 h 4327188"/>
                    <a:gd name="connsiteX10" fmla="*/ 1888384 w 9727651"/>
                    <a:gd name="connsiteY10" fmla="*/ 1750130 h 4327188"/>
                    <a:gd name="connsiteX11" fmla="*/ 4315134 w 9727651"/>
                    <a:gd name="connsiteY11" fmla="*/ 1750130 h 4327188"/>
                    <a:gd name="connsiteX12" fmla="*/ 4356692 w 9727651"/>
                    <a:gd name="connsiteY12" fmla="*/ 1232 h 4327188"/>
                    <a:gd name="connsiteX13" fmla="*/ 4586069 w 9727651"/>
                    <a:gd name="connsiteY13" fmla="*/ 2199 h 4327188"/>
                    <a:gd name="connsiteX14" fmla="*/ 7969553 w 9727651"/>
                    <a:gd name="connsiteY14" fmla="*/ 1735030 h 4327188"/>
                    <a:gd name="connsiteX15" fmla="*/ 7979239 w 9727651"/>
                    <a:gd name="connsiteY15" fmla="*/ 1750130 h 4327188"/>
                    <a:gd name="connsiteX16" fmla="*/ 8710048 w 9727651"/>
                    <a:gd name="connsiteY16" fmla="*/ 1750130 h 4327188"/>
                    <a:gd name="connsiteX17" fmla="*/ 9727651 w 9727651"/>
                    <a:gd name="connsiteY17" fmla="*/ 2767733 h 4327188"/>
                    <a:gd name="connsiteX18" fmla="*/ 9727651 w 9727651"/>
                    <a:gd name="connsiteY18" fmla="*/ 3309585 h 4327188"/>
                    <a:gd name="connsiteX19" fmla="*/ 8710048 w 9727651"/>
                    <a:gd name="connsiteY19" fmla="*/ 4327188 h 4327188"/>
                    <a:gd name="connsiteX20" fmla="*/ 8438949 w 9727651"/>
                    <a:gd name="connsiteY20" fmla="*/ 4327188 h 4327188"/>
                    <a:gd name="connsiteX21" fmla="*/ 8439613 w 9727651"/>
                    <a:gd name="connsiteY21" fmla="*/ 4325048 h 4327188"/>
                    <a:gd name="connsiteX22" fmla="*/ 8463273 w 9727651"/>
                    <a:gd name="connsiteY22" fmla="*/ 4090344 h 4327188"/>
                    <a:gd name="connsiteX23" fmla="*/ 7298691 w 9727651"/>
                    <a:gd name="connsiteY23" fmla="*/ 2925762 h 4327188"/>
                    <a:gd name="connsiteX24" fmla="*/ 6134109 w 9727651"/>
                    <a:gd name="connsiteY24" fmla="*/ 4090344 h 4327188"/>
                    <a:gd name="connsiteX25" fmla="*/ 6157769 w 9727651"/>
                    <a:gd name="connsiteY25" fmla="*/ 4325048 h 4327188"/>
                    <a:gd name="connsiteX26" fmla="*/ 6158433 w 9727651"/>
                    <a:gd name="connsiteY26" fmla="*/ 4327188 h 4327188"/>
                    <a:gd name="connsiteX27" fmla="*/ 3359824 w 9727651"/>
                    <a:gd name="connsiteY27" fmla="*/ 4327188 h 4327188"/>
                    <a:gd name="connsiteX28" fmla="*/ 3360488 w 9727651"/>
                    <a:gd name="connsiteY28" fmla="*/ 4325048 h 4327188"/>
                    <a:gd name="connsiteX29" fmla="*/ 3384148 w 9727651"/>
                    <a:gd name="connsiteY29" fmla="*/ 4090344 h 4327188"/>
                    <a:gd name="connsiteX30" fmla="*/ 2219566 w 9727651"/>
                    <a:gd name="connsiteY30" fmla="*/ 2925762 h 4327188"/>
                    <a:gd name="connsiteX31" fmla="*/ 1054984 w 9727651"/>
                    <a:gd name="connsiteY31" fmla="*/ 4090344 h 4327188"/>
                    <a:gd name="connsiteX32" fmla="*/ 1078645 w 9727651"/>
                    <a:gd name="connsiteY32" fmla="*/ 4325048 h 4327188"/>
                    <a:gd name="connsiteX33" fmla="*/ 1079309 w 9727651"/>
                    <a:gd name="connsiteY33" fmla="*/ 4327188 h 4327188"/>
                    <a:gd name="connsiteX34" fmla="*/ 1017603 w 9727651"/>
                    <a:gd name="connsiteY34" fmla="*/ 4327188 h 4327188"/>
                    <a:gd name="connsiteX35" fmla="*/ 0 w 9727651"/>
                    <a:gd name="connsiteY35" fmla="*/ 3309585 h 4327188"/>
                    <a:gd name="connsiteX36" fmla="*/ 0 w 9727651"/>
                    <a:gd name="connsiteY36" fmla="*/ 2767733 h 4327188"/>
                    <a:gd name="connsiteX37" fmla="*/ 1017603 w 9727651"/>
                    <a:gd name="connsiteY37" fmla="*/ 1750130 h 4327188"/>
                    <a:gd name="connsiteX38" fmla="*/ 1209415 w 9727651"/>
                    <a:gd name="connsiteY38" fmla="*/ 1750130 h 4327188"/>
                    <a:gd name="connsiteX39" fmla="*/ 1232083 w 9727651"/>
                    <a:gd name="connsiteY39" fmla="*/ 1654215 h 4327188"/>
                    <a:gd name="connsiteX40" fmla="*/ 4356692 w 9727651"/>
                    <a:gd name="connsiteY40" fmla="*/ 1232 h 432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727651" h="4327188">
                      <a:moveTo>
                        <a:pt x="5189008" y="392622"/>
                      </a:moveTo>
                      <a:cubicBezTo>
                        <a:pt x="5083963" y="391073"/>
                        <a:pt x="4979447" y="392612"/>
                        <a:pt x="4875190" y="393831"/>
                      </a:cubicBezTo>
                      <a:lnTo>
                        <a:pt x="4863825" y="393904"/>
                      </a:lnTo>
                      <a:lnTo>
                        <a:pt x="4863825" y="1750130"/>
                      </a:lnTo>
                      <a:lnTo>
                        <a:pt x="7379074" y="1750130"/>
                      </a:lnTo>
                      <a:lnTo>
                        <a:pt x="7287244" y="1615982"/>
                      </a:lnTo>
                      <a:cubicBezTo>
                        <a:pt x="6522774" y="532642"/>
                        <a:pt x="5845540" y="402304"/>
                        <a:pt x="5189008" y="392622"/>
                      </a:cubicBezTo>
                      <a:close/>
                      <a:moveTo>
                        <a:pt x="4315134" y="389302"/>
                      </a:moveTo>
                      <a:lnTo>
                        <a:pt x="4145447" y="394084"/>
                      </a:lnTo>
                      <a:cubicBezTo>
                        <a:pt x="3300271" y="436964"/>
                        <a:pt x="2301149" y="743298"/>
                        <a:pt x="1926233" y="1643041"/>
                      </a:cubicBezTo>
                      <a:lnTo>
                        <a:pt x="1888384" y="1750130"/>
                      </a:lnTo>
                      <a:lnTo>
                        <a:pt x="4315134" y="1750130"/>
                      </a:lnTo>
                      <a:close/>
                      <a:moveTo>
                        <a:pt x="4356692" y="1232"/>
                      </a:moveTo>
                      <a:cubicBezTo>
                        <a:pt x="4436017" y="-699"/>
                        <a:pt x="4512692" y="-350"/>
                        <a:pt x="4586069" y="2199"/>
                      </a:cubicBezTo>
                      <a:cubicBezTo>
                        <a:pt x="5686736" y="40431"/>
                        <a:pt x="6730848" y="-137261"/>
                        <a:pt x="7969553" y="1735030"/>
                      </a:cubicBezTo>
                      <a:lnTo>
                        <a:pt x="7979239" y="1750130"/>
                      </a:lnTo>
                      <a:lnTo>
                        <a:pt x="8710048" y="1750130"/>
                      </a:lnTo>
                      <a:cubicBezTo>
                        <a:pt x="9272055" y="1750130"/>
                        <a:pt x="9727651" y="2205726"/>
                        <a:pt x="9727651" y="2767733"/>
                      </a:cubicBezTo>
                      <a:lnTo>
                        <a:pt x="9727651" y="3309585"/>
                      </a:lnTo>
                      <a:cubicBezTo>
                        <a:pt x="9727651" y="3871592"/>
                        <a:pt x="9272055" y="4327188"/>
                        <a:pt x="8710048" y="4327188"/>
                      </a:cubicBezTo>
                      <a:lnTo>
                        <a:pt x="8438949" y="4327188"/>
                      </a:lnTo>
                      <a:lnTo>
                        <a:pt x="8439613" y="4325048"/>
                      </a:lnTo>
                      <a:cubicBezTo>
                        <a:pt x="8455126" y="4249236"/>
                        <a:pt x="8463273" y="4170742"/>
                        <a:pt x="8463273" y="4090344"/>
                      </a:cubicBezTo>
                      <a:cubicBezTo>
                        <a:pt x="8463273" y="3447163"/>
                        <a:pt x="7941872" y="2925762"/>
                        <a:pt x="7298691" y="2925762"/>
                      </a:cubicBezTo>
                      <a:cubicBezTo>
                        <a:pt x="6655510" y="2925762"/>
                        <a:pt x="6134109" y="3447163"/>
                        <a:pt x="6134109" y="4090344"/>
                      </a:cubicBezTo>
                      <a:cubicBezTo>
                        <a:pt x="6134109" y="4170742"/>
                        <a:pt x="6142256" y="4249236"/>
                        <a:pt x="6157769" y="4325048"/>
                      </a:cubicBezTo>
                      <a:lnTo>
                        <a:pt x="6158433" y="4327188"/>
                      </a:lnTo>
                      <a:lnTo>
                        <a:pt x="3359824" y="4327188"/>
                      </a:lnTo>
                      <a:lnTo>
                        <a:pt x="3360488" y="4325048"/>
                      </a:lnTo>
                      <a:cubicBezTo>
                        <a:pt x="3376001" y="4249236"/>
                        <a:pt x="3384148" y="4170742"/>
                        <a:pt x="3384148" y="4090344"/>
                      </a:cubicBezTo>
                      <a:cubicBezTo>
                        <a:pt x="3384148" y="3447163"/>
                        <a:pt x="2862747" y="2925762"/>
                        <a:pt x="2219566" y="2925762"/>
                      </a:cubicBezTo>
                      <a:cubicBezTo>
                        <a:pt x="1576385" y="2925762"/>
                        <a:pt x="1054984" y="3447163"/>
                        <a:pt x="1054984" y="4090344"/>
                      </a:cubicBezTo>
                      <a:cubicBezTo>
                        <a:pt x="1054984" y="4170742"/>
                        <a:pt x="1063131" y="4249236"/>
                        <a:pt x="1078645" y="4325048"/>
                      </a:cubicBezTo>
                      <a:lnTo>
                        <a:pt x="1079309" y="4327188"/>
                      </a:lnTo>
                      <a:lnTo>
                        <a:pt x="1017603" y="4327188"/>
                      </a:lnTo>
                      <a:cubicBezTo>
                        <a:pt x="455596" y="4327188"/>
                        <a:pt x="0" y="3871592"/>
                        <a:pt x="0" y="3309585"/>
                      </a:cubicBezTo>
                      <a:lnTo>
                        <a:pt x="0" y="2767733"/>
                      </a:lnTo>
                      <a:cubicBezTo>
                        <a:pt x="0" y="2205726"/>
                        <a:pt x="455596" y="1750130"/>
                        <a:pt x="1017603" y="1750130"/>
                      </a:cubicBezTo>
                      <a:lnTo>
                        <a:pt x="1209415" y="1750130"/>
                      </a:lnTo>
                      <a:lnTo>
                        <a:pt x="1232083" y="1654215"/>
                      </a:lnTo>
                      <a:cubicBezTo>
                        <a:pt x="1601377" y="506259"/>
                        <a:pt x="3241176" y="28383"/>
                        <a:pt x="4356692" y="123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660" name="Teardrop 659"/>
              <p:cNvSpPr>
                <a:spLocks noChangeAspect="1"/>
              </p:cNvSpPr>
              <p:nvPr/>
            </p:nvSpPr>
            <p:spPr bwMode="auto">
              <a:xfrm rot="8100000">
                <a:off x="3153153" y="3322791"/>
                <a:ext cx="135330" cy="137160"/>
              </a:xfrm>
              <a:prstGeom prst="teardrop">
                <a:avLst>
                  <a:gd name="adj" fmla="val 158882"/>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661" name="Teardrop 660"/>
              <p:cNvSpPr>
                <a:spLocks noChangeAspect="1"/>
              </p:cNvSpPr>
              <p:nvPr/>
            </p:nvSpPr>
            <p:spPr bwMode="auto">
              <a:xfrm rot="8100000">
                <a:off x="3018119" y="3469431"/>
                <a:ext cx="45110" cy="45720"/>
              </a:xfrm>
              <a:prstGeom prst="teardrop">
                <a:avLst>
                  <a:gd name="adj" fmla="val 158882"/>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662" name="Teardrop 661"/>
              <p:cNvSpPr>
                <a:spLocks noChangeAspect="1"/>
              </p:cNvSpPr>
              <p:nvPr/>
            </p:nvSpPr>
            <p:spPr bwMode="auto">
              <a:xfrm rot="8100000">
                <a:off x="3087078" y="3469430"/>
                <a:ext cx="45110" cy="45720"/>
              </a:xfrm>
              <a:prstGeom prst="teardrop">
                <a:avLst>
                  <a:gd name="adj" fmla="val 158882"/>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grpSp>
      </p:grpSp>
      <p:grpSp>
        <p:nvGrpSpPr>
          <p:cNvPr id="669" name="Group 668"/>
          <p:cNvGrpSpPr/>
          <p:nvPr/>
        </p:nvGrpSpPr>
        <p:grpSpPr>
          <a:xfrm>
            <a:off x="-1725" y="1903514"/>
            <a:ext cx="12195300" cy="1005840"/>
            <a:chOff x="-1725" y="1903514"/>
            <a:chExt cx="12195300" cy="1005840"/>
          </a:xfrm>
        </p:grpSpPr>
        <p:sp>
          <p:nvSpPr>
            <p:cNvPr id="4" name="Rectangle 3"/>
            <p:cNvSpPr/>
            <p:nvPr/>
          </p:nvSpPr>
          <p:spPr bwMode="auto">
            <a:xfrm>
              <a:off x="-1725" y="1903514"/>
              <a:ext cx="12195300" cy="1005840"/>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62" name="Oval 61"/>
            <p:cNvSpPr/>
            <p:nvPr/>
          </p:nvSpPr>
          <p:spPr bwMode="auto">
            <a:xfrm>
              <a:off x="251682" y="2155010"/>
              <a:ext cx="502849" cy="502849"/>
            </a:xfrm>
            <a:prstGeom prst="ellipse">
              <a:avLst/>
            </a:prstGeom>
            <a:solidFill>
              <a:srgbClr val="F9F9F9"/>
            </a:solidFill>
            <a:ln w="19050" cap="flat" cmpd="sng" algn="ctr">
              <a:solidFill>
                <a:schemeClr val="tx2"/>
              </a:solid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r>
                <a:rPr lang="en-US" sz="1700" b="1" kern="0">
                  <a:solidFill>
                    <a:srgbClr val="002050"/>
                  </a:solidFill>
                  <a:cs typeface="Segoe UI Semibold" panose="020B0702040204020203" pitchFamily="34" charset="0"/>
                </a:rPr>
                <a:t>1</a:t>
              </a:r>
            </a:p>
          </p:txBody>
        </p:sp>
        <p:sp>
          <p:nvSpPr>
            <p:cNvPr id="59" name="TextBox 58"/>
            <p:cNvSpPr txBox="1"/>
            <p:nvPr/>
          </p:nvSpPr>
          <p:spPr>
            <a:xfrm>
              <a:off x="821095" y="2206379"/>
              <a:ext cx="1435008" cy="400110"/>
            </a:xfrm>
            <a:prstGeom prst="rect">
              <a:avLst/>
            </a:prstGeom>
            <a:noFill/>
          </p:spPr>
          <p:txBody>
            <a:bodyPr wrap="none" rtlCol="0">
              <a:spAutoFit/>
            </a:bodyPr>
            <a:lstStyle>
              <a:defPPr>
                <a:defRPr lang="en-US"/>
              </a:defPPr>
              <a:lvl1pPr defTabSz="896386">
                <a:spcAft>
                  <a:spcPts val="600"/>
                </a:spcAft>
                <a:defRPr sz="2200" kern="0">
                  <a:solidFill>
                    <a:schemeClr val="accent4"/>
                  </a:solidFill>
                  <a:latin typeface="Segoe UI Semibold" panose="020B0702040204020203" pitchFamily="34" charset="0"/>
                  <a:cs typeface="Segoe UI Semibold" panose="020B0702040204020203" pitchFamily="34" charset="0"/>
                </a:defRPr>
              </a:lvl1pPr>
            </a:lstStyle>
            <a:p>
              <a:pPr defTabSz="896214">
                <a:defRPr/>
              </a:pPr>
              <a:r>
                <a:rPr lang="en-US" sz="2000">
                  <a:solidFill>
                    <a:srgbClr val="505050"/>
                  </a:solidFill>
                </a:rPr>
                <a:t>Connected</a:t>
              </a:r>
            </a:p>
          </p:txBody>
        </p:sp>
        <p:sp>
          <p:nvSpPr>
            <p:cNvPr id="65" name="TextBox 64"/>
            <p:cNvSpPr txBox="1"/>
            <p:nvPr/>
          </p:nvSpPr>
          <p:spPr>
            <a:xfrm>
              <a:off x="4535903" y="2083269"/>
              <a:ext cx="3852337" cy="646331"/>
            </a:xfrm>
            <a:prstGeom prst="rect">
              <a:avLst/>
            </a:prstGeom>
            <a:noFill/>
          </p:spPr>
          <p:txBody>
            <a:bodyPr wrap="none" rtlCol="0">
              <a:spAutoFit/>
            </a:bodyPr>
            <a:lstStyle/>
            <a:p>
              <a:pPr defTabSz="896214">
                <a:defRPr/>
              </a:pPr>
              <a:r>
                <a:rPr lang="en-US" b="1" kern="0">
                  <a:solidFill>
                    <a:srgbClr val="002050"/>
                  </a:solidFill>
                </a:rPr>
                <a:t>~100% </a:t>
              </a:r>
              <a:r>
                <a:rPr lang="en-US" kern="0">
                  <a:solidFill>
                    <a:sysClr val="windowText" lastClr="000000"/>
                  </a:solidFill>
                </a:rPr>
                <a:t>of new cars projected to be </a:t>
              </a:r>
            </a:p>
            <a:p>
              <a:pPr defTabSz="896214">
                <a:defRPr/>
              </a:pPr>
              <a:r>
                <a:rPr lang="en-US" kern="0">
                  <a:solidFill>
                    <a:sysClr val="windowText" lastClr="000000"/>
                  </a:solidFill>
                </a:rPr>
                <a:t>connected, up from ~25% today</a:t>
              </a:r>
            </a:p>
          </p:txBody>
        </p:sp>
        <p:sp>
          <p:nvSpPr>
            <p:cNvPr id="68" name="TextBox 67"/>
            <p:cNvSpPr txBox="1"/>
            <p:nvPr/>
          </p:nvSpPr>
          <p:spPr>
            <a:xfrm>
              <a:off x="8919690" y="2114047"/>
              <a:ext cx="2742811" cy="584775"/>
            </a:xfrm>
            <a:prstGeom prst="rect">
              <a:avLst/>
            </a:prstGeom>
            <a:noFill/>
          </p:spPr>
          <p:txBody>
            <a:bodyPr wrap="square" rtlCol="0">
              <a:spAutoFit/>
            </a:bodyPr>
            <a:lstStyle/>
            <a:p>
              <a:pPr defTabSz="914225">
                <a:defRPr/>
              </a:pPr>
              <a:r>
                <a:rPr lang="en-US" sz="1600" b="1" kern="0">
                  <a:solidFill>
                    <a:srgbClr val="002050"/>
                  </a:solidFill>
                </a:rPr>
                <a:t>Transform into </a:t>
              </a:r>
              <a:r>
                <a:rPr lang="en-US" sz="1600" b="1" u="sng" kern="0">
                  <a:solidFill>
                    <a:srgbClr val="002050"/>
                  </a:solidFill>
                </a:rPr>
                <a:t>mobility service providers</a:t>
              </a:r>
              <a:endParaRPr lang="en-US" sz="1600" kern="0">
                <a:solidFill>
                  <a:srgbClr val="002050"/>
                </a:solidFill>
              </a:endParaRPr>
            </a:p>
          </p:txBody>
        </p:sp>
        <p:sp>
          <p:nvSpPr>
            <p:cNvPr id="55" name="Pentagon 22"/>
            <p:cNvSpPr/>
            <p:nvPr/>
          </p:nvSpPr>
          <p:spPr bwMode="auto">
            <a:xfrm>
              <a:off x="3973306" y="1903514"/>
              <a:ext cx="365760" cy="1005840"/>
            </a:xfrm>
            <a:prstGeom prst="chevron">
              <a:avLst/>
            </a:prstGeom>
            <a:solidFill>
              <a:schemeClr val="bg1"/>
            </a:solidFill>
            <a:ln w="317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defRPr/>
              </a:pPr>
              <a:endParaRPr lang="en-US" sz="1400" kern="0" err="1">
                <a:solidFill>
                  <a:srgbClr val="505050"/>
                </a:solidFill>
              </a:endParaRPr>
            </a:p>
          </p:txBody>
        </p:sp>
        <p:sp>
          <p:nvSpPr>
            <p:cNvPr id="422" name="Pentagon 22"/>
            <p:cNvSpPr/>
            <p:nvPr/>
          </p:nvSpPr>
          <p:spPr bwMode="auto">
            <a:xfrm>
              <a:off x="8450547" y="1903514"/>
              <a:ext cx="365760" cy="1005840"/>
            </a:xfrm>
            <a:prstGeom prst="chevron">
              <a:avLst/>
            </a:prstGeom>
            <a:solidFill>
              <a:schemeClr val="bg1"/>
            </a:solidFill>
            <a:ln w="317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defRPr/>
              </a:pPr>
              <a:endParaRPr lang="en-US" sz="1400" kern="0" err="1">
                <a:solidFill>
                  <a:srgbClr val="505050"/>
                </a:solidFill>
              </a:endParaRPr>
            </a:p>
          </p:txBody>
        </p:sp>
        <p:grpSp>
          <p:nvGrpSpPr>
            <p:cNvPr id="667" name="Group 666"/>
            <p:cNvGrpSpPr/>
            <p:nvPr/>
          </p:nvGrpSpPr>
          <p:grpSpPr>
            <a:xfrm>
              <a:off x="2895074" y="1951829"/>
              <a:ext cx="714820" cy="897305"/>
              <a:chOff x="2900270" y="1951829"/>
              <a:chExt cx="714820" cy="897305"/>
            </a:xfrm>
          </p:grpSpPr>
          <p:sp>
            <p:nvSpPr>
              <p:cNvPr id="409" name="Freeform: Shape 408"/>
              <p:cNvSpPr>
                <a:spLocks noChangeAspect="1"/>
              </p:cNvSpPr>
              <p:nvPr/>
            </p:nvSpPr>
            <p:spPr>
              <a:xfrm>
                <a:off x="3115266" y="2264015"/>
                <a:ext cx="284829" cy="172301"/>
              </a:xfrm>
              <a:custGeom>
                <a:avLst/>
                <a:gdLst>
                  <a:gd name="connsiteX0" fmla="*/ 2320655 w 4641308"/>
                  <a:gd name="connsiteY0" fmla="*/ 2131841 h 2807661"/>
                  <a:gd name="connsiteX1" fmla="*/ 2658565 w 4641308"/>
                  <a:gd name="connsiteY1" fmla="*/ 2469751 h 2807661"/>
                  <a:gd name="connsiteX2" fmla="*/ 2320655 w 4641308"/>
                  <a:gd name="connsiteY2" fmla="*/ 2807661 h 2807661"/>
                  <a:gd name="connsiteX3" fmla="*/ 1982745 w 4641308"/>
                  <a:gd name="connsiteY3" fmla="*/ 2469751 h 2807661"/>
                  <a:gd name="connsiteX4" fmla="*/ 2320655 w 4641308"/>
                  <a:gd name="connsiteY4" fmla="*/ 2131841 h 2807661"/>
                  <a:gd name="connsiteX5" fmla="*/ 2302761 w 4641308"/>
                  <a:gd name="connsiteY5" fmla="*/ 1551728 h 2807661"/>
                  <a:gd name="connsiteX6" fmla="*/ 3231787 w 4641308"/>
                  <a:gd name="connsiteY6" fmla="*/ 1937010 h 2807661"/>
                  <a:gd name="connsiteX7" fmla="*/ 3107502 w 4641308"/>
                  <a:gd name="connsiteY7" fmla="*/ 2042652 h 2807661"/>
                  <a:gd name="connsiteX8" fmla="*/ 2312082 w 4641308"/>
                  <a:gd name="connsiteY8" fmla="*/ 1716405 h 2807661"/>
                  <a:gd name="connsiteX9" fmla="*/ 1525983 w 4641308"/>
                  <a:gd name="connsiteY9" fmla="*/ 2042652 h 2807661"/>
                  <a:gd name="connsiteX10" fmla="*/ 1407913 w 4641308"/>
                  <a:gd name="connsiteY10" fmla="*/ 1937010 h 2807661"/>
                  <a:gd name="connsiteX11" fmla="*/ 2302761 w 4641308"/>
                  <a:gd name="connsiteY11" fmla="*/ 1551728 h 2807661"/>
                  <a:gd name="connsiteX12" fmla="*/ 2291336 w 4641308"/>
                  <a:gd name="connsiteY12" fmla="*/ 826091 h 2807661"/>
                  <a:gd name="connsiteX13" fmla="*/ 3813487 w 4641308"/>
                  <a:gd name="connsiteY13" fmla="*/ 1457351 h 2807661"/>
                  <a:gd name="connsiteX14" fmla="*/ 3609855 w 4641308"/>
                  <a:gd name="connsiteY14" fmla="*/ 1630438 h 2807661"/>
                  <a:gd name="connsiteX15" fmla="*/ 2306608 w 4641308"/>
                  <a:gd name="connsiteY15" fmla="*/ 1095904 h 2807661"/>
                  <a:gd name="connsiteX16" fmla="*/ 1018634 w 4641308"/>
                  <a:gd name="connsiteY16" fmla="*/ 1630438 h 2807661"/>
                  <a:gd name="connsiteX17" fmla="*/ 825184 w 4641308"/>
                  <a:gd name="connsiteY17" fmla="*/ 1457351 h 2807661"/>
                  <a:gd name="connsiteX18" fmla="*/ 2291336 w 4641308"/>
                  <a:gd name="connsiteY18" fmla="*/ 826091 h 2807661"/>
                  <a:gd name="connsiteX19" fmla="*/ 2276027 w 4641308"/>
                  <a:gd name="connsiteY19" fmla="*/ 881 h 2807661"/>
                  <a:gd name="connsiteX20" fmla="*/ 4593023 w 4641308"/>
                  <a:gd name="connsiteY20" fmla="*/ 961776 h 2807661"/>
                  <a:gd name="connsiteX21" fmla="*/ 4283057 w 4641308"/>
                  <a:gd name="connsiteY21" fmla="*/ 1225247 h 2807661"/>
                  <a:gd name="connsiteX22" fmla="*/ 2299274 w 4641308"/>
                  <a:gd name="connsiteY22" fmla="*/ 411586 h 2807661"/>
                  <a:gd name="connsiteX23" fmla="*/ 338738 w 4641308"/>
                  <a:gd name="connsiteY23" fmla="*/ 1225247 h 2807661"/>
                  <a:gd name="connsiteX24" fmla="*/ 44271 w 4641308"/>
                  <a:gd name="connsiteY24" fmla="*/ 961776 h 2807661"/>
                  <a:gd name="connsiteX25" fmla="*/ 2276027 w 4641308"/>
                  <a:gd name="connsiteY25" fmla="*/ 881 h 280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41308" h="2807661">
                    <a:moveTo>
                      <a:pt x="2320655" y="2131841"/>
                    </a:moveTo>
                    <a:cubicBezTo>
                      <a:pt x="2507278" y="2131841"/>
                      <a:pt x="2658565" y="2283128"/>
                      <a:pt x="2658565" y="2469751"/>
                    </a:cubicBezTo>
                    <a:cubicBezTo>
                      <a:pt x="2658565" y="2656374"/>
                      <a:pt x="2507278" y="2807661"/>
                      <a:pt x="2320655" y="2807661"/>
                    </a:cubicBezTo>
                    <a:cubicBezTo>
                      <a:pt x="2134032" y="2807661"/>
                      <a:pt x="1982745" y="2656374"/>
                      <a:pt x="1982745" y="2469751"/>
                    </a:cubicBezTo>
                    <a:cubicBezTo>
                      <a:pt x="1982745" y="2283128"/>
                      <a:pt x="2134032" y="2131841"/>
                      <a:pt x="2320655" y="2131841"/>
                    </a:cubicBezTo>
                    <a:close/>
                    <a:moveTo>
                      <a:pt x="2302761" y="1551728"/>
                    </a:moveTo>
                    <a:cubicBezTo>
                      <a:pt x="2836666" y="1539300"/>
                      <a:pt x="3140082" y="1858638"/>
                      <a:pt x="3231787" y="1937010"/>
                    </a:cubicBezTo>
                    <a:cubicBezTo>
                      <a:pt x="3293227" y="1989518"/>
                      <a:pt x="3196582" y="2106859"/>
                      <a:pt x="3107502" y="2042652"/>
                    </a:cubicBezTo>
                    <a:cubicBezTo>
                      <a:pt x="2963766" y="1939049"/>
                      <a:pt x="2734131" y="1722620"/>
                      <a:pt x="2312082" y="1716405"/>
                    </a:cubicBezTo>
                    <a:cubicBezTo>
                      <a:pt x="1890033" y="1710191"/>
                      <a:pt x="1605247" y="1983897"/>
                      <a:pt x="1525983" y="2042652"/>
                    </a:cubicBezTo>
                    <a:cubicBezTo>
                      <a:pt x="1446719" y="2101406"/>
                      <a:pt x="1349676" y="1997642"/>
                      <a:pt x="1407913" y="1937010"/>
                    </a:cubicBezTo>
                    <a:cubicBezTo>
                      <a:pt x="1466150" y="1876378"/>
                      <a:pt x="1768856" y="1564157"/>
                      <a:pt x="2302761" y="1551728"/>
                    </a:cubicBezTo>
                    <a:close/>
                    <a:moveTo>
                      <a:pt x="2291336" y="826091"/>
                    </a:moveTo>
                    <a:cubicBezTo>
                      <a:pt x="3166107" y="805727"/>
                      <a:pt x="3663235" y="1328944"/>
                      <a:pt x="3813487" y="1457351"/>
                    </a:cubicBezTo>
                    <a:cubicBezTo>
                      <a:pt x="3914154" y="1543383"/>
                      <a:pt x="3755806" y="1735638"/>
                      <a:pt x="3609855" y="1630438"/>
                    </a:cubicBezTo>
                    <a:cubicBezTo>
                      <a:pt x="3374352" y="1460692"/>
                      <a:pt x="2998109" y="1106086"/>
                      <a:pt x="2306608" y="1095904"/>
                    </a:cubicBezTo>
                    <a:cubicBezTo>
                      <a:pt x="1615107" y="1085722"/>
                      <a:pt x="1148503" y="1534173"/>
                      <a:pt x="1018634" y="1630438"/>
                    </a:cubicBezTo>
                    <a:cubicBezTo>
                      <a:pt x="888765" y="1726704"/>
                      <a:pt x="729766" y="1556692"/>
                      <a:pt x="825184" y="1457351"/>
                    </a:cubicBezTo>
                    <a:cubicBezTo>
                      <a:pt x="920602" y="1358010"/>
                      <a:pt x="1416566" y="846454"/>
                      <a:pt x="2291336" y="826091"/>
                    </a:cubicBezTo>
                    <a:close/>
                    <a:moveTo>
                      <a:pt x="2276027" y="881"/>
                    </a:moveTo>
                    <a:cubicBezTo>
                      <a:pt x="3607590" y="-30116"/>
                      <a:pt x="4364312" y="766316"/>
                      <a:pt x="4593023" y="961776"/>
                    </a:cubicBezTo>
                    <a:cubicBezTo>
                      <a:pt x="4746257" y="1092732"/>
                      <a:pt x="4505222" y="1385380"/>
                      <a:pt x="4283057" y="1225247"/>
                    </a:cubicBezTo>
                    <a:cubicBezTo>
                      <a:pt x="3924578" y="966862"/>
                      <a:pt x="3351867" y="427085"/>
                      <a:pt x="2299274" y="411586"/>
                    </a:cubicBezTo>
                    <a:cubicBezTo>
                      <a:pt x="1246681" y="396087"/>
                      <a:pt x="536423" y="1078713"/>
                      <a:pt x="338738" y="1225247"/>
                    </a:cubicBezTo>
                    <a:cubicBezTo>
                      <a:pt x="141053" y="1371781"/>
                      <a:pt x="-100973" y="1112992"/>
                      <a:pt x="44271" y="961776"/>
                    </a:cubicBezTo>
                    <a:cubicBezTo>
                      <a:pt x="189515" y="810560"/>
                      <a:pt x="944464" y="31878"/>
                      <a:pt x="2276027" y="88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10" name="Freeform 2"/>
              <p:cNvSpPr/>
              <p:nvPr/>
            </p:nvSpPr>
            <p:spPr>
              <a:xfrm>
                <a:off x="3039357" y="1951829"/>
                <a:ext cx="436647" cy="269256"/>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chemeClr val="bg2">
                  <a:lumMod val="50000"/>
                  <a:alpha val="5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663" name="Group 662"/>
              <p:cNvGrpSpPr>
                <a:grpSpLocks noChangeAspect="1"/>
              </p:cNvGrpSpPr>
              <p:nvPr/>
            </p:nvGrpSpPr>
            <p:grpSpPr>
              <a:xfrm>
                <a:off x="2900270" y="2472279"/>
                <a:ext cx="714820" cy="376855"/>
                <a:chOff x="-7667934" y="-4472597"/>
                <a:chExt cx="9727651" cy="5128442"/>
              </a:xfrm>
            </p:grpSpPr>
            <p:sp>
              <p:nvSpPr>
                <p:cNvPr id="664" name="Circle: Hollow 663"/>
                <p:cNvSpPr/>
                <p:nvPr/>
              </p:nvSpPr>
              <p:spPr>
                <a:xfrm>
                  <a:off x="-6501554" y="-1418972"/>
                  <a:ext cx="2074817" cy="2074817"/>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65" name="Circle: Hollow 664"/>
                <p:cNvSpPr/>
                <p:nvPr/>
              </p:nvSpPr>
              <p:spPr>
                <a:xfrm>
                  <a:off x="-1422429" y="-1418972"/>
                  <a:ext cx="2074817" cy="2074817"/>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66" name="Freeform: Shape 665"/>
                <p:cNvSpPr/>
                <p:nvPr/>
              </p:nvSpPr>
              <p:spPr>
                <a:xfrm>
                  <a:off x="-7667934" y="-4472597"/>
                  <a:ext cx="9727651" cy="4327188"/>
                </a:xfrm>
                <a:custGeom>
                  <a:avLst/>
                  <a:gdLst>
                    <a:gd name="connsiteX0" fmla="*/ 5189008 w 9727651"/>
                    <a:gd name="connsiteY0" fmla="*/ 392622 h 4327188"/>
                    <a:gd name="connsiteX1" fmla="*/ 4875190 w 9727651"/>
                    <a:gd name="connsiteY1" fmla="*/ 393831 h 4327188"/>
                    <a:gd name="connsiteX2" fmla="*/ 4863825 w 9727651"/>
                    <a:gd name="connsiteY2" fmla="*/ 393904 h 4327188"/>
                    <a:gd name="connsiteX3" fmla="*/ 4863825 w 9727651"/>
                    <a:gd name="connsiteY3" fmla="*/ 1750130 h 4327188"/>
                    <a:gd name="connsiteX4" fmla="*/ 7379074 w 9727651"/>
                    <a:gd name="connsiteY4" fmla="*/ 1750130 h 4327188"/>
                    <a:gd name="connsiteX5" fmla="*/ 7287244 w 9727651"/>
                    <a:gd name="connsiteY5" fmla="*/ 1615982 h 4327188"/>
                    <a:gd name="connsiteX6" fmla="*/ 5189008 w 9727651"/>
                    <a:gd name="connsiteY6" fmla="*/ 392622 h 4327188"/>
                    <a:gd name="connsiteX7" fmla="*/ 4315134 w 9727651"/>
                    <a:gd name="connsiteY7" fmla="*/ 389302 h 4327188"/>
                    <a:gd name="connsiteX8" fmla="*/ 4145447 w 9727651"/>
                    <a:gd name="connsiteY8" fmla="*/ 394084 h 4327188"/>
                    <a:gd name="connsiteX9" fmla="*/ 1926233 w 9727651"/>
                    <a:gd name="connsiteY9" fmla="*/ 1643041 h 4327188"/>
                    <a:gd name="connsiteX10" fmla="*/ 1888384 w 9727651"/>
                    <a:gd name="connsiteY10" fmla="*/ 1750130 h 4327188"/>
                    <a:gd name="connsiteX11" fmla="*/ 4315134 w 9727651"/>
                    <a:gd name="connsiteY11" fmla="*/ 1750130 h 4327188"/>
                    <a:gd name="connsiteX12" fmla="*/ 4356692 w 9727651"/>
                    <a:gd name="connsiteY12" fmla="*/ 1232 h 4327188"/>
                    <a:gd name="connsiteX13" fmla="*/ 4586069 w 9727651"/>
                    <a:gd name="connsiteY13" fmla="*/ 2199 h 4327188"/>
                    <a:gd name="connsiteX14" fmla="*/ 7969553 w 9727651"/>
                    <a:gd name="connsiteY14" fmla="*/ 1735030 h 4327188"/>
                    <a:gd name="connsiteX15" fmla="*/ 7979239 w 9727651"/>
                    <a:gd name="connsiteY15" fmla="*/ 1750130 h 4327188"/>
                    <a:gd name="connsiteX16" fmla="*/ 8710048 w 9727651"/>
                    <a:gd name="connsiteY16" fmla="*/ 1750130 h 4327188"/>
                    <a:gd name="connsiteX17" fmla="*/ 9727651 w 9727651"/>
                    <a:gd name="connsiteY17" fmla="*/ 2767733 h 4327188"/>
                    <a:gd name="connsiteX18" fmla="*/ 9727651 w 9727651"/>
                    <a:gd name="connsiteY18" fmla="*/ 3309585 h 4327188"/>
                    <a:gd name="connsiteX19" fmla="*/ 8710048 w 9727651"/>
                    <a:gd name="connsiteY19" fmla="*/ 4327188 h 4327188"/>
                    <a:gd name="connsiteX20" fmla="*/ 8438949 w 9727651"/>
                    <a:gd name="connsiteY20" fmla="*/ 4327188 h 4327188"/>
                    <a:gd name="connsiteX21" fmla="*/ 8439613 w 9727651"/>
                    <a:gd name="connsiteY21" fmla="*/ 4325048 h 4327188"/>
                    <a:gd name="connsiteX22" fmla="*/ 8463273 w 9727651"/>
                    <a:gd name="connsiteY22" fmla="*/ 4090344 h 4327188"/>
                    <a:gd name="connsiteX23" fmla="*/ 7298691 w 9727651"/>
                    <a:gd name="connsiteY23" fmla="*/ 2925762 h 4327188"/>
                    <a:gd name="connsiteX24" fmla="*/ 6134109 w 9727651"/>
                    <a:gd name="connsiteY24" fmla="*/ 4090344 h 4327188"/>
                    <a:gd name="connsiteX25" fmla="*/ 6157769 w 9727651"/>
                    <a:gd name="connsiteY25" fmla="*/ 4325048 h 4327188"/>
                    <a:gd name="connsiteX26" fmla="*/ 6158433 w 9727651"/>
                    <a:gd name="connsiteY26" fmla="*/ 4327188 h 4327188"/>
                    <a:gd name="connsiteX27" fmla="*/ 3359824 w 9727651"/>
                    <a:gd name="connsiteY27" fmla="*/ 4327188 h 4327188"/>
                    <a:gd name="connsiteX28" fmla="*/ 3360488 w 9727651"/>
                    <a:gd name="connsiteY28" fmla="*/ 4325048 h 4327188"/>
                    <a:gd name="connsiteX29" fmla="*/ 3384148 w 9727651"/>
                    <a:gd name="connsiteY29" fmla="*/ 4090344 h 4327188"/>
                    <a:gd name="connsiteX30" fmla="*/ 2219566 w 9727651"/>
                    <a:gd name="connsiteY30" fmla="*/ 2925762 h 4327188"/>
                    <a:gd name="connsiteX31" fmla="*/ 1054984 w 9727651"/>
                    <a:gd name="connsiteY31" fmla="*/ 4090344 h 4327188"/>
                    <a:gd name="connsiteX32" fmla="*/ 1078645 w 9727651"/>
                    <a:gd name="connsiteY32" fmla="*/ 4325048 h 4327188"/>
                    <a:gd name="connsiteX33" fmla="*/ 1079309 w 9727651"/>
                    <a:gd name="connsiteY33" fmla="*/ 4327188 h 4327188"/>
                    <a:gd name="connsiteX34" fmla="*/ 1017603 w 9727651"/>
                    <a:gd name="connsiteY34" fmla="*/ 4327188 h 4327188"/>
                    <a:gd name="connsiteX35" fmla="*/ 0 w 9727651"/>
                    <a:gd name="connsiteY35" fmla="*/ 3309585 h 4327188"/>
                    <a:gd name="connsiteX36" fmla="*/ 0 w 9727651"/>
                    <a:gd name="connsiteY36" fmla="*/ 2767733 h 4327188"/>
                    <a:gd name="connsiteX37" fmla="*/ 1017603 w 9727651"/>
                    <a:gd name="connsiteY37" fmla="*/ 1750130 h 4327188"/>
                    <a:gd name="connsiteX38" fmla="*/ 1209415 w 9727651"/>
                    <a:gd name="connsiteY38" fmla="*/ 1750130 h 4327188"/>
                    <a:gd name="connsiteX39" fmla="*/ 1232083 w 9727651"/>
                    <a:gd name="connsiteY39" fmla="*/ 1654215 h 4327188"/>
                    <a:gd name="connsiteX40" fmla="*/ 4356692 w 9727651"/>
                    <a:gd name="connsiteY40" fmla="*/ 1232 h 432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727651" h="4327188">
                      <a:moveTo>
                        <a:pt x="5189008" y="392622"/>
                      </a:moveTo>
                      <a:cubicBezTo>
                        <a:pt x="5083963" y="391073"/>
                        <a:pt x="4979447" y="392612"/>
                        <a:pt x="4875190" y="393831"/>
                      </a:cubicBezTo>
                      <a:lnTo>
                        <a:pt x="4863825" y="393904"/>
                      </a:lnTo>
                      <a:lnTo>
                        <a:pt x="4863825" y="1750130"/>
                      </a:lnTo>
                      <a:lnTo>
                        <a:pt x="7379074" y="1750130"/>
                      </a:lnTo>
                      <a:lnTo>
                        <a:pt x="7287244" y="1615982"/>
                      </a:lnTo>
                      <a:cubicBezTo>
                        <a:pt x="6522774" y="532642"/>
                        <a:pt x="5845540" y="402304"/>
                        <a:pt x="5189008" y="392622"/>
                      </a:cubicBezTo>
                      <a:close/>
                      <a:moveTo>
                        <a:pt x="4315134" y="389302"/>
                      </a:moveTo>
                      <a:lnTo>
                        <a:pt x="4145447" y="394084"/>
                      </a:lnTo>
                      <a:cubicBezTo>
                        <a:pt x="3300271" y="436964"/>
                        <a:pt x="2301149" y="743298"/>
                        <a:pt x="1926233" y="1643041"/>
                      </a:cubicBezTo>
                      <a:lnTo>
                        <a:pt x="1888384" y="1750130"/>
                      </a:lnTo>
                      <a:lnTo>
                        <a:pt x="4315134" y="1750130"/>
                      </a:lnTo>
                      <a:close/>
                      <a:moveTo>
                        <a:pt x="4356692" y="1232"/>
                      </a:moveTo>
                      <a:cubicBezTo>
                        <a:pt x="4436017" y="-699"/>
                        <a:pt x="4512692" y="-350"/>
                        <a:pt x="4586069" y="2199"/>
                      </a:cubicBezTo>
                      <a:cubicBezTo>
                        <a:pt x="5686736" y="40431"/>
                        <a:pt x="6730848" y="-137261"/>
                        <a:pt x="7969553" y="1735030"/>
                      </a:cubicBezTo>
                      <a:lnTo>
                        <a:pt x="7979239" y="1750130"/>
                      </a:lnTo>
                      <a:lnTo>
                        <a:pt x="8710048" y="1750130"/>
                      </a:lnTo>
                      <a:cubicBezTo>
                        <a:pt x="9272055" y="1750130"/>
                        <a:pt x="9727651" y="2205726"/>
                        <a:pt x="9727651" y="2767733"/>
                      </a:cubicBezTo>
                      <a:lnTo>
                        <a:pt x="9727651" y="3309585"/>
                      </a:lnTo>
                      <a:cubicBezTo>
                        <a:pt x="9727651" y="3871592"/>
                        <a:pt x="9272055" y="4327188"/>
                        <a:pt x="8710048" y="4327188"/>
                      </a:cubicBezTo>
                      <a:lnTo>
                        <a:pt x="8438949" y="4327188"/>
                      </a:lnTo>
                      <a:lnTo>
                        <a:pt x="8439613" y="4325048"/>
                      </a:lnTo>
                      <a:cubicBezTo>
                        <a:pt x="8455126" y="4249236"/>
                        <a:pt x="8463273" y="4170742"/>
                        <a:pt x="8463273" y="4090344"/>
                      </a:cubicBezTo>
                      <a:cubicBezTo>
                        <a:pt x="8463273" y="3447163"/>
                        <a:pt x="7941872" y="2925762"/>
                        <a:pt x="7298691" y="2925762"/>
                      </a:cubicBezTo>
                      <a:cubicBezTo>
                        <a:pt x="6655510" y="2925762"/>
                        <a:pt x="6134109" y="3447163"/>
                        <a:pt x="6134109" y="4090344"/>
                      </a:cubicBezTo>
                      <a:cubicBezTo>
                        <a:pt x="6134109" y="4170742"/>
                        <a:pt x="6142256" y="4249236"/>
                        <a:pt x="6157769" y="4325048"/>
                      </a:cubicBezTo>
                      <a:lnTo>
                        <a:pt x="6158433" y="4327188"/>
                      </a:lnTo>
                      <a:lnTo>
                        <a:pt x="3359824" y="4327188"/>
                      </a:lnTo>
                      <a:lnTo>
                        <a:pt x="3360488" y="4325048"/>
                      </a:lnTo>
                      <a:cubicBezTo>
                        <a:pt x="3376001" y="4249236"/>
                        <a:pt x="3384148" y="4170742"/>
                        <a:pt x="3384148" y="4090344"/>
                      </a:cubicBezTo>
                      <a:cubicBezTo>
                        <a:pt x="3384148" y="3447163"/>
                        <a:pt x="2862747" y="2925762"/>
                        <a:pt x="2219566" y="2925762"/>
                      </a:cubicBezTo>
                      <a:cubicBezTo>
                        <a:pt x="1576385" y="2925762"/>
                        <a:pt x="1054984" y="3447163"/>
                        <a:pt x="1054984" y="4090344"/>
                      </a:cubicBezTo>
                      <a:cubicBezTo>
                        <a:pt x="1054984" y="4170742"/>
                        <a:pt x="1063131" y="4249236"/>
                        <a:pt x="1078645" y="4325048"/>
                      </a:cubicBezTo>
                      <a:lnTo>
                        <a:pt x="1079309" y="4327188"/>
                      </a:lnTo>
                      <a:lnTo>
                        <a:pt x="1017603" y="4327188"/>
                      </a:lnTo>
                      <a:cubicBezTo>
                        <a:pt x="455596" y="4327188"/>
                        <a:pt x="0" y="3871592"/>
                        <a:pt x="0" y="3309585"/>
                      </a:cubicBezTo>
                      <a:lnTo>
                        <a:pt x="0" y="2767733"/>
                      </a:lnTo>
                      <a:cubicBezTo>
                        <a:pt x="0" y="2205726"/>
                        <a:pt x="455596" y="1750130"/>
                        <a:pt x="1017603" y="1750130"/>
                      </a:cubicBezTo>
                      <a:lnTo>
                        <a:pt x="1209415" y="1750130"/>
                      </a:lnTo>
                      <a:lnTo>
                        <a:pt x="1232083" y="1654215"/>
                      </a:lnTo>
                      <a:cubicBezTo>
                        <a:pt x="1601377" y="506259"/>
                        <a:pt x="3241176" y="28383"/>
                        <a:pt x="4356692" y="123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spTree>
    <p:extLst>
      <p:ext uri="{BB962C8B-B14F-4D97-AF65-F5344CB8AC3E}">
        <p14:creationId xmlns:p14="http://schemas.microsoft.com/office/powerpoint/2010/main" val="1528662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69"/>
                                        </p:tgtEl>
                                        <p:attrNameLst>
                                          <p:attrName>style.visibility</p:attrName>
                                        </p:attrNameLst>
                                      </p:cBhvr>
                                      <p:to>
                                        <p:strVal val="visible"/>
                                      </p:to>
                                    </p:set>
                                    <p:animEffect transition="in" filter="fade">
                                      <p:cBhvr>
                                        <p:cTn id="7" dur="750"/>
                                        <p:tgtEl>
                                          <p:spTgt spid="66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childTnLst>
                          </p:cTn>
                        </p:par>
                        <p:par>
                          <p:cTn id="14" fill="hold">
                            <p:stCondLst>
                              <p:cond delay="750"/>
                            </p:stCondLst>
                            <p:childTnLst>
                              <p:par>
                                <p:cTn id="15" presetID="10" presetClass="entr" presetSubtype="0" fill="hold" nodeType="afterEffect">
                                  <p:stCondLst>
                                    <p:cond delay="0"/>
                                  </p:stCondLst>
                                  <p:childTnLst>
                                    <p:set>
                                      <p:cBhvr>
                                        <p:cTn id="16" dur="1" fill="hold">
                                          <p:stCondLst>
                                            <p:cond delay="0"/>
                                          </p:stCondLst>
                                        </p:cTn>
                                        <p:tgtEl>
                                          <p:spTgt spid="670"/>
                                        </p:tgtEl>
                                        <p:attrNameLst>
                                          <p:attrName>style.visibility</p:attrName>
                                        </p:attrNameLst>
                                      </p:cBhvr>
                                      <p:to>
                                        <p:strVal val="visible"/>
                                      </p:to>
                                    </p:set>
                                    <p:animEffect transition="in" filter="fade">
                                      <p:cBhvr>
                                        <p:cTn id="17" dur="750"/>
                                        <p:tgtEl>
                                          <p:spTgt spid="670"/>
                                        </p:tgtEl>
                                      </p:cBhvr>
                                    </p:animEffect>
                                  </p:childTnLst>
                                </p:cTn>
                              </p:par>
                            </p:childTnLst>
                          </p:cTn>
                        </p:par>
                        <p:par>
                          <p:cTn id="18" fill="hold">
                            <p:stCondLst>
                              <p:cond delay="1500"/>
                            </p:stCondLst>
                            <p:childTnLst>
                              <p:par>
                                <p:cTn id="19" presetID="10" presetClass="entr" presetSubtype="0" fill="hold" nodeType="afterEffect">
                                  <p:stCondLst>
                                    <p:cond delay="250"/>
                                  </p:stCondLst>
                                  <p:childTnLst>
                                    <p:set>
                                      <p:cBhvr>
                                        <p:cTn id="20" dur="1" fill="hold">
                                          <p:stCondLst>
                                            <p:cond delay="0"/>
                                          </p:stCondLst>
                                        </p:cTn>
                                        <p:tgtEl>
                                          <p:spTgt spid="671"/>
                                        </p:tgtEl>
                                        <p:attrNameLst>
                                          <p:attrName>style.visibility</p:attrName>
                                        </p:attrNameLst>
                                      </p:cBhvr>
                                      <p:to>
                                        <p:strVal val="visible"/>
                                      </p:to>
                                    </p:set>
                                    <p:animEffect transition="in" filter="fade">
                                      <p:cBhvr>
                                        <p:cTn id="21" dur="750"/>
                                        <p:tgtEl>
                                          <p:spTgt spid="671"/>
                                        </p:tgtEl>
                                      </p:cBhvr>
                                    </p:animEffect>
                                  </p:childTnLst>
                                </p:cTn>
                              </p:par>
                            </p:childTnLst>
                          </p:cTn>
                        </p:par>
                        <p:par>
                          <p:cTn id="22" fill="hold">
                            <p:stCondLst>
                              <p:cond delay="2500"/>
                            </p:stCondLst>
                            <p:childTnLst>
                              <p:par>
                                <p:cTn id="23" presetID="10" presetClass="entr" presetSubtype="0" fill="hold" nodeType="afterEffect">
                                  <p:stCondLst>
                                    <p:cond delay="250"/>
                                  </p:stCondLst>
                                  <p:childTnLst>
                                    <p:set>
                                      <p:cBhvr>
                                        <p:cTn id="24" dur="1" fill="hold">
                                          <p:stCondLst>
                                            <p:cond delay="0"/>
                                          </p:stCondLst>
                                        </p:cTn>
                                        <p:tgtEl>
                                          <p:spTgt spid="673"/>
                                        </p:tgtEl>
                                        <p:attrNameLst>
                                          <p:attrName>style.visibility</p:attrName>
                                        </p:attrNameLst>
                                      </p:cBhvr>
                                      <p:to>
                                        <p:strVal val="visible"/>
                                      </p:to>
                                    </p:set>
                                    <p:animEffect transition="in" filter="fade">
                                      <p:cBhvr>
                                        <p:cTn id="25" dur="750"/>
                                        <p:tgtEl>
                                          <p:spTgt spid="6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3"/>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921" kern="0">
              <a:solidFill>
                <a:srgbClr val="0072C6"/>
              </a:solidFill>
              <a:cs typeface="Segoe UI Light" panose="020B0502040204020203" pitchFamily="34" charset="0"/>
            </a:endParaRPr>
          </a:p>
        </p:txBody>
      </p:sp>
      <p:sp>
        <p:nvSpPr>
          <p:cNvPr id="3" name="Title 2"/>
          <p:cNvSpPr>
            <a:spLocks noGrp="1"/>
          </p:cNvSpPr>
          <p:nvPr>
            <p:ph type="title"/>
          </p:nvPr>
        </p:nvSpPr>
        <p:spPr/>
        <p:txBody>
          <a:bodyPr/>
          <a:lstStyle/>
          <a:p>
            <a:r>
              <a:rPr lang="en-US"/>
              <a:t>Primary Drivers &amp; Motivations For Automotive</a:t>
            </a:r>
          </a:p>
        </p:txBody>
      </p:sp>
      <p:sp>
        <p:nvSpPr>
          <p:cNvPr id="6" name="Text Placeholder 5"/>
          <p:cNvSpPr>
            <a:spLocks noGrp="1"/>
          </p:cNvSpPr>
          <p:nvPr>
            <p:ph type="body" sz="quarter" idx="13"/>
          </p:nvPr>
        </p:nvSpPr>
        <p:spPr/>
        <p:txBody>
          <a:bodyPr/>
          <a:lstStyle/>
          <a:p>
            <a:r>
              <a:rPr lang="en-US"/>
              <a:t>OEMs are being pushed to adapt and evolve by technology… </a:t>
            </a:r>
          </a:p>
        </p:txBody>
      </p:sp>
      <p:grpSp>
        <p:nvGrpSpPr>
          <p:cNvPr id="34" name="Group 33"/>
          <p:cNvGrpSpPr/>
          <p:nvPr/>
        </p:nvGrpSpPr>
        <p:grpSpPr>
          <a:xfrm>
            <a:off x="1192245" y="2477758"/>
            <a:ext cx="2577323" cy="3350519"/>
            <a:chOff x="1192245" y="2477758"/>
            <a:chExt cx="2577323" cy="3350519"/>
          </a:xfrm>
        </p:grpSpPr>
        <p:sp>
          <p:nvSpPr>
            <p:cNvPr id="38" name="Freeform: Shape 37"/>
            <p:cNvSpPr/>
            <p:nvPr/>
          </p:nvSpPr>
          <p:spPr>
            <a:xfrm>
              <a:off x="1192245" y="2477758"/>
              <a:ext cx="2577323" cy="1546393"/>
            </a:xfrm>
            <a:custGeom>
              <a:avLst/>
              <a:gdLst>
                <a:gd name="connsiteX0" fmla="*/ 0 w 2577323"/>
                <a:gd name="connsiteY0" fmla="*/ 0 h 1546393"/>
                <a:gd name="connsiteX1" fmla="*/ 2577323 w 2577323"/>
                <a:gd name="connsiteY1" fmla="*/ 0 h 1546393"/>
                <a:gd name="connsiteX2" fmla="*/ 2577323 w 2577323"/>
                <a:gd name="connsiteY2" fmla="*/ 1546393 h 1546393"/>
                <a:gd name="connsiteX3" fmla="*/ 0 w 2577323"/>
                <a:gd name="connsiteY3" fmla="*/ 1546393 h 1546393"/>
                <a:gd name="connsiteX4" fmla="*/ 0 w 2577323"/>
                <a:gd name="connsiteY4" fmla="*/ 0 h 1546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7323" h="1546393">
                  <a:moveTo>
                    <a:pt x="0" y="0"/>
                  </a:moveTo>
                  <a:lnTo>
                    <a:pt x="2577323" y="0"/>
                  </a:lnTo>
                  <a:lnTo>
                    <a:pt x="2577323" y="1546393"/>
                  </a:lnTo>
                  <a:lnTo>
                    <a:pt x="0" y="1546393"/>
                  </a:lnTo>
                  <a:lnTo>
                    <a:pt x="0" y="0"/>
                  </a:lnTo>
                  <a:close/>
                </a:path>
              </a:pathLst>
            </a:custGeom>
            <a:solidFill>
              <a:schemeClr val="tx2"/>
            </a:solidFill>
            <a:ln>
              <a:noFill/>
            </a:ln>
          </p:spPr>
          <p:style>
            <a:lnRef idx="2">
              <a:schemeClr val="lt1">
                <a:hueOff val="0"/>
                <a:satOff val="0"/>
                <a:lumOff val="0"/>
                <a:alphaOff val="0"/>
              </a:schemeClr>
            </a:lnRef>
            <a:fillRef idx="1">
              <a:schemeClr val="accent3">
                <a:alpha val="90000"/>
                <a:hueOff val="0"/>
                <a:satOff val="0"/>
                <a:lumOff val="0"/>
                <a:alphaOff val="0"/>
              </a:schemeClr>
            </a:fillRef>
            <a:effectRef idx="0">
              <a:schemeClr val="accent3">
                <a:alpha val="90000"/>
                <a:hueOff val="0"/>
                <a:satOff val="0"/>
                <a:lumOff val="0"/>
                <a:alphaOff val="0"/>
              </a:schemeClr>
            </a:effectRef>
            <a:fontRef idx="minor">
              <a:schemeClr val="lt1"/>
            </a:fontRef>
          </p:style>
          <p:txBody>
            <a:bodyPr spcFirstLastPara="0" vert="horz" wrap="square" lIns="182880" tIns="91440" rIns="182880" bIns="182880" numCol="1" spcCol="1270" anchor="ctr" anchorCtr="0">
              <a:noAutofit/>
            </a:bodyPr>
            <a:lstStyle/>
            <a:p>
              <a:pPr defTabSz="1289050">
                <a:lnSpc>
                  <a:spcPct val="90000"/>
                </a:lnSpc>
                <a:spcBef>
                  <a:spcPct val="0"/>
                </a:spcBef>
                <a:spcAft>
                  <a:spcPct val="35000"/>
                </a:spcAft>
              </a:pPr>
              <a:r>
                <a:rPr lang="en-US" sz="2900">
                  <a:solidFill>
                    <a:srgbClr val="FFFFFF"/>
                  </a:solidFill>
                </a:rPr>
                <a:t>Technological convergence</a:t>
              </a:r>
            </a:p>
          </p:txBody>
        </p:sp>
        <p:sp>
          <p:nvSpPr>
            <p:cNvPr id="39" name="Freeform: Shape 38"/>
            <p:cNvSpPr/>
            <p:nvPr/>
          </p:nvSpPr>
          <p:spPr>
            <a:xfrm>
              <a:off x="1192245" y="4281884"/>
              <a:ext cx="2577323" cy="1546393"/>
            </a:xfrm>
            <a:custGeom>
              <a:avLst/>
              <a:gdLst>
                <a:gd name="connsiteX0" fmla="*/ 0 w 2577323"/>
                <a:gd name="connsiteY0" fmla="*/ 0 h 1546393"/>
                <a:gd name="connsiteX1" fmla="*/ 2577323 w 2577323"/>
                <a:gd name="connsiteY1" fmla="*/ 0 h 1546393"/>
                <a:gd name="connsiteX2" fmla="*/ 2577323 w 2577323"/>
                <a:gd name="connsiteY2" fmla="*/ 1546393 h 1546393"/>
                <a:gd name="connsiteX3" fmla="*/ 0 w 2577323"/>
                <a:gd name="connsiteY3" fmla="*/ 1546393 h 1546393"/>
                <a:gd name="connsiteX4" fmla="*/ 0 w 2577323"/>
                <a:gd name="connsiteY4" fmla="*/ 0 h 1546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7323" h="1546393">
                  <a:moveTo>
                    <a:pt x="0" y="0"/>
                  </a:moveTo>
                  <a:lnTo>
                    <a:pt x="2577323" y="0"/>
                  </a:lnTo>
                  <a:lnTo>
                    <a:pt x="2577323" y="1546393"/>
                  </a:lnTo>
                  <a:lnTo>
                    <a:pt x="0" y="1546393"/>
                  </a:lnTo>
                  <a:lnTo>
                    <a:pt x="0" y="0"/>
                  </a:lnTo>
                  <a:close/>
                </a:path>
              </a:pathLst>
            </a:custGeom>
            <a:solidFill>
              <a:schemeClr val="tx2"/>
            </a:solidFill>
            <a:ln>
              <a:noFill/>
            </a:ln>
          </p:spPr>
          <p:style>
            <a:lnRef idx="2">
              <a:schemeClr val="lt1">
                <a:hueOff val="0"/>
                <a:satOff val="0"/>
                <a:lumOff val="0"/>
                <a:alphaOff val="0"/>
              </a:schemeClr>
            </a:lnRef>
            <a:fillRef idx="1">
              <a:schemeClr val="accent3">
                <a:alpha val="90000"/>
                <a:hueOff val="0"/>
                <a:satOff val="0"/>
                <a:lumOff val="0"/>
                <a:alphaOff val="-40000"/>
              </a:schemeClr>
            </a:fillRef>
            <a:effectRef idx="0">
              <a:schemeClr val="accent3">
                <a:alpha val="90000"/>
                <a:hueOff val="0"/>
                <a:satOff val="0"/>
                <a:lumOff val="0"/>
                <a:alphaOff val="-40000"/>
              </a:schemeClr>
            </a:effectRef>
            <a:fontRef idx="minor">
              <a:schemeClr val="lt1"/>
            </a:fontRef>
          </p:style>
          <p:txBody>
            <a:bodyPr spcFirstLastPara="0" vert="horz" wrap="square" lIns="182880" tIns="91440" rIns="182880" bIns="182880" numCol="1" spcCol="1270" anchor="ctr" anchorCtr="0">
              <a:noAutofit/>
            </a:bodyPr>
            <a:lstStyle/>
            <a:p>
              <a:pPr defTabSz="1289050">
                <a:lnSpc>
                  <a:spcPct val="90000"/>
                </a:lnSpc>
                <a:spcBef>
                  <a:spcPct val="0"/>
                </a:spcBef>
                <a:spcAft>
                  <a:spcPct val="35000"/>
                </a:spcAft>
              </a:pPr>
              <a:r>
                <a:rPr lang="en-US" sz="2900">
                  <a:solidFill>
                    <a:srgbClr val="FFFFFF"/>
                  </a:solidFill>
                </a:rPr>
                <a:t>Growing consumer demand</a:t>
              </a:r>
            </a:p>
          </p:txBody>
        </p:sp>
      </p:grpSp>
      <p:sp>
        <p:nvSpPr>
          <p:cNvPr id="33" name="Right Brace 32"/>
          <p:cNvSpPr/>
          <p:nvPr/>
        </p:nvSpPr>
        <p:spPr bwMode="auto">
          <a:xfrm>
            <a:off x="3966028" y="2349733"/>
            <a:ext cx="412091" cy="3326488"/>
          </a:xfrm>
          <a:prstGeom prst="rightBrace">
            <a:avLst>
              <a:gd name="adj1" fmla="val 43249"/>
              <a:gd name="adj2" fmla="val 50000"/>
            </a:avLst>
          </a:prstGeom>
          <a:solidFill>
            <a:srgbClr val="FFFFFF"/>
          </a:solidFill>
          <a:ln w="9525" cap="flat" cmpd="sng" algn="ctr">
            <a:solidFill>
              <a:srgbClr val="0072C6">
                <a:lumMod val="50000"/>
              </a:srgbClr>
            </a:solidFill>
            <a:prstDash val="solid"/>
            <a:round/>
            <a:headEnd type="none" w="med" len="med"/>
            <a:tailEnd type="none" w="med" len="med"/>
          </a:ln>
          <a:effectLst/>
        </p:spPr>
        <p:txBody>
          <a:bodyPr rtlCol="0" anchor="ctr"/>
          <a:lstStyle/>
          <a:p>
            <a:pPr algn="ctr" defTabSz="914225">
              <a:defRPr/>
            </a:pPr>
            <a:endParaRPr lang="en-US" sz="1400" kern="0">
              <a:solidFill>
                <a:srgbClr val="505050"/>
              </a:solidFill>
            </a:endParaRPr>
          </a:p>
        </p:txBody>
      </p:sp>
      <p:sp>
        <p:nvSpPr>
          <p:cNvPr id="35" name="Right Brace 34"/>
          <p:cNvSpPr/>
          <p:nvPr/>
        </p:nvSpPr>
        <p:spPr bwMode="auto">
          <a:xfrm flipH="1">
            <a:off x="8013422" y="2390387"/>
            <a:ext cx="412091" cy="3326488"/>
          </a:xfrm>
          <a:prstGeom prst="rightBrace">
            <a:avLst>
              <a:gd name="adj1" fmla="val 43249"/>
              <a:gd name="adj2" fmla="val 50000"/>
            </a:avLst>
          </a:prstGeom>
          <a:solidFill>
            <a:srgbClr val="FFFFFF"/>
          </a:solidFill>
          <a:ln w="9525" cap="flat" cmpd="sng" algn="ctr">
            <a:solidFill>
              <a:srgbClr val="0072C6">
                <a:lumMod val="50000"/>
              </a:srgbClr>
            </a:solidFill>
            <a:prstDash val="solid"/>
            <a:round/>
            <a:headEnd type="none" w="med" len="med"/>
            <a:tailEnd type="none" w="med" len="med"/>
          </a:ln>
          <a:effectLst/>
        </p:spPr>
        <p:txBody>
          <a:bodyPr rtlCol="0" anchor="ctr"/>
          <a:lstStyle/>
          <a:p>
            <a:pPr algn="ctr" defTabSz="914225">
              <a:defRPr/>
            </a:pPr>
            <a:endParaRPr lang="en-US" sz="1400" kern="0">
              <a:solidFill>
                <a:srgbClr val="505050"/>
              </a:solidFill>
            </a:endParaRPr>
          </a:p>
        </p:txBody>
      </p:sp>
      <p:grpSp>
        <p:nvGrpSpPr>
          <p:cNvPr id="40" name="Group 39"/>
          <p:cNvGrpSpPr/>
          <p:nvPr/>
        </p:nvGrpSpPr>
        <p:grpSpPr>
          <a:xfrm>
            <a:off x="8790069" y="2477758"/>
            <a:ext cx="2130356" cy="3362601"/>
            <a:chOff x="8790069" y="2477758"/>
            <a:chExt cx="1681300" cy="3362601"/>
          </a:xfrm>
          <a:solidFill>
            <a:srgbClr val="44B0FF"/>
          </a:solidFill>
        </p:grpSpPr>
        <p:sp>
          <p:nvSpPr>
            <p:cNvPr id="41" name="Freeform: Shape 40"/>
            <p:cNvSpPr/>
            <p:nvPr/>
          </p:nvSpPr>
          <p:spPr>
            <a:xfrm>
              <a:off x="8790069" y="2477758"/>
              <a:ext cx="1681300" cy="1008780"/>
            </a:xfrm>
            <a:custGeom>
              <a:avLst/>
              <a:gdLst>
                <a:gd name="connsiteX0" fmla="*/ 0 w 1681300"/>
                <a:gd name="connsiteY0" fmla="*/ 0 h 1008780"/>
                <a:gd name="connsiteX1" fmla="*/ 1681300 w 1681300"/>
                <a:gd name="connsiteY1" fmla="*/ 0 h 1008780"/>
                <a:gd name="connsiteX2" fmla="*/ 1681300 w 1681300"/>
                <a:gd name="connsiteY2" fmla="*/ 1008780 h 1008780"/>
                <a:gd name="connsiteX3" fmla="*/ 0 w 1681300"/>
                <a:gd name="connsiteY3" fmla="*/ 1008780 h 1008780"/>
                <a:gd name="connsiteX4" fmla="*/ 0 w 1681300"/>
                <a:gd name="connsiteY4" fmla="*/ 0 h 1008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300" h="1008780">
                  <a:moveTo>
                    <a:pt x="0" y="0"/>
                  </a:moveTo>
                  <a:lnTo>
                    <a:pt x="1681300" y="0"/>
                  </a:lnTo>
                  <a:lnTo>
                    <a:pt x="1681300" y="1008780"/>
                  </a:lnTo>
                  <a:lnTo>
                    <a:pt x="0" y="1008780"/>
                  </a:lnTo>
                  <a:lnTo>
                    <a:pt x="0" y="0"/>
                  </a:lnTo>
                  <a:close/>
                </a:path>
              </a:pathLst>
            </a:custGeom>
            <a:grpFill/>
          </p:spPr>
          <p:style>
            <a:lnRef idx="2">
              <a:schemeClr val="lt1">
                <a:hueOff val="0"/>
                <a:satOff val="0"/>
                <a:lumOff val="0"/>
                <a:alphaOff val="0"/>
              </a:schemeClr>
            </a:lnRef>
            <a:fillRef idx="1">
              <a:schemeClr val="accent3">
                <a:alpha val="90000"/>
                <a:hueOff val="0"/>
                <a:satOff val="0"/>
                <a:lumOff val="0"/>
                <a:alphaOff val="0"/>
              </a:schemeClr>
            </a:fillRef>
            <a:effectRef idx="0">
              <a:schemeClr val="accent3">
                <a:alpha val="90000"/>
                <a:hueOff val="0"/>
                <a:satOff val="0"/>
                <a:lumOff val="0"/>
                <a:alphaOff val="0"/>
              </a:schemeClr>
            </a:effectRef>
            <a:fontRef idx="minor">
              <a:schemeClr val="lt1"/>
            </a:fontRef>
          </p:style>
          <p:txBody>
            <a:bodyPr spcFirstLastPara="0" vert="horz" wrap="square" lIns="182880" tIns="182880" rIns="182880" bIns="182880" numCol="1" spcCol="1270" anchor="ctr" anchorCtr="0">
              <a:noAutofit/>
            </a:bodyPr>
            <a:lstStyle/>
            <a:p>
              <a:pPr defTabSz="800100">
                <a:lnSpc>
                  <a:spcPct val="90000"/>
                </a:lnSpc>
                <a:spcBef>
                  <a:spcPct val="0"/>
                </a:spcBef>
                <a:spcAft>
                  <a:spcPct val="35000"/>
                </a:spcAft>
              </a:pPr>
              <a:r>
                <a:rPr lang="en-US">
                  <a:solidFill>
                    <a:srgbClr val="FFFFFF"/>
                  </a:solidFill>
                </a:rPr>
                <a:t>Expand business opportunities</a:t>
              </a:r>
            </a:p>
          </p:txBody>
        </p:sp>
        <p:sp>
          <p:nvSpPr>
            <p:cNvPr id="42" name="Freeform: Shape 41"/>
            <p:cNvSpPr/>
            <p:nvPr/>
          </p:nvSpPr>
          <p:spPr>
            <a:xfrm>
              <a:off x="8790069" y="3654668"/>
              <a:ext cx="1681300" cy="1008780"/>
            </a:xfrm>
            <a:custGeom>
              <a:avLst/>
              <a:gdLst>
                <a:gd name="connsiteX0" fmla="*/ 0 w 1681300"/>
                <a:gd name="connsiteY0" fmla="*/ 0 h 1008780"/>
                <a:gd name="connsiteX1" fmla="*/ 1681300 w 1681300"/>
                <a:gd name="connsiteY1" fmla="*/ 0 h 1008780"/>
                <a:gd name="connsiteX2" fmla="*/ 1681300 w 1681300"/>
                <a:gd name="connsiteY2" fmla="*/ 1008780 h 1008780"/>
                <a:gd name="connsiteX3" fmla="*/ 0 w 1681300"/>
                <a:gd name="connsiteY3" fmla="*/ 1008780 h 1008780"/>
                <a:gd name="connsiteX4" fmla="*/ 0 w 1681300"/>
                <a:gd name="connsiteY4" fmla="*/ 0 h 1008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300" h="1008780">
                  <a:moveTo>
                    <a:pt x="0" y="0"/>
                  </a:moveTo>
                  <a:lnTo>
                    <a:pt x="1681300" y="0"/>
                  </a:lnTo>
                  <a:lnTo>
                    <a:pt x="1681300" y="1008780"/>
                  </a:lnTo>
                  <a:lnTo>
                    <a:pt x="0" y="1008780"/>
                  </a:lnTo>
                  <a:lnTo>
                    <a:pt x="0" y="0"/>
                  </a:lnTo>
                  <a:close/>
                </a:path>
              </a:pathLst>
            </a:custGeom>
            <a:grpFill/>
          </p:spPr>
          <p:style>
            <a:lnRef idx="2">
              <a:schemeClr val="lt1">
                <a:hueOff val="0"/>
                <a:satOff val="0"/>
                <a:lumOff val="0"/>
                <a:alphaOff val="0"/>
              </a:schemeClr>
            </a:lnRef>
            <a:fillRef idx="1">
              <a:schemeClr val="accent3">
                <a:alpha val="90000"/>
                <a:hueOff val="0"/>
                <a:satOff val="0"/>
                <a:lumOff val="0"/>
                <a:alphaOff val="-20000"/>
              </a:schemeClr>
            </a:fillRef>
            <a:effectRef idx="0">
              <a:schemeClr val="accent3">
                <a:alpha val="90000"/>
                <a:hueOff val="0"/>
                <a:satOff val="0"/>
                <a:lumOff val="0"/>
                <a:alphaOff val="-20000"/>
              </a:schemeClr>
            </a:effectRef>
            <a:fontRef idx="minor">
              <a:schemeClr val="lt1"/>
            </a:fontRef>
          </p:style>
          <p:txBody>
            <a:bodyPr spcFirstLastPara="0" vert="horz" wrap="square" lIns="182880" tIns="182880" rIns="182880" bIns="182880" numCol="1" spcCol="1270" anchor="ctr" anchorCtr="0">
              <a:noAutofit/>
            </a:bodyPr>
            <a:lstStyle/>
            <a:p>
              <a:pPr defTabSz="800100">
                <a:lnSpc>
                  <a:spcPct val="90000"/>
                </a:lnSpc>
                <a:spcBef>
                  <a:spcPct val="0"/>
                </a:spcBef>
                <a:spcAft>
                  <a:spcPct val="35000"/>
                </a:spcAft>
              </a:pPr>
              <a:r>
                <a:rPr lang="en-US">
                  <a:solidFill>
                    <a:srgbClr val="FFFFFF"/>
                  </a:solidFill>
                </a:rPr>
                <a:t>Improve driving experience</a:t>
              </a:r>
            </a:p>
          </p:txBody>
        </p:sp>
        <p:sp>
          <p:nvSpPr>
            <p:cNvPr id="43" name="Freeform: Shape 42"/>
            <p:cNvSpPr/>
            <p:nvPr/>
          </p:nvSpPr>
          <p:spPr>
            <a:xfrm>
              <a:off x="8790069" y="4831579"/>
              <a:ext cx="1681300" cy="1008780"/>
            </a:xfrm>
            <a:custGeom>
              <a:avLst/>
              <a:gdLst>
                <a:gd name="connsiteX0" fmla="*/ 0 w 1681300"/>
                <a:gd name="connsiteY0" fmla="*/ 0 h 1008780"/>
                <a:gd name="connsiteX1" fmla="*/ 1681300 w 1681300"/>
                <a:gd name="connsiteY1" fmla="*/ 0 h 1008780"/>
                <a:gd name="connsiteX2" fmla="*/ 1681300 w 1681300"/>
                <a:gd name="connsiteY2" fmla="*/ 1008780 h 1008780"/>
                <a:gd name="connsiteX3" fmla="*/ 0 w 1681300"/>
                <a:gd name="connsiteY3" fmla="*/ 1008780 h 1008780"/>
                <a:gd name="connsiteX4" fmla="*/ 0 w 1681300"/>
                <a:gd name="connsiteY4" fmla="*/ 0 h 1008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300" h="1008780">
                  <a:moveTo>
                    <a:pt x="0" y="0"/>
                  </a:moveTo>
                  <a:lnTo>
                    <a:pt x="1681300" y="0"/>
                  </a:lnTo>
                  <a:lnTo>
                    <a:pt x="1681300" y="1008780"/>
                  </a:lnTo>
                  <a:lnTo>
                    <a:pt x="0" y="1008780"/>
                  </a:lnTo>
                  <a:lnTo>
                    <a:pt x="0" y="0"/>
                  </a:lnTo>
                  <a:close/>
                </a:path>
              </a:pathLst>
            </a:custGeom>
            <a:grpFill/>
          </p:spPr>
          <p:style>
            <a:lnRef idx="2">
              <a:schemeClr val="lt1">
                <a:hueOff val="0"/>
                <a:satOff val="0"/>
                <a:lumOff val="0"/>
                <a:alphaOff val="0"/>
              </a:schemeClr>
            </a:lnRef>
            <a:fillRef idx="1">
              <a:schemeClr val="accent3">
                <a:alpha val="90000"/>
                <a:hueOff val="0"/>
                <a:satOff val="0"/>
                <a:lumOff val="0"/>
                <a:alphaOff val="-40000"/>
              </a:schemeClr>
            </a:fillRef>
            <a:effectRef idx="0">
              <a:schemeClr val="accent3">
                <a:alpha val="90000"/>
                <a:hueOff val="0"/>
                <a:satOff val="0"/>
                <a:lumOff val="0"/>
                <a:alphaOff val="-40000"/>
              </a:schemeClr>
            </a:effectRef>
            <a:fontRef idx="minor">
              <a:schemeClr val="lt1"/>
            </a:fontRef>
          </p:style>
          <p:txBody>
            <a:bodyPr spcFirstLastPara="0" vert="horz" wrap="square" lIns="182880" tIns="182880" rIns="182880" bIns="182880" numCol="1" spcCol="1270" anchor="ctr" anchorCtr="0">
              <a:noAutofit/>
            </a:bodyPr>
            <a:lstStyle/>
            <a:p>
              <a:pPr defTabSz="800100">
                <a:lnSpc>
                  <a:spcPct val="90000"/>
                </a:lnSpc>
                <a:spcBef>
                  <a:spcPct val="0"/>
                </a:spcBef>
                <a:spcAft>
                  <a:spcPct val="35000"/>
                </a:spcAft>
              </a:pPr>
              <a:r>
                <a:rPr lang="en-US">
                  <a:solidFill>
                    <a:srgbClr val="FFFFFF"/>
                  </a:solidFill>
                </a:rPr>
                <a:t>Retain customer connection</a:t>
              </a:r>
            </a:p>
          </p:txBody>
        </p:sp>
      </p:grpSp>
      <p:sp>
        <p:nvSpPr>
          <p:cNvPr id="37" name="Text Placeholder 4"/>
          <p:cNvSpPr txBox="1">
            <a:spLocks/>
          </p:cNvSpPr>
          <p:nvPr/>
        </p:nvSpPr>
        <p:spPr>
          <a:xfrm>
            <a:off x="8621973" y="1966285"/>
            <a:ext cx="2270920" cy="482558"/>
          </a:xfrm>
          <a:prstGeom prst="rect">
            <a:avLst/>
          </a:prstGeom>
        </p:spPr>
        <p:txBody>
          <a:bodyPr vert="horz" wrap="square" lIns="143266" tIns="89542" rIns="143266" bIns="89542" rtlCol="0" anchor="t">
            <a:spAutoFit/>
          </a:bodyPr>
          <a:lstStyle>
            <a:lvl1pPr marL="0" indent="0" algn="l" defTabSz="1048077" rtl="0" eaLnBrk="1" fontAlgn="base" hangingPunct="1">
              <a:spcBef>
                <a:spcPts val="1800"/>
              </a:spcBef>
              <a:spcAft>
                <a:spcPts val="0"/>
              </a:spcAft>
              <a:buClrTx/>
              <a:buFontTx/>
              <a:buNone/>
              <a:defRPr lang="en-US" sz="2000" b="0" cap="none" spc="-102" baseline="0" dirty="0" smtClean="0">
                <a:ln w="3175">
                  <a:noFill/>
                </a:ln>
                <a:solidFill>
                  <a:schemeClr val="tx1"/>
                </a:solidFill>
                <a:effectLst/>
                <a:latin typeface="+mn-lt"/>
                <a:ea typeface="+mn-ea"/>
                <a:cs typeface="Segoe UI" pitchFamily="34" charset="0"/>
              </a:defRPr>
            </a:lvl1pPr>
            <a:lvl2pPr marL="456597" marR="0" indent="-228300" algn="l" defTabSz="1048077" rtl="0" eaLnBrk="1" fontAlgn="base" latinLnBrk="0" hangingPunct="1">
              <a:lnSpc>
                <a:spcPct val="100000"/>
              </a:lnSpc>
              <a:spcBef>
                <a:spcPct val="20000"/>
              </a:spcBef>
              <a:spcAft>
                <a:spcPct val="0"/>
              </a:spcAft>
              <a:buClrTx/>
              <a:buSzTx/>
              <a:buFont typeface="Arial" panose="020B0604020202020204" pitchFamily="34" charset="0"/>
              <a:buChar char="•"/>
              <a:tabLst/>
              <a:defRPr lang="en-US" sz="1599" b="0" dirty="0" smtClean="0">
                <a:solidFill>
                  <a:schemeClr val="tx1"/>
                </a:solidFill>
                <a:latin typeface="+mn-lt"/>
                <a:cs typeface="+mn-cs"/>
              </a:defRPr>
            </a:lvl2pPr>
            <a:lvl3pPr marL="684897" indent="-228300" algn="l" defTabSz="1048077" rtl="0" eaLnBrk="1" fontAlgn="base" hangingPunct="1">
              <a:spcBef>
                <a:spcPts val="600"/>
              </a:spcBef>
              <a:spcAft>
                <a:spcPct val="0"/>
              </a:spcAft>
              <a:buClrTx/>
              <a:buFont typeface="Arial" pitchFamily="34" charset="0"/>
              <a:buChar char="•"/>
              <a:defRPr lang="en-US" sz="1599" b="0" dirty="0" smtClean="0">
                <a:solidFill>
                  <a:schemeClr val="tx1"/>
                </a:solidFill>
                <a:latin typeface="+mn-lt"/>
                <a:cs typeface="+mn-cs"/>
              </a:defRPr>
            </a:lvl3pPr>
            <a:lvl4pPr marL="913194" indent="-228300" algn="l" defTabSz="1048077" rtl="0" eaLnBrk="1" fontAlgn="base" hangingPunct="1">
              <a:spcBef>
                <a:spcPts val="600"/>
              </a:spcBef>
              <a:spcAft>
                <a:spcPct val="0"/>
              </a:spcAft>
              <a:buClrTx/>
              <a:buFont typeface="Arial" panose="020B0604020202020204" pitchFamily="34" charset="0"/>
              <a:buChar char="•"/>
              <a:defRPr lang="en-US" sz="1399" b="0" dirty="0" smtClean="0">
                <a:solidFill>
                  <a:schemeClr val="tx1"/>
                </a:solidFill>
                <a:latin typeface="+mn-lt"/>
                <a:cs typeface="+mn-cs"/>
              </a:defRPr>
            </a:lvl4pPr>
            <a:lvl5pPr marL="1141492" indent="-228300" algn="l" defTabSz="1048077" rtl="0" eaLnBrk="1" fontAlgn="base" hangingPunct="1">
              <a:spcBef>
                <a:spcPts val="600"/>
              </a:spcBef>
              <a:spcAft>
                <a:spcPct val="0"/>
              </a:spcAft>
              <a:buClrTx/>
              <a:buFont typeface="Arial" pitchFamily="34" charset="0"/>
              <a:buChar char="•"/>
              <a:defRPr lang="en-US" sz="1399" b="0" dirty="0">
                <a:solidFill>
                  <a:schemeClr val="tx1"/>
                </a:solidFill>
                <a:latin typeface="+mn-lt"/>
                <a:cs typeface="+mn-cs"/>
              </a:defRPr>
            </a:lvl5pPr>
            <a:lvl6pPr marL="2895322" indent="-260149" algn="l" defTabSz="1048077" rtl="0" eaLnBrk="1" fontAlgn="base" hangingPunct="1">
              <a:spcBef>
                <a:spcPct val="20000"/>
              </a:spcBef>
              <a:spcAft>
                <a:spcPct val="0"/>
              </a:spcAft>
              <a:buClr>
                <a:schemeClr val="tx2"/>
              </a:buClr>
              <a:buFont typeface="Trebuchet MS" pitchFamily="34" charset="0"/>
              <a:buChar char="–"/>
              <a:defRPr sz="1900">
                <a:solidFill>
                  <a:schemeClr val="tx1"/>
                </a:solidFill>
                <a:latin typeface="+mn-lt"/>
                <a:cs typeface="+mn-cs"/>
              </a:defRPr>
            </a:lvl6pPr>
            <a:lvl7pPr marL="3434337" indent="-260149" algn="l" defTabSz="1048077" rtl="0" eaLnBrk="1" fontAlgn="base" hangingPunct="1">
              <a:spcBef>
                <a:spcPct val="20000"/>
              </a:spcBef>
              <a:spcAft>
                <a:spcPct val="0"/>
              </a:spcAft>
              <a:buClr>
                <a:schemeClr val="tx2"/>
              </a:buClr>
              <a:buFont typeface="Trebuchet MS" pitchFamily="34" charset="0"/>
              <a:buChar char="–"/>
              <a:defRPr sz="1900">
                <a:solidFill>
                  <a:schemeClr val="tx1"/>
                </a:solidFill>
                <a:latin typeface="+mn-lt"/>
                <a:cs typeface="+mn-cs"/>
              </a:defRPr>
            </a:lvl7pPr>
            <a:lvl8pPr marL="3973347" indent="-260149" algn="l" defTabSz="1048077" rtl="0" eaLnBrk="1" fontAlgn="base" hangingPunct="1">
              <a:spcBef>
                <a:spcPct val="20000"/>
              </a:spcBef>
              <a:spcAft>
                <a:spcPct val="0"/>
              </a:spcAft>
              <a:buClr>
                <a:schemeClr val="tx2"/>
              </a:buClr>
              <a:buFont typeface="Trebuchet MS" pitchFamily="34" charset="0"/>
              <a:buChar char="–"/>
              <a:defRPr sz="1900">
                <a:solidFill>
                  <a:schemeClr val="tx1"/>
                </a:solidFill>
                <a:latin typeface="+mn-lt"/>
                <a:cs typeface="+mn-cs"/>
              </a:defRPr>
            </a:lvl8pPr>
            <a:lvl9pPr marL="4512360" indent="-260149" algn="l" defTabSz="1048077" rtl="0" eaLnBrk="1" fontAlgn="base" hangingPunct="1">
              <a:spcBef>
                <a:spcPct val="20000"/>
              </a:spcBef>
              <a:spcAft>
                <a:spcPct val="0"/>
              </a:spcAft>
              <a:buClr>
                <a:schemeClr val="tx2"/>
              </a:buClr>
              <a:buFont typeface="Trebuchet MS" pitchFamily="34" charset="0"/>
              <a:buChar char="–"/>
              <a:defRPr sz="1900">
                <a:solidFill>
                  <a:schemeClr val="tx1"/>
                </a:solidFill>
                <a:latin typeface="+mn-lt"/>
                <a:cs typeface="+mn-cs"/>
              </a:defRPr>
            </a:lvl9pPr>
          </a:lstStyle>
          <a:p>
            <a:pPr algn="ctr" defTabSz="914225">
              <a:defRPr/>
            </a:pPr>
            <a:r>
              <a:rPr sz="1961" i="1" spc="0">
                <a:solidFill>
                  <a:srgbClr val="505050"/>
                </a:solidFill>
                <a:latin typeface="Segoe UI Semibold" panose="020B0702040204020203" pitchFamily="34" charset="0"/>
                <a:cs typeface="Segoe UI Semibold" panose="020B0702040204020203" pitchFamily="34" charset="0"/>
              </a:rPr>
              <a:t>Motivators</a:t>
            </a:r>
          </a:p>
        </p:txBody>
      </p:sp>
      <p:sp>
        <p:nvSpPr>
          <p:cNvPr id="22" name="Pentagon 22"/>
          <p:cNvSpPr/>
          <p:nvPr/>
        </p:nvSpPr>
        <p:spPr bwMode="auto">
          <a:xfrm>
            <a:off x="-1496283" y="1846813"/>
            <a:ext cx="365760" cy="1005840"/>
          </a:xfrm>
          <a:prstGeom prst="chevron">
            <a:avLst/>
          </a:prstGeom>
          <a:solidFill>
            <a:schemeClr val="bg1"/>
          </a:solidFill>
          <a:ln w="317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defRPr/>
            </a:pPr>
            <a:endParaRPr lang="en-US" sz="1400" kern="0" err="1">
              <a:solidFill>
                <a:srgbClr val="505050"/>
              </a:solidFill>
            </a:endParaRPr>
          </a:p>
        </p:txBody>
      </p:sp>
      <p:sp>
        <p:nvSpPr>
          <p:cNvPr id="23" name="Pentagon 22"/>
          <p:cNvSpPr/>
          <p:nvPr/>
        </p:nvSpPr>
        <p:spPr bwMode="auto">
          <a:xfrm>
            <a:off x="8450547" y="1903514"/>
            <a:ext cx="365760" cy="1005840"/>
          </a:xfrm>
          <a:prstGeom prst="chevron">
            <a:avLst/>
          </a:prstGeom>
          <a:solidFill>
            <a:schemeClr val="bg1"/>
          </a:solidFill>
          <a:ln w="317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defRPr/>
            </a:pPr>
            <a:endParaRPr lang="en-US" sz="1400" kern="0" err="1">
              <a:solidFill>
                <a:srgbClr val="505050"/>
              </a:solidFill>
            </a:endParaRPr>
          </a:p>
        </p:txBody>
      </p:sp>
      <p:grpSp>
        <p:nvGrpSpPr>
          <p:cNvPr id="24" name="Group 23"/>
          <p:cNvGrpSpPr/>
          <p:nvPr/>
        </p:nvGrpSpPr>
        <p:grpSpPr>
          <a:xfrm>
            <a:off x="5195604" y="2752312"/>
            <a:ext cx="1931885" cy="2425072"/>
            <a:chOff x="2900270" y="1951829"/>
            <a:chExt cx="714820" cy="897305"/>
          </a:xfrm>
        </p:grpSpPr>
        <p:sp>
          <p:nvSpPr>
            <p:cNvPr id="25" name="Freeform: Shape 24"/>
            <p:cNvSpPr>
              <a:spLocks noChangeAspect="1"/>
            </p:cNvSpPr>
            <p:nvPr/>
          </p:nvSpPr>
          <p:spPr>
            <a:xfrm>
              <a:off x="3115266" y="2264015"/>
              <a:ext cx="284829" cy="172301"/>
            </a:xfrm>
            <a:custGeom>
              <a:avLst/>
              <a:gdLst>
                <a:gd name="connsiteX0" fmla="*/ 2320655 w 4641308"/>
                <a:gd name="connsiteY0" fmla="*/ 2131841 h 2807661"/>
                <a:gd name="connsiteX1" fmla="*/ 2658565 w 4641308"/>
                <a:gd name="connsiteY1" fmla="*/ 2469751 h 2807661"/>
                <a:gd name="connsiteX2" fmla="*/ 2320655 w 4641308"/>
                <a:gd name="connsiteY2" fmla="*/ 2807661 h 2807661"/>
                <a:gd name="connsiteX3" fmla="*/ 1982745 w 4641308"/>
                <a:gd name="connsiteY3" fmla="*/ 2469751 h 2807661"/>
                <a:gd name="connsiteX4" fmla="*/ 2320655 w 4641308"/>
                <a:gd name="connsiteY4" fmla="*/ 2131841 h 2807661"/>
                <a:gd name="connsiteX5" fmla="*/ 2302761 w 4641308"/>
                <a:gd name="connsiteY5" fmla="*/ 1551728 h 2807661"/>
                <a:gd name="connsiteX6" fmla="*/ 3231787 w 4641308"/>
                <a:gd name="connsiteY6" fmla="*/ 1937010 h 2807661"/>
                <a:gd name="connsiteX7" fmla="*/ 3107502 w 4641308"/>
                <a:gd name="connsiteY7" fmla="*/ 2042652 h 2807661"/>
                <a:gd name="connsiteX8" fmla="*/ 2312082 w 4641308"/>
                <a:gd name="connsiteY8" fmla="*/ 1716405 h 2807661"/>
                <a:gd name="connsiteX9" fmla="*/ 1525983 w 4641308"/>
                <a:gd name="connsiteY9" fmla="*/ 2042652 h 2807661"/>
                <a:gd name="connsiteX10" fmla="*/ 1407913 w 4641308"/>
                <a:gd name="connsiteY10" fmla="*/ 1937010 h 2807661"/>
                <a:gd name="connsiteX11" fmla="*/ 2302761 w 4641308"/>
                <a:gd name="connsiteY11" fmla="*/ 1551728 h 2807661"/>
                <a:gd name="connsiteX12" fmla="*/ 2291336 w 4641308"/>
                <a:gd name="connsiteY12" fmla="*/ 826091 h 2807661"/>
                <a:gd name="connsiteX13" fmla="*/ 3813487 w 4641308"/>
                <a:gd name="connsiteY13" fmla="*/ 1457351 h 2807661"/>
                <a:gd name="connsiteX14" fmla="*/ 3609855 w 4641308"/>
                <a:gd name="connsiteY14" fmla="*/ 1630438 h 2807661"/>
                <a:gd name="connsiteX15" fmla="*/ 2306608 w 4641308"/>
                <a:gd name="connsiteY15" fmla="*/ 1095904 h 2807661"/>
                <a:gd name="connsiteX16" fmla="*/ 1018634 w 4641308"/>
                <a:gd name="connsiteY16" fmla="*/ 1630438 h 2807661"/>
                <a:gd name="connsiteX17" fmla="*/ 825184 w 4641308"/>
                <a:gd name="connsiteY17" fmla="*/ 1457351 h 2807661"/>
                <a:gd name="connsiteX18" fmla="*/ 2291336 w 4641308"/>
                <a:gd name="connsiteY18" fmla="*/ 826091 h 2807661"/>
                <a:gd name="connsiteX19" fmla="*/ 2276027 w 4641308"/>
                <a:gd name="connsiteY19" fmla="*/ 881 h 2807661"/>
                <a:gd name="connsiteX20" fmla="*/ 4593023 w 4641308"/>
                <a:gd name="connsiteY20" fmla="*/ 961776 h 2807661"/>
                <a:gd name="connsiteX21" fmla="*/ 4283057 w 4641308"/>
                <a:gd name="connsiteY21" fmla="*/ 1225247 h 2807661"/>
                <a:gd name="connsiteX22" fmla="*/ 2299274 w 4641308"/>
                <a:gd name="connsiteY22" fmla="*/ 411586 h 2807661"/>
                <a:gd name="connsiteX23" fmla="*/ 338738 w 4641308"/>
                <a:gd name="connsiteY23" fmla="*/ 1225247 h 2807661"/>
                <a:gd name="connsiteX24" fmla="*/ 44271 w 4641308"/>
                <a:gd name="connsiteY24" fmla="*/ 961776 h 2807661"/>
                <a:gd name="connsiteX25" fmla="*/ 2276027 w 4641308"/>
                <a:gd name="connsiteY25" fmla="*/ 881 h 280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41308" h="2807661">
                  <a:moveTo>
                    <a:pt x="2320655" y="2131841"/>
                  </a:moveTo>
                  <a:cubicBezTo>
                    <a:pt x="2507278" y="2131841"/>
                    <a:pt x="2658565" y="2283128"/>
                    <a:pt x="2658565" y="2469751"/>
                  </a:cubicBezTo>
                  <a:cubicBezTo>
                    <a:pt x="2658565" y="2656374"/>
                    <a:pt x="2507278" y="2807661"/>
                    <a:pt x="2320655" y="2807661"/>
                  </a:cubicBezTo>
                  <a:cubicBezTo>
                    <a:pt x="2134032" y="2807661"/>
                    <a:pt x="1982745" y="2656374"/>
                    <a:pt x="1982745" y="2469751"/>
                  </a:cubicBezTo>
                  <a:cubicBezTo>
                    <a:pt x="1982745" y="2283128"/>
                    <a:pt x="2134032" y="2131841"/>
                    <a:pt x="2320655" y="2131841"/>
                  </a:cubicBezTo>
                  <a:close/>
                  <a:moveTo>
                    <a:pt x="2302761" y="1551728"/>
                  </a:moveTo>
                  <a:cubicBezTo>
                    <a:pt x="2836666" y="1539300"/>
                    <a:pt x="3140082" y="1858638"/>
                    <a:pt x="3231787" y="1937010"/>
                  </a:cubicBezTo>
                  <a:cubicBezTo>
                    <a:pt x="3293227" y="1989518"/>
                    <a:pt x="3196582" y="2106859"/>
                    <a:pt x="3107502" y="2042652"/>
                  </a:cubicBezTo>
                  <a:cubicBezTo>
                    <a:pt x="2963766" y="1939049"/>
                    <a:pt x="2734131" y="1722620"/>
                    <a:pt x="2312082" y="1716405"/>
                  </a:cubicBezTo>
                  <a:cubicBezTo>
                    <a:pt x="1890033" y="1710191"/>
                    <a:pt x="1605247" y="1983897"/>
                    <a:pt x="1525983" y="2042652"/>
                  </a:cubicBezTo>
                  <a:cubicBezTo>
                    <a:pt x="1446719" y="2101406"/>
                    <a:pt x="1349676" y="1997642"/>
                    <a:pt x="1407913" y="1937010"/>
                  </a:cubicBezTo>
                  <a:cubicBezTo>
                    <a:pt x="1466150" y="1876378"/>
                    <a:pt x="1768856" y="1564157"/>
                    <a:pt x="2302761" y="1551728"/>
                  </a:cubicBezTo>
                  <a:close/>
                  <a:moveTo>
                    <a:pt x="2291336" y="826091"/>
                  </a:moveTo>
                  <a:cubicBezTo>
                    <a:pt x="3166107" y="805727"/>
                    <a:pt x="3663235" y="1328944"/>
                    <a:pt x="3813487" y="1457351"/>
                  </a:cubicBezTo>
                  <a:cubicBezTo>
                    <a:pt x="3914154" y="1543383"/>
                    <a:pt x="3755806" y="1735638"/>
                    <a:pt x="3609855" y="1630438"/>
                  </a:cubicBezTo>
                  <a:cubicBezTo>
                    <a:pt x="3374352" y="1460692"/>
                    <a:pt x="2998109" y="1106086"/>
                    <a:pt x="2306608" y="1095904"/>
                  </a:cubicBezTo>
                  <a:cubicBezTo>
                    <a:pt x="1615107" y="1085722"/>
                    <a:pt x="1148503" y="1534173"/>
                    <a:pt x="1018634" y="1630438"/>
                  </a:cubicBezTo>
                  <a:cubicBezTo>
                    <a:pt x="888765" y="1726704"/>
                    <a:pt x="729766" y="1556692"/>
                    <a:pt x="825184" y="1457351"/>
                  </a:cubicBezTo>
                  <a:cubicBezTo>
                    <a:pt x="920602" y="1358010"/>
                    <a:pt x="1416566" y="846454"/>
                    <a:pt x="2291336" y="826091"/>
                  </a:cubicBezTo>
                  <a:close/>
                  <a:moveTo>
                    <a:pt x="2276027" y="881"/>
                  </a:moveTo>
                  <a:cubicBezTo>
                    <a:pt x="3607590" y="-30116"/>
                    <a:pt x="4364312" y="766316"/>
                    <a:pt x="4593023" y="961776"/>
                  </a:cubicBezTo>
                  <a:cubicBezTo>
                    <a:pt x="4746257" y="1092732"/>
                    <a:pt x="4505222" y="1385380"/>
                    <a:pt x="4283057" y="1225247"/>
                  </a:cubicBezTo>
                  <a:cubicBezTo>
                    <a:pt x="3924578" y="966862"/>
                    <a:pt x="3351867" y="427085"/>
                    <a:pt x="2299274" y="411586"/>
                  </a:cubicBezTo>
                  <a:cubicBezTo>
                    <a:pt x="1246681" y="396087"/>
                    <a:pt x="536423" y="1078713"/>
                    <a:pt x="338738" y="1225247"/>
                  </a:cubicBezTo>
                  <a:cubicBezTo>
                    <a:pt x="141053" y="1371781"/>
                    <a:pt x="-100973" y="1112992"/>
                    <a:pt x="44271" y="961776"/>
                  </a:cubicBezTo>
                  <a:cubicBezTo>
                    <a:pt x="189515" y="810560"/>
                    <a:pt x="944464" y="31878"/>
                    <a:pt x="2276027" y="88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Freeform 2"/>
            <p:cNvSpPr/>
            <p:nvPr/>
          </p:nvSpPr>
          <p:spPr>
            <a:xfrm>
              <a:off x="3039357" y="1951829"/>
              <a:ext cx="436647" cy="269256"/>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chemeClr val="bg2">
                <a:lumMod val="50000"/>
                <a:alpha val="5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27" name="Group 26"/>
            <p:cNvGrpSpPr>
              <a:grpSpLocks noChangeAspect="1"/>
            </p:cNvGrpSpPr>
            <p:nvPr/>
          </p:nvGrpSpPr>
          <p:grpSpPr>
            <a:xfrm>
              <a:off x="2900270" y="2472279"/>
              <a:ext cx="714820" cy="376855"/>
              <a:chOff x="-7667934" y="-4472597"/>
              <a:chExt cx="9727651" cy="5128442"/>
            </a:xfrm>
          </p:grpSpPr>
          <p:sp>
            <p:nvSpPr>
              <p:cNvPr id="28" name="Circle: Hollow 27"/>
              <p:cNvSpPr/>
              <p:nvPr/>
            </p:nvSpPr>
            <p:spPr>
              <a:xfrm>
                <a:off x="-6501554" y="-1418972"/>
                <a:ext cx="2074817" cy="2074817"/>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9" name="Circle: Hollow 28"/>
              <p:cNvSpPr/>
              <p:nvPr/>
            </p:nvSpPr>
            <p:spPr>
              <a:xfrm>
                <a:off x="-1422429" y="-1418972"/>
                <a:ext cx="2074817" cy="2074817"/>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0" name="Freeform: Shape 29"/>
              <p:cNvSpPr/>
              <p:nvPr/>
            </p:nvSpPr>
            <p:spPr>
              <a:xfrm>
                <a:off x="-7667934" y="-4472597"/>
                <a:ext cx="9727651" cy="4327188"/>
              </a:xfrm>
              <a:custGeom>
                <a:avLst/>
                <a:gdLst>
                  <a:gd name="connsiteX0" fmla="*/ 5189008 w 9727651"/>
                  <a:gd name="connsiteY0" fmla="*/ 392622 h 4327188"/>
                  <a:gd name="connsiteX1" fmla="*/ 4875190 w 9727651"/>
                  <a:gd name="connsiteY1" fmla="*/ 393831 h 4327188"/>
                  <a:gd name="connsiteX2" fmla="*/ 4863825 w 9727651"/>
                  <a:gd name="connsiteY2" fmla="*/ 393904 h 4327188"/>
                  <a:gd name="connsiteX3" fmla="*/ 4863825 w 9727651"/>
                  <a:gd name="connsiteY3" fmla="*/ 1750130 h 4327188"/>
                  <a:gd name="connsiteX4" fmla="*/ 7379074 w 9727651"/>
                  <a:gd name="connsiteY4" fmla="*/ 1750130 h 4327188"/>
                  <a:gd name="connsiteX5" fmla="*/ 7287244 w 9727651"/>
                  <a:gd name="connsiteY5" fmla="*/ 1615982 h 4327188"/>
                  <a:gd name="connsiteX6" fmla="*/ 5189008 w 9727651"/>
                  <a:gd name="connsiteY6" fmla="*/ 392622 h 4327188"/>
                  <a:gd name="connsiteX7" fmla="*/ 4315134 w 9727651"/>
                  <a:gd name="connsiteY7" fmla="*/ 389302 h 4327188"/>
                  <a:gd name="connsiteX8" fmla="*/ 4145447 w 9727651"/>
                  <a:gd name="connsiteY8" fmla="*/ 394084 h 4327188"/>
                  <a:gd name="connsiteX9" fmla="*/ 1926233 w 9727651"/>
                  <a:gd name="connsiteY9" fmla="*/ 1643041 h 4327188"/>
                  <a:gd name="connsiteX10" fmla="*/ 1888384 w 9727651"/>
                  <a:gd name="connsiteY10" fmla="*/ 1750130 h 4327188"/>
                  <a:gd name="connsiteX11" fmla="*/ 4315134 w 9727651"/>
                  <a:gd name="connsiteY11" fmla="*/ 1750130 h 4327188"/>
                  <a:gd name="connsiteX12" fmla="*/ 4356692 w 9727651"/>
                  <a:gd name="connsiteY12" fmla="*/ 1232 h 4327188"/>
                  <a:gd name="connsiteX13" fmla="*/ 4586069 w 9727651"/>
                  <a:gd name="connsiteY13" fmla="*/ 2199 h 4327188"/>
                  <a:gd name="connsiteX14" fmla="*/ 7969553 w 9727651"/>
                  <a:gd name="connsiteY14" fmla="*/ 1735030 h 4327188"/>
                  <a:gd name="connsiteX15" fmla="*/ 7979239 w 9727651"/>
                  <a:gd name="connsiteY15" fmla="*/ 1750130 h 4327188"/>
                  <a:gd name="connsiteX16" fmla="*/ 8710048 w 9727651"/>
                  <a:gd name="connsiteY16" fmla="*/ 1750130 h 4327188"/>
                  <a:gd name="connsiteX17" fmla="*/ 9727651 w 9727651"/>
                  <a:gd name="connsiteY17" fmla="*/ 2767733 h 4327188"/>
                  <a:gd name="connsiteX18" fmla="*/ 9727651 w 9727651"/>
                  <a:gd name="connsiteY18" fmla="*/ 3309585 h 4327188"/>
                  <a:gd name="connsiteX19" fmla="*/ 8710048 w 9727651"/>
                  <a:gd name="connsiteY19" fmla="*/ 4327188 h 4327188"/>
                  <a:gd name="connsiteX20" fmla="*/ 8438949 w 9727651"/>
                  <a:gd name="connsiteY20" fmla="*/ 4327188 h 4327188"/>
                  <a:gd name="connsiteX21" fmla="*/ 8439613 w 9727651"/>
                  <a:gd name="connsiteY21" fmla="*/ 4325048 h 4327188"/>
                  <a:gd name="connsiteX22" fmla="*/ 8463273 w 9727651"/>
                  <a:gd name="connsiteY22" fmla="*/ 4090344 h 4327188"/>
                  <a:gd name="connsiteX23" fmla="*/ 7298691 w 9727651"/>
                  <a:gd name="connsiteY23" fmla="*/ 2925762 h 4327188"/>
                  <a:gd name="connsiteX24" fmla="*/ 6134109 w 9727651"/>
                  <a:gd name="connsiteY24" fmla="*/ 4090344 h 4327188"/>
                  <a:gd name="connsiteX25" fmla="*/ 6157769 w 9727651"/>
                  <a:gd name="connsiteY25" fmla="*/ 4325048 h 4327188"/>
                  <a:gd name="connsiteX26" fmla="*/ 6158433 w 9727651"/>
                  <a:gd name="connsiteY26" fmla="*/ 4327188 h 4327188"/>
                  <a:gd name="connsiteX27" fmla="*/ 3359824 w 9727651"/>
                  <a:gd name="connsiteY27" fmla="*/ 4327188 h 4327188"/>
                  <a:gd name="connsiteX28" fmla="*/ 3360488 w 9727651"/>
                  <a:gd name="connsiteY28" fmla="*/ 4325048 h 4327188"/>
                  <a:gd name="connsiteX29" fmla="*/ 3384148 w 9727651"/>
                  <a:gd name="connsiteY29" fmla="*/ 4090344 h 4327188"/>
                  <a:gd name="connsiteX30" fmla="*/ 2219566 w 9727651"/>
                  <a:gd name="connsiteY30" fmla="*/ 2925762 h 4327188"/>
                  <a:gd name="connsiteX31" fmla="*/ 1054984 w 9727651"/>
                  <a:gd name="connsiteY31" fmla="*/ 4090344 h 4327188"/>
                  <a:gd name="connsiteX32" fmla="*/ 1078645 w 9727651"/>
                  <a:gd name="connsiteY32" fmla="*/ 4325048 h 4327188"/>
                  <a:gd name="connsiteX33" fmla="*/ 1079309 w 9727651"/>
                  <a:gd name="connsiteY33" fmla="*/ 4327188 h 4327188"/>
                  <a:gd name="connsiteX34" fmla="*/ 1017603 w 9727651"/>
                  <a:gd name="connsiteY34" fmla="*/ 4327188 h 4327188"/>
                  <a:gd name="connsiteX35" fmla="*/ 0 w 9727651"/>
                  <a:gd name="connsiteY35" fmla="*/ 3309585 h 4327188"/>
                  <a:gd name="connsiteX36" fmla="*/ 0 w 9727651"/>
                  <a:gd name="connsiteY36" fmla="*/ 2767733 h 4327188"/>
                  <a:gd name="connsiteX37" fmla="*/ 1017603 w 9727651"/>
                  <a:gd name="connsiteY37" fmla="*/ 1750130 h 4327188"/>
                  <a:gd name="connsiteX38" fmla="*/ 1209415 w 9727651"/>
                  <a:gd name="connsiteY38" fmla="*/ 1750130 h 4327188"/>
                  <a:gd name="connsiteX39" fmla="*/ 1232083 w 9727651"/>
                  <a:gd name="connsiteY39" fmla="*/ 1654215 h 4327188"/>
                  <a:gd name="connsiteX40" fmla="*/ 4356692 w 9727651"/>
                  <a:gd name="connsiteY40" fmla="*/ 1232 h 432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727651" h="4327188">
                    <a:moveTo>
                      <a:pt x="5189008" y="392622"/>
                    </a:moveTo>
                    <a:cubicBezTo>
                      <a:pt x="5083963" y="391073"/>
                      <a:pt x="4979447" y="392612"/>
                      <a:pt x="4875190" y="393831"/>
                    </a:cubicBezTo>
                    <a:lnTo>
                      <a:pt x="4863825" y="393904"/>
                    </a:lnTo>
                    <a:lnTo>
                      <a:pt x="4863825" y="1750130"/>
                    </a:lnTo>
                    <a:lnTo>
                      <a:pt x="7379074" y="1750130"/>
                    </a:lnTo>
                    <a:lnTo>
                      <a:pt x="7287244" y="1615982"/>
                    </a:lnTo>
                    <a:cubicBezTo>
                      <a:pt x="6522774" y="532642"/>
                      <a:pt x="5845540" y="402304"/>
                      <a:pt x="5189008" y="392622"/>
                    </a:cubicBezTo>
                    <a:close/>
                    <a:moveTo>
                      <a:pt x="4315134" y="389302"/>
                    </a:moveTo>
                    <a:lnTo>
                      <a:pt x="4145447" y="394084"/>
                    </a:lnTo>
                    <a:cubicBezTo>
                      <a:pt x="3300271" y="436964"/>
                      <a:pt x="2301149" y="743298"/>
                      <a:pt x="1926233" y="1643041"/>
                    </a:cubicBezTo>
                    <a:lnTo>
                      <a:pt x="1888384" y="1750130"/>
                    </a:lnTo>
                    <a:lnTo>
                      <a:pt x="4315134" y="1750130"/>
                    </a:lnTo>
                    <a:close/>
                    <a:moveTo>
                      <a:pt x="4356692" y="1232"/>
                    </a:moveTo>
                    <a:cubicBezTo>
                      <a:pt x="4436017" y="-699"/>
                      <a:pt x="4512692" y="-350"/>
                      <a:pt x="4586069" y="2199"/>
                    </a:cubicBezTo>
                    <a:cubicBezTo>
                      <a:pt x="5686736" y="40431"/>
                      <a:pt x="6730848" y="-137261"/>
                      <a:pt x="7969553" y="1735030"/>
                    </a:cubicBezTo>
                    <a:lnTo>
                      <a:pt x="7979239" y="1750130"/>
                    </a:lnTo>
                    <a:lnTo>
                      <a:pt x="8710048" y="1750130"/>
                    </a:lnTo>
                    <a:cubicBezTo>
                      <a:pt x="9272055" y="1750130"/>
                      <a:pt x="9727651" y="2205726"/>
                      <a:pt x="9727651" y="2767733"/>
                    </a:cubicBezTo>
                    <a:lnTo>
                      <a:pt x="9727651" y="3309585"/>
                    </a:lnTo>
                    <a:cubicBezTo>
                      <a:pt x="9727651" y="3871592"/>
                      <a:pt x="9272055" y="4327188"/>
                      <a:pt x="8710048" y="4327188"/>
                    </a:cubicBezTo>
                    <a:lnTo>
                      <a:pt x="8438949" y="4327188"/>
                    </a:lnTo>
                    <a:lnTo>
                      <a:pt x="8439613" y="4325048"/>
                    </a:lnTo>
                    <a:cubicBezTo>
                      <a:pt x="8455126" y="4249236"/>
                      <a:pt x="8463273" y="4170742"/>
                      <a:pt x="8463273" y="4090344"/>
                    </a:cubicBezTo>
                    <a:cubicBezTo>
                      <a:pt x="8463273" y="3447163"/>
                      <a:pt x="7941872" y="2925762"/>
                      <a:pt x="7298691" y="2925762"/>
                    </a:cubicBezTo>
                    <a:cubicBezTo>
                      <a:pt x="6655510" y="2925762"/>
                      <a:pt x="6134109" y="3447163"/>
                      <a:pt x="6134109" y="4090344"/>
                    </a:cubicBezTo>
                    <a:cubicBezTo>
                      <a:pt x="6134109" y="4170742"/>
                      <a:pt x="6142256" y="4249236"/>
                      <a:pt x="6157769" y="4325048"/>
                    </a:cubicBezTo>
                    <a:lnTo>
                      <a:pt x="6158433" y="4327188"/>
                    </a:lnTo>
                    <a:lnTo>
                      <a:pt x="3359824" y="4327188"/>
                    </a:lnTo>
                    <a:lnTo>
                      <a:pt x="3360488" y="4325048"/>
                    </a:lnTo>
                    <a:cubicBezTo>
                      <a:pt x="3376001" y="4249236"/>
                      <a:pt x="3384148" y="4170742"/>
                      <a:pt x="3384148" y="4090344"/>
                    </a:cubicBezTo>
                    <a:cubicBezTo>
                      <a:pt x="3384148" y="3447163"/>
                      <a:pt x="2862747" y="2925762"/>
                      <a:pt x="2219566" y="2925762"/>
                    </a:cubicBezTo>
                    <a:cubicBezTo>
                      <a:pt x="1576385" y="2925762"/>
                      <a:pt x="1054984" y="3447163"/>
                      <a:pt x="1054984" y="4090344"/>
                    </a:cubicBezTo>
                    <a:cubicBezTo>
                      <a:pt x="1054984" y="4170742"/>
                      <a:pt x="1063131" y="4249236"/>
                      <a:pt x="1078645" y="4325048"/>
                    </a:cubicBezTo>
                    <a:lnTo>
                      <a:pt x="1079309" y="4327188"/>
                    </a:lnTo>
                    <a:lnTo>
                      <a:pt x="1017603" y="4327188"/>
                    </a:lnTo>
                    <a:cubicBezTo>
                      <a:pt x="455596" y="4327188"/>
                      <a:pt x="0" y="3871592"/>
                      <a:pt x="0" y="3309585"/>
                    </a:cubicBezTo>
                    <a:lnTo>
                      <a:pt x="0" y="2767733"/>
                    </a:lnTo>
                    <a:cubicBezTo>
                      <a:pt x="0" y="2205726"/>
                      <a:pt x="455596" y="1750130"/>
                      <a:pt x="1017603" y="1750130"/>
                    </a:cubicBezTo>
                    <a:lnTo>
                      <a:pt x="1209415" y="1750130"/>
                    </a:lnTo>
                    <a:lnTo>
                      <a:pt x="1232083" y="1654215"/>
                    </a:lnTo>
                    <a:cubicBezTo>
                      <a:pt x="1601377" y="506259"/>
                      <a:pt x="3241176" y="28383"/>
                      <a:pt x="4356692" y="123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spTree>
    <p:extLst>
      <p:ext uri="{BB962C8B-B14F-4D97-AF65-F5344CB8AC3E}">
        <p14:creationId xmlns:p14="http://schemas.microsoft.com/office/powerpoint/2010/main" val="47498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p:nvPr/>
        </p:nvSpPr>
        <p:spPr bwMode="auto">
          <a:xfrm>
            <a:off x="-43781" y="3922524"/>
            <a:ext cx="12355524" cy="294915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27" name="Rectangle 26"/>
          <p:cNvSpPr/>
          <p:nvPr/>
        </p:nvSpPr>
        <p:spPr>
          <a:xfrm>
            <a:off x="253121" y="1224425"/>
            <a:ext cx="11954085" cy="380151"/>
          </a:xfrm>
          <a:prstGeom prst="rect">
            <a:avLst/>
          </a:prstGeom>
        </p:spPr>
        <p:txBody>
          <a:bodyPr vert="horz" wrap="square" lIns="146118" tIns="91324" rIns="146118" bIns="91324" rtlCol="0" anchor="t">
            <a:noAutofit/>
          </a:bodyPr>
          <a:lstStyle/>
          <a:p>
            <a:pPr defTabSz="1027430" fontAlgn="base">
              <a:spcBef>
                <a:spcPts val="1765"/>
              </a:spcBef>
              <a:defRPr/>
            </a:pPr>
            <a:endParaRPr lang="en-US" spc="-100">
              <a:ln w="3175">
                <a:noFill/>
              </a:ln>
              <a:solidFill>
                <a:srgbClr val="505050"/>
              </a:solidFill>
              <a:cs typeface="Segoe UI" pitchFamily="34" charset="0"/>
            </a:endParaRPr>
          </a:p>
        </p:txBody>
      </p:sp>
      <p:sp>
        <p:nvSpPr>
          <p:cNvPr id="32" name="Title 1"/>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529" kern="0">
              <a:solidFill>
                <a:srgbClr val="0072C6"/>
              </a:solidFill>
            </a:endParaRPr>
          </a:p>
        </p:txBody>
      </p:sp>
      <p:sp>
        <p:nvSpPr>
          <p:cNvPr id="36" name="Title 35"/>
          <p:cNvSpPr>
            <a:spLocks noGrp="1"/>
          </p:cNvSpPr>
          <p:nvPr>
            <p:ph type="title"/>
          </p:nvPr>
        </p:nvSpPr>
        <p:spPr/>
        <p:txBody>
          <a:bodyPr/>
          <a:lstStyle/>
          <a:p>
            <a:r>
              <a:rPr lang="en-US"/>
              <a:t>Challenges facing OEMs</a:t>
            </a:r>
          </a:p>
        </p:txBody>
      </p:sp>
      <p:sp>
        <p:nvSpPr>
          <p:cNvPr id="3" name="Freeform: Shape 2"/>
          <p:cNvSpPr/>
          <p:nvPr/>
        </p:nvSpPr>
        <p:spPr>
          <a:xfrm>
            <a:off x="328924" y="5630001"/>
            <a:ext cx="958596" cy="646331"/>
          </a:xfrm>
          <a:custGeom>
            <a:avLst/>
            <a:gdLst>
              <a:gd name="connsiteX0" fmla="*/ 0 w 3869531"/>
              <a:gd name="connsiteY0" fmla="*/ 0 h 2321718"/>
              <a:gd name="connsiteX1" fmla="*/ 3869531 w 3869531"/>
              <a:gd name="connsiteY1" fmla="*/ 0 h 2321718"/>
              <a:gd name="connsiteX2" fmla="*/ 3869531 w 3869531"/>
              <a:gd name="connsiteY2" fmla="*/ 2321718 h 2321718"/>
              <a:gd name="connsiteX3" fmla="*/ 0 w 3869531"/>
              <a:gd name="connsiteY3" fmla="*/ 2321718 h 2321718"/>
              <a:gd name="connsiteX4" fmla="*/ 0 w 3869531"/>
              <a:gd name="connsiteY4" fmla="*/ 0 h 2321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531" h="2321718">
                <a:moveTo>
                  <a:pt x="0" y="0"/>
                </a:moveTo>
                <a:lnTo>
                  <a:pt x="3869531" y="0"/>
                </a:lnTo>
                <a:lnTo>
                  <a:pt x="3869531" y="2321718"/>
                </a:lnTo>
                <a:lnTo>
                  <a:pt x="0" y="2321718"/>
                </a:lnTo>
                <a:lnTo>
                  <a:pt x="0" y="0"/>
                </a:lnTo>
                <a:close/>
              </a:path>
            </a:pathLst>
          </a:custGeom>
          <a:no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none" lIns="0" tIns="91440" rIns="0" bIns="0" numCol="1" spcCol="1270" anchor="t" anchorCtr="0">
            <a:spAutoFit/>
          </a:bodyPr>
          <a:lstStyle/>
          <a:p>
            <a:pPr algn="ctr" defTabSz="2400300">
              <a:lnSpc>
                <a:spcPct val="90000"/>
              </a:lnSpc>
              <a:spcBef>
                <a:spcPct val="0"/>
              </a:spcBef>
              <a:spcAft>
                <a:spcPct val="35000"/>
              </a:spcAft>
            </a:pPr>
            <a:r>
              <a:rPr lang="en-US" sz="4000">
                <a:solidFill>
                  <a:srgbClr val="44B0FF"/>
                </a:solidFill>
                <a:latin typeface="Segoe UI Light"/>
              </a:rPr>
              <a:t>Cost</a:t>
            </a:r>
          </a:p>
        </p:txBody>
      </p:sp>
      <p:sp>
        <p:nvSpPr>
          <p:cNvPr id="4" name="Freeform: Shape 3"/>
          <p:cNvSpPr/>
          <p:nvPr/>
        </p:nvSpPr>
        <p:spPr>
          <a:xfrm>
            <a:off x="4590629" y="5630001"/>
            <a:ext cx="2388474" cy="646331"/>
          </a:xfrm>
          <a:custGeom>
            <a:avLst/>
            <a:gdLst>
              <a:gd name="connsiteX0" fmla="*/ 0 w 3869531"/>
              <a:gd name="connsiteY0" fmla="*/ 0 h 2321718"/>
              <a:gd name="connsiteX1" fmla="*/ 3869531 w 3869531"/>
              <a:gd name="connsiteY1" fmla="*/ 0 h 2321718"/>
              <a:gd name="connsiteX2" fmla="*/ 3869531 w 3869531"/>
              <a:gd name="connsiteY2" fmla="*/ 2321718 h 2321718"/>
              <a:gd name="connsiteX3" fmla="*/ 0 w 3869531"/>
              <a:gd name="connsiteY3" fmla="*/ 2321718 h 2321718"/>
              <a:gd name="connsiteX4" fmla="*/ 0 w 3869531"/>
              <a:gd name="connsiteY4" fmla="*/ 0 h 2321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531" h="2321718">
                <a:moveTo>
                  <a:pt x="0" y="0"/>
                </a:moveTo>
                <a:lnTo>
                  <a:pt x="3869531" y="0"/>
                </a:lnTo>
                <a:lnTo>
                  <a:pt x="3869531" y="2321718"/>
                </a:lnTo>
                <a:lnTo>
                  <a:pt x="0" y="2321718"/>
                </a:lnTo>
                <a:lnTo>
                  <a:pt x="0" y="0"/>
                </a:lnTo>
                <a:close/>
              </a:path>
            </a:pathLst>
          </a:custGeom>
          <a:no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none" lIns="0" tIns="91440" rIns="0" bIns="0" numCol="1" spcCol="1270" anchor="t" anchorCtr="0">
            <a:spAutoFit/>
          </a:bodyPr>
          <a:lstStyle/>
          <a:p>
            <a:pPr algn="ctr" defTabSz="2400300">
              <a:lnSpc>
                <a:spcPct val="90000"/>
              </a:lnSpc>
              <a:spcBef>
                <a:spcPct val="0"/>
              </a:spcBef>
              <a:spcAft>
                <a:spcPct val="35000"/>
              </a:spcAft>
            </a:pPr>
            <a:r>
              <a:rPr lang="en-US" sz="4000">
                <a:solidFill>
                  <a:srgbClr val="44B0FF"/>
                </a:solidFill>
                <a:latin typeface="Segoe UI Light"/>
              </a:rPr>
              <a:t>Complexity</a:t>
            </a:r>
          </a:p>
        </p:txBody>
      </p:sp>
      <p:sp>
        <p:nvSpPr>
          <p:cNvPr id="5" name="Freeform: Shape 4"/>
          <p:cNvSpPr/>
          <p:nvPr/>
        </p:nvSpPr>
        <p:spPr>
          <a:xfrm>
            <a:off x="2518137" y="5630001"/>
            <a:ext cx="1101263" cy="646331"/>
          </a:xfrm>
          <a:custGeom>
            <a:avLst/>
            <a:gdLst>
              <a:gd name="connsiteX0" fmla="*/ 0 w 3869531"/>
              <a:gd name="connsiteY0" fmla="*/ 0 h 2321718"/>
              <a:gd name="connsiteX1" fmla="*/ 3869531 w 3869531"/>
              <a:gd name="connsiteY1" fmla="*/ 0 h 2321718"/>
              <a:gd name="connsiteX2" fmla="*/ 3869531 w 3869531"/>
              <a:gd name="connsiteY2" fmla="*/ 2321718 h 2321718"/>
              <a:gd name="connsiteX3" fmla="*/ 0 w 3869531"/>
              <a:gd name="connsiteY3" fmla="*/ 2321718 h 2321718"/>
              <a:gd name="connsiteX4" fmla="*/ 0 w 3869531"/>
              <a:gd name="connsiteY4" fmla="*/ 0 h 2321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531" h="2321718">
                <a:moveTo>
                  <a:pt x="0" y="0"/>
                </a:moveTo>
                <a:lnTo>
                  <a:pt x="3869531" y="0"/>
                </a:lnTo>
                <a:lnTo>
                  <a:pt x="3869531" y="2321718"/>
                </a:lnTo>
                <a:lnTo>
                  <a:pt x="0" y="2321718"/>
                </a:lnTo>
                <a:lnTo>
                  <a:pt x="0" y="0"/>
                </a:lnTo>
                <a:close/>
              </a:path>
            </a:pathLst>
          </a:custGeom>
          <a:no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none" lIns="0" tIns="91440" rIns="0" bIns="0" numCol="1" spcCol="1270" anchor="t" anchorCtr="0">
            <a:spAutoFit/>
          </a:bodyPr>
          <a:lstStyle/>
          <a:p>
            <a:pPr algn="ctr" defTabSz="2400300">
              <a:lnSpc>
                <a:spcPct val="90000"/>
              </a:lnSpc>
              <a:spcBef>
                <a:spcPct val="0"/>
              </a:spcBef>
              <a:spcAft>
                <a:spcPct val="35000"/>
              </a:spcAft>
            </a:pPr>
            <a:r>
              <a:rPr lang="en-US" sz="4000">
                <a:solidFill>
                  <a:srgbClr val="44B0FF"/>
                </a:solidFill>
                <a:latin typeface="Segoe UI Light"/>
              </a:rPr>
              <a:t>Scale</a:t>
            </a:r>
          </a:p>
        </p:txBody>
      </p:sp>
      <p:sp>
        <p:nvSpPr>
          <p:cNvPr id="6" name="Freeform: Shape 5"/>
          <p:cNvSpPr/>
          <p:nvPr/>
        </p:nvSpPr>
        <p:spPr>
          <a:xfrm>
            <a:off x="9875295" y="5630001"/>
            <a:ext cx="1676741" cy="646331"/>
          </a:xfrm>
          <a:custGeom>
            <a:avLst/>
            <a:gdLst>
              <a:gd name="connsiteX0" fmla="*/ 0 w 3869531"/>
              <a:gd name="connsiteY0" fmla="*/ 0 h 2321718"/>
              <a:gd name="connsiteX1" fmla="*/ 3869531 w 3869531"/>
              <a:gd name="connsiteY1" fmla="*/ 0 h 2321718"/>
              <a:gd name="connsiteX2" fmla="*/ 3869531 w 3869531"/>
              <a:gd name="connsiteY2" fmla="*/ 2321718 h 2321718"/>
              <a:gd name="connsiteX3" fmla="*/ 0 w 3869531"/>
              <a:gd name="connsiteY3" fmla="*/ 2321718 h 2321718"/>
              <a:gd name="connsiteX4" fmla="*/ 0 w 3869531"/>
              <a:gd name="connsiteY4" fmla="*/ 0 h 2321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531" h="2321718">
                <a:moveTo>
                  <a:pt x="0" y="0"/>
                </a:moveTo>
                <a:lnTo>
                  <a:pt x="3869531" y="0"/>
                </a:lnTo>
                <a:lnTo>
                  <a:pt x="3869531" y="2321718"/>
                </a:lnTo>
                <a:lnTo>
                  <a:pt x="0" y="2321718"/>
                </a:lnTo>
                <a:lnTo>
                  <a:pt x="0" y="0"/>
                </a:lnTo>
                <a:close/>
              </a:path>
            </a:pathLst>
          </a:custGeom>
          <a:no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none" lIns="0" tIns="91440" rIns="0" bIns="0" numCol="1" spcCol="1270" anchor="t" anchorCtr="0">
            <a:spAutoFit/>
          </a:bodyPr>
          <a:lstStyle/>
          <a:p>
            <a:pPr algn="ctr" defTabSz="2400300">
              <a:lnSpc>
                <a:spcPct val="90000"/>
              </a:lnSpc>
              <a:spcBef>
                <a:spcPct val="0"/>
              </a:spcBef>
              <a:spcAft>
                <a:spcPct val="35000"/>
              </a:spcAft>
            </a:pPr>
            <a:r>
              <a:rPr lang="en-US" sz="4000">
                <a:solidFill>
                  <a:srgbClr val="44B0FF"/>
                </a:solidFill>
                <a:latin typeface="Segoe UI Light"/>
              </a:rPr>
              <a:t>Security</a:t>
            </a:r>
          </a:p>
        </p:txBody>
      </p:sp>
      <p:grpSp>
        <p:nvGrpSpPr>
          <p:cNvPr id="13" name="Group 12"/>
          <p:cNvGrpSpPr>
            <a:grpSpLocks noChangeAspect="1"/>
          </p:cNvGrpSpPr>
          <p:nvPr/>
        </p:nvGrpSpPr>
        <p:grpSpPr bwMode="auto">
          <a:xfrm>
            <a:off x="3151441" y="1613454"/>
            <a:ext cx="5693384" cy="2720709"/>
            <a:chOff x="4741" y="1913"/>
            <a:chExt cx="2124" cy="1015"/>
          </a:xfrm>
        </p:grpSpPr>
        <p:sp>
          <p:nvSpPr>
            <p:cNvPr id="14" name="Freeform 7"/>
            <p:cNvSpPr>
              <a:spLocks/>
            </p:cNvSpPr>
            <p:nvPr/>
          </p:nvSpPr>
          <p:spPr bwMode="auto">
            <a:xfrm>
              <a:off x="4741" y="2880"/>
              <a:ext cx="2124" cy="48"/>
            </a:xfrm>
            <a:custGeom>
              <a:avLst/>
              <a:gdLst>
                <a:gd name="T0" fmla="*/ 2502 w 2531"/>
                <a:gd name="T1" fmla="*/ 58 h 58"/>
                <a:gd name="T2" fmla="*/ 29 w 2531"/>
                <a:gd name="T3" fmla="*/ 58 h 58"/>
                <a:gd name="T4" fmla="*/ 0 w 2531"/>
                <a:gd name="T5" fmla="*/ 29 h 58"/>
                <a:gd name="T6" fmla="*/ 29 w 2531"/>
                <a:gd name="T7" fmla="*/ 0 h 58"/>
                <a:gd name="T8" fmla="*/ 2502 w 2531"/>
                <a:gd name="T9" fmla="*/ 0 h 58"/>
                <a:gd name="T10" fmla="*/ 2531 w 2531"/>
                <a:gd name="T11" fmla="*/ 29 h 58"/>
                <a:gd name="T12" fmla="*/ 2502 w 2531"/>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2531" h="58">
                  <a:moveTo>
                    <a:pt x="2502" y="58"/>
                  </a:moveTo>
                  <a:cubicBezTo>
                    <a:pt x="29" y="58"/>
                    <a:pt x="29" y="58"/>
                    <a:pt x="29" y="58"/>
                  </a:cubicBezTo>
                  <a:cubicBezTo>
                    <a:pt x="13" y="58"/>
                    <a:pt x="0" y="45"/>
                    <a:pt x="0" y="29"/>
                  </a:cubicBezTo>
                  <a:cubicBezTo>
                    <a:pt x="0" y="13"/>
                    <a:pt x="13" y="0"/>
                    <a:pt x="29" y="0"/>
                  </a:cubicBezTo>
                  <a:cubicBezTo>
                    <a:pt x="2502" y="0"/>
                    <a:pt x="2502" y="0"/>
                    <a:pt x="2502" y="0"/>
                  </a:cubicBezTo>
                  <a:cubicBezTo>
                    <a:pt x="2518" y="0"/>
                    <a:pt x="2531" y="13"/>
                    <a:pt x="2531" y="29"/>
                  </a:cubicBezTo>
                  <a:cubicBezTo>
                    <a:pt x="2531" y="45"/>
                    <a:pt x="2518" y="58"/>
                    <a:pt x="2502" y="58"/>
                  </a:cubicBezTo>
                  <a:close/>
                </a:path>
              </a:pathLst>
            </a:custGeom>
            <a:solidFill>
              <a:srgbClr val="44B0FF">
                <a:alpha val="94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8"/>
            <p:cNvSpPr>
              <a:spLocks/>
            </p:cNvSpPr>
            <p:nvPr/>
          </p:nvSpPr>
          <p:spPr bwMode="auto">
            <a:xfrm>
              <a:off x="5177" y="1913"/>
              <a:ext cx="1278" cy="768"/>
            </a:xfrm>
            <a:custGeom>
              <a:avLst/>
              <a:gdLst>
                <a:gd name="T0" fmla="*/ 70 w 1522"/>
                <a:gd name="T1" fmla="*/ 0 h 920"/>
                <a:gd name="T2" fmla="*/ 0 w 1522"/>
                <a:gd name="T3" fmla="*/ 70 h 920"/>
                <a:gd name="T4" fmla="*/ 0 w 1522"/>
                <a:gd name="T5" fmla="*/ 850 h 920"/>
                <a:gd name="T6" fmla="*/ 70 w 1522"/>
                <a:gd name="T7" fmla="*/ 920 h 920"/>
                <a:gd name="T8" fmla="*/ 1452 w 1522"/>
                <a:gd name="T9" fmla="*/ 920 h 920"/>
                <a:gd name="T10" fmla="*/ 1522 w 1522"/>
                <a:gd name="T11" fmla="*/ 850 h 920"/>
                <a:gd name="T12" fmla="*/ 1522 w 1522"/>
                <a:gd name="T13" fmla="*/ 70 h 920"/>
                <a:gd name="T14" fmla="*/ 1452 w 1522"/>
                <a:gd name="T15" fmla="*/ 0 h 920"/>
                <a:gd name="T16" fmla="*/ 70 w 1522"/>
                <a:gd name="T17"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2" h="920">
                  <a:moveTo>
                    <a:pt x="70" y="0"/>
                  </a:moveTo>
                  <a:cubicBezTo>
                    <a:pt x="70" y="0"/>
                    <a:pt x="0" y="0"/>
                    <a:pt x="0" y="70"/>
                  </a:cubicBezTo>
                  <a:cubicBezTo>
                    <a:pt x="0" y="850"/>
                    <a:pt x="0" y="850"/>
                    <a:pt x="0" y="850"/>
                  </a:cubicBezTo>
                  <a:cubicBezTo>
                    <a:pt x="0" y="850"/>
                    <a:pt x="0" y="920"/>
                    <a:pt x="70" y="920"/>
                  </a:cubicBezTo>
                  <a:cubicBezTo>
                    <a:pt x="1452" y="920"/>
                    <a:pt x="1452" y="920"/>
                    <a:pt x="1452" y="920"/>
                  </a:cubicBezTo>
                  <a:cubicBezTo>
                    <a:pt x="1452" y="920"/>
                    <a:pt x="1522" y="920"/>
                    <a:pt x="1522" y="850"/>
                  </a:cubicBezTo>
                  <a:cubicBezTo>
                    <a:pt x="1522" y="70"/>
                    <a:pt x="1522" y="70"/>
                    <a:pt x="1522" y="70"/>
                  </a:cubicBezTo>
                  <a:cubicBezTo>
                    <a:pt x="1522" y="70"/>
                    <a:pt x="1522" y="0"/>
                    <a:pt x="1452" y="0"/>
                  </a:cubicBezTo>
                  <a:lnTo>
                    <a:pt x="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Freeform 9"/>
            <p:cNvSpPr>
              <a:spLocks/>
            </p:cNvSpPr>
            <p:nvPr/>
          </p:nvSpPr>
          <p:spPr bwMode="auto">
            <a:xfrm>
              <a:off x="5190" y="1924"/>
              <a:ext cx="1252" cy="746"/>
            </a:xfrm>
            <a:custGeom>
              <a:avLst/>
              <a:gdLst>
                <a:gd name="T0" fmla="*/ 68 w 1492"/>
                <a:gd name="T1" fmla="*/ 0 h 894"/>
                <a:gd name="T2" fmla="*/ 0 w 1492"/>
                <a:gd name="T3" fmla="*/ 68 h 894"/>
                <a:gd name="T4" fmla="*/ 0 w 1492"/>
                <a:gd name="T5" fmla="*/ 826 h 894"/>
                <a:gd name="T6" fmla="*/ 68 w 1492"/>
                <a:gd name="T7" fmla="*/ 894 h 894"/>
                <a:gd name="T8" fmla="*/ 1424 w 1492"/>
                <a:gd name="T9" fmla="*/ 894 h 894"/>
                <a:gd name="T10" fmla="*/ 1492 w 1492"/>
                <a:gd name="T11" fmla="*/ 826 h 894"/>
                <a:gd name="T12" fmla="*/ 1492 w 1492"/>
                <a:gd name="T13" fmla="*/ 68 h 894"/>
                <a:gd name="T14" fmla="*/ 1424 w 1492"/>
                <a:gd name="T15" fmla="*/ 0 h 894"/>
                <a:gd name="T16" fmla="*/ 68 w 1492"/>
                <a:gd name="T17" fmla="*/ 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2" h="894">
                  <a:moveTo>
                    <a:pt x="68" y="0"/>
                  </a:moveTo>
                  <a:cubicBezTo>
                    <a:pt x="68" y="0"/>
                    <a:pt x="0" y="0"/>
                    <a:pt x="0" y="68"/>
                  </a:cubicBezTo>
                  <a:cubicBezTo>
                    <a:pt x="0" y="826"/>
                    <a:pt x="0" y="826"/>
                    <a:pt x="0" y="826"/>
                  </a:cubicBezTo>
                  <a:cubicBezTo>
                    <a:pt x="0" y="826"/>
                    <a:pt x="0" y="894"/>
                    <a:pt x="68" y="894"/>
                  </a:cubicBezTo>
                  <a:cubicBezTo>
                    <a:pt x="1424" y="894"/>
                    <a:pt x="1424" y="894"/>
                    <a:pt x="1424" y="894"/>
                  </a:cubicBezTo>
                  <a:cubicBezTo>
                    <a:pt x="1424" y="894"/>
                    <a:pt x="1492" y="894"/>
                    <a:pt x="1492" y="826"/>
                  </a:cubicBezTo>
                  <a:cubicBezTo>
                    <a:pt x="1492" y="68"/>
                    <a:pt x="1492" y="68"/>
                    <a:pt x="1492" y="68"/>
                  </a:cubicBezTo>
                  <a:cubicBezTo>
                    <a:pt x="1492" y="68"/>
                    <a:pt x="1492" y="0"/>
                    <a:pt x="1424"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10"/>
            <p:cNvSpPr>
              <a:spLocks/>
            </p:cNvSpPr>
            <p:nvPr/>
          </p:nvSpPr>
          <p:spPr bwMode="auto">
            <a:xfrm>
              <a:off x="5238" y="1967"/>
              <a:ext cx="1156" cy="661"/>
            </a:xfrm>
            <a:custGeom>
              <a:avLst/>
              <a:gdLst>
                <a:gd name="T0" fmla="*/ 28 w 1378"/>
                <a:gd name="T1" fmla="*/ 0 h 791"/>
                <a:gd name="T2" fmla="*/ 0 w 1378"/>
                <a:gd name="T3" fmla="*/ 28 h 791"/>
                <a:gd name="T4" fmla="*/ 0 w 1378"/>
                <a:gd name="T5" fmla="*/ 762 h 791"/>
                <a:gd name="T6" fmla="*/ 28 w 1378"/>
                <a:gd name="T7" fmla="*/ 791 h 791"/>
                <a:gd name="T8" fmla="*/ 1350 w 1378"/>
                <a:gd name="T9" fmla="*/ 791 h 791"/>
                <a:gd name="T10" fmla="*/ 1378 w 1378"/>
                <a:gd name="T11" fmla="*/ 762 h 791"/>
                <a:gd name="T12" fmla="*/ 1378 w 1378"/>
                <a:gd name="T13" fmla="*/ 28 h 791"/>
                <a:gd name="T14" fmla="*/ 1350 w 1378"/>
                <a:gd name="T15" fmla="*/ 0 h 791"/>
                <a:gd name="T16" fmla="*/ 28 w 1378"/>
                <a:gd name="T17" fmla="*/ 0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8" h="791">
                  <a:moveTo>
                    <a:pt x="28" y="0"/>
                  </a:moveTo>
                  <a:cubicBezTo>
                    <a:pt x="28" y="0"/>
                    <a:pt x="0" y="0"/>
                    <a:pt x="0" y="28"/>
                  </a:cubicBezTo>
                  <a:cubicBezTo>
                    <a:pt x="0" y="762"/>
                    <a:pt x="0" y="762"/>
                    <a:pt x="0" y="762"/>
                  </a:cubicBezTo>
                  <a:cubicBezTo>
                    <a:pt x="0" y="762"/>
                    <a:pt x="0" y="791"/>
                    <a:pt x="28" y="791"/>
                  </a:cubicBezTo>
                  <a:cubicBezTo>
                    <a:pt x="1350" y="791"/>
                    <a:pt x="1350" y="791"/>
                    <a:pt x="1350" y="791"/>
                  </a:cubicBezTo>
                  <a:cubicBezTo>
                    <a:pt x="1350" y="791"/>
                    <a:pt x="1378" y="791"/>
                    <a:pt x="1378" y="762"/>
                  </a:cubicBezTo>
                  <a:cubicBezTo>
                    <a:pt x="1378" y="28"/>
                    <a:pt x="1378" y="28"/>
                    <a:pt x="1378" y="28"/>
                  </a:cubicBezTo>
                  <a:cubicBezTo>
                    <a:pt x="1378" y="28"/>
                    <a:pt x="1378" y="0"/>
                    <a:pt x="1350" y="0"/>
                  </a:cubicBezTo>
                  <a:lnTo>
                    <a:pt x="28"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 name="Rectangle 11"/>
            <p:cNvSpPr>
              <a:spLocks noChangeArrowheads="1"/>
            </p:cNvSpPr>
            <p:nvPr/>
          </p:nvSpPr>
          <p:spPr bwMode="auto">
            <a:xfrm>
              <a:off x="5599" y="2893"/>
              <a:ext cx="434" cy="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Freeform 12"/>
            <p:cNvSpPr>
              <a:spLocks/>
            </p:cNvSpPr>
            <p:nvPr/>
          </p:nvSpPr>
          <p:spPr bwMode="auto">
            <a:xfrm>
              <a:off x="5587" y="2863"/>
              <a:ext cx="460" cy="34"/>
            </a:xfrm>
            <a:custGeom>
              <a:avLst/>
              <a:gdLst>
                <a:gd name="T0" fmla="*/ 122 w 548"/>
                <a:gd name="T1" fmla="*/ 0 h 41"/>
                <a:gd name="T2" fmla="*/ 77 w 548"/>
                <a:gd name="T3" fmla="*/ 9 h 41"/>
                <a:gd name="T4" fmla="*/ 43 w 548"/>
                <a:gd name="T5" fmla="*/ 23 h 41"/>
                <a:gd name="T6" fmla="*/ 21 w 548"/>
                <a:gd name="T7" fmla="*/ 32 h 41"/>
                <a:gd name="T8" fmla="*/ 34 w 548"/>
                <a:gd name="T9" fmla="*/ 41 h 41"/>
                <a:gd name="T10" fmla="*/ 114 w 548"/>
                <a:gd name="T11" fmla="*/ 41 h 41"/>
                <a:gd name="T12" fmla="*/ 120 w 548"/>
                <a:gd name="T13" fmla="*/ 41 h 41"/>
                <a:gd name="T14" fmla="*/ 517 w 548"/>
                <a:gd name="T15" fmla="*/ 41 h 41"/>
                <a:gd name="T16" fmla="*/ 520 w 548"/>
                <a:gd name="T17" fmla="*/ 29 h 41"/>
                <a:gd name="T18" fmla="*/ 481 w 548"/>
                <a:gd name="T19" fmla="*/ 13 h 41"/>
                <a:gd name="T20" fmla="*/ 415 w 548"/>
                <a:gd name="T21" fmla="*/ 0 h 41"/>
                <a:gd name="T22" fmla="*/ 122 w 548"/>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41">
                  <a:moveTo>
                    <a:pt x="122" y="0"/>
                  </a:moveTo>
                  <a:cubicBezTo>
                    <a:pt x="122" y="0"/>
                    <a:pt x="98" y="0"/>
                    <a:pt x="77" y="9"/>
                  </a:cubicBezTo>
                  <a:cubicBezTo>
                    <a:pt x="43" y="23"/>
                    <a:pt x="43" y="23"/>
                    <a:pt x="43" y="23"/>
                  </a:cubicBezTo>
                  <a:cubicBezTo>
                    <a:pt x="21" y="32"/>
                    <a:pt x="21" y="32"/>
                    <a:pt x="21" y="32"/>
                  </a:cubicBezTo>
                  <a:cubicBezTo>
                    <a:pt x="21" y="32"/>
                    <a:pt x="0" y="41"/>
                    <a:pt x="34" y="41"/>
                  </a:cubicBezTo>
                  <a:cubicBezTo>
                    <a:pt x="114" y="41"/>
                    <a:pt x="114" y="41"/>
                    <a:pt x="114" y="41"/>
                  </a:cubicBezTo>
                  <a:cubicBezTo>
                    <a:pt x="120" y="41"/>
                    <a:pt x="120" y="41"/>
                    <a:pt x="120" y="41"/>
                  </a:cubicBezTo>
                  <a:cubicBezTo>
                    <a:pt x="517" y="41"/>
                    <a:pt x="517" y="41"/>
                    <a:pt x="517" y="41"/>
                  </a:cubicBezTo>
                  <a:cubicBezTo>
                    <a:pt x="517" y="41"/>
                    <a:pt x="548" y="41"/>
                    <a:pt x="520" y="29"/>
                  </a:cubicBezTo>
                  <a:cubicBezTo>
                    <a:pt x="481" y="13"/>
                    <a:pt x="481" y="13"/>
                    <a:pt x="481" y="13"/>
                  </a:cubicBezTo>
                  <a:cubicBezTo>
                    <a:pt x="481" y="13"/>
                    <a:pt x="449" y="0"/>
                    <a:pt x="415" y="0"/>
                  </a:cubicBezTo>
                  <a:lnTo>
                    <a:pt x="122"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Freeform 13"/>
            <p:cNvSpPr>
              <a:spLocks/>
            </p:cNvSpPr>
            <p:nvPr/>
          </p:nvSpPr>
          <p:spPr bwMode="auto">
            <a:xfrm>
              <a:off x="5751" y="2681"/>
              <a:ext cx="131" cy="183"/>
            </a:xfrm>
            <a:custGeom>
              <a:avLst/>
              <a:gdLst>
                <a:gd name="T0" fmla="*/ 157 w 157"/>
                <a:gd name="T1" fmla="*/ 219 h 219"/>
                <a:gd name="T2" fmla="*/ 157 w 157"/>
                <a:gd name="T3" fmla="*/ 0 h 219"/>
                <a:gd name="T4" fmla="*/ 107 w 157"/>
                <a:gd name="T5" fmla="*/ 0 h 219"/>
                <a:gd name="T6" fmla="*/ 107 w 157"/>
                <a:gd name="T7" fmla="*/ 59 h 219"/>
                <a:gd name="T8" fmla="*/ 78 w 157"/>
                <a:gd name="T9" fmla="*/ 87 h 219"/>
                <a:gd name="T10" fmla="*/ 49 w 157"/>
                <a:gd name="T11" fmla="*/ 59 h 219"/>
                <a:gd name="T12" fmla="*/ 49 w 157"/>
                <a:gd name="T13" fmla="*/ 0 h 219"/>
                <a:gd name="T14" fmla="*/ 0 w 157"/>
                <a:gd name="T15" fmla="*/ 0 h 219"/>
                <a:gd name="T16" fmla="*/ 0 w 157"/>
                <a:gd name="T17" fmla="*/ 219 h 219"/>
                <a:gd name="T18" fmla="*/ 157 w 157"/>
                <a:gd name="T19"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219">
                  <a:moveTo>
                    <a:pt x="157" y="219"/>
                  </a:moveTo>
                  <a:cubicBezTo>
                    <a:pt x="157" y="0"/>
                    <a:pt x="157" y="0"/>
                    <a:pt x="157" y="0"/>
                  </a:cubicBezTo>
                  <a:cubicBezTo>
                    <a:pt x="107" y="0"/>
                    <a:pt x="107" y="0"/>
                    <a:pt x="107" y="0"/>
                  </a:cubicBezTo>
                  <a:cubicBezTo>
                    <a:pt x="107" y="59"/>
                    <a:pt x="107" y="59"/>
                    <a:pt x="107" y="59"/>
                  </a:cubicBezTo>
                  <a:cubicBezTo>
                    <a:pt x="107" y="74"/>
                    <a:pt x="94" y="87"/>
                    <a:pt x="78" y="87"/>
                  </a:cubicBezTo>
                  <a:cubicBezTo>
                    <a:pt x="62" y="87"/>
                    <a:pt x="49" y="74"/>
                    <a:pt x="49" y="59"/>
                  </a:cubicBezTo>
                  <a:cubicBezTo>
                    <a:pt x="49" y="0"/>
                    <a:pt x="49" y="0"/>
                    <a:pt x="49" y="0"/>
                  </a:cubicBezTo>
                  <a:cubicBezTo>
                    <a:pt x="0" y="0"/>
                    <a:pt x="0" y="0"/>
                    <a:pt x="0" y="0"/>
                  </a:cubicBezTo>
                  <a:cubicBezTo>
                    <a:pt x="0" y="219"/>
                    <a:pt x="0" y="219"/>
                    <a:pt x="0" y="219"/>
                  </a:cubicBezTo>
                  <a:lnTo>
                    <a:pt x="157" y="219"/>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Freeform 14"/>
            <p:cNvSpPr>
              <a:spLocks/>
            </p:cNvSpPr>
            <p:nvPr/>
          </p:nvSpPr>
          <p:spPr bwMode="auto">
            <a:xfrm>
              <a:off x="5751" y="2733"/>
              <a:ext cx="131" cy="131"/>
            </a:xfrm>
            <a:custGeom>
              <a:avLst/>
              <a:gdLst>
                <a:gd name="T0" fmla="*/ 0 w 131"/>
                <a:gd name="T1" fmla="*/ 0 h 131"/>
                <a:gd name="T2" fmla="*/ 131 w 131"/>
                <a:gd name="T3" fmla="*/ 100 h 131"/>
                <a:gd name="T4" fmla="*/ 131 w 131"/>
                <a:gd name="T5" fmla="*/ 131 h 131"/>
                <a:gd name="T6" fmla="*/ 0 w 131"/>
                <a:gd name="T7" fmla="*/ 131 h 131"/>
                <a:gd name="T8" fmla="*/ 0 w 131"/>
                <a:gd name="T9" fmla="*/ 0 h 131"/>
              </a:gdLst>
              <a:ahLst/>
              <a:cxnLst>
                <a:cxn ang="0">
                  <a:pos x="T0" y="T1"/>
                </a:cxn>
                <a:cxn ang="0">
                  <a:pos x="T2" y="T3"/>
                </a:cxn>
                <a:cxn ang="0">
                  <a:pos x="T4" y="T5"/>
                </a:cxn>
                <a:cxn ang="0">
                  <a:pos x="T6" y="T7"/>
                </a:cxn>
                <a:cxn ang="0">
                  <a:pos x="T8" y="T9"/>
                </a:cxn>
              </a:cxnLst>
              <a:rect l="0" t="0" r="r" b="b"/>
              <a:pathLst>
                <a:path w="131" h="131">
                  <a:moveTo>
                    <a:pt x="0" y="0"/>
                  </a:moveTo>
                  <a:lnTo>
                    <a:pt x="131" y="100"/>
                  </a:lnTo>
                  <a:lnTo>
                    <a:pt x="131" y="131"/>
                  </a:lnTo>
                  <a:lnTo>
                    <a:pt x="0" y="13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Freeform 15"/>
            <p:cNvSpPr>
              <a:spLocks/>
            </p:cNvSpPr>
            <p:nvPr/>
          </p:nvSpPr>
          <p:spPr bwMode="auto">
            <a:xfrm>
              <a:off x="5561" y="2367"/>
              <a:ext cx="145" cy="133"/>
            </a:xfrm>
            <a:custGeom>
              <a:avLst/>
              <a:gdLst>
                <a:gd name="T0" fmla="*/ 173 w 173"/>
                <a:gd name="T1" fmla="*/ 159 h 159"/>
                <a:gd name="T2" fmla="*/ 173 w 173"/>
                <a:gd name="T3" fmla="*/ 0 h 159"/>
                <a:gd name="T4" fmla="*/ 18 w 173"/>
                <a:gd name="T5" fmla="*/ 146 h 159"/>
                <a:gd name="T6" fmla="*/ 173 w 173"/>
                <a:gd name="T7" fmla="*/ 159 h 159"/>
              </a:gdLst>
              <a:ahLst/>
              <a:cxnLst>
                <a:cxn ang="0">
                  <a:pos x="T0" y="T1"/>
                </a:cxn>
                <a:cxn ang="0">
                  <a:pos x="T2" y="T3"/>
                </a:cxn>
                <a:cxn ang="0">
                  <a:pos x="T4" y="T5"/>
                </a:cxn>
                <a:cxn ang="0">
                  <a:pos x="T6" y="T7"/>
                </a:cxn>
              </a:cxnLst>
              <a:rect l="0" t="0" r="r" b="b"/>
              <a:pathLst>
                <a:path w="173" h="159">
                  <a:moveTo>
                    <a:pt x="173" y="159"/>
                  </a:moveTo>
                  <a:cubicBezTo>
                    <a:pt x="173" y="0"/>
                    <a:pt x="173" y="0"/>
                    <a:pt x="173" y="0"/>
                  </a:cubicBezTo>
                  <a:cubicBezTo>
                    <a:pt x="0" y="0"/>
                    <a:pt x="18" y="146"/>
                    <a:pt x="18" y="146"/>
                  </a:cubicBezTo>
                  <a:lnTo>
                    <a:pt x="173" y="159"/>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Rectangle 16"/>
            <p:cNvSpPr>
              <a:spLocks noChangeArrowheads="1"/>
            </p:cNvSpPr>
            <p:nvPr/>
          </p:nvSpPr>
          <p:spPr bwMode="auto">
            <a:xfrm>
              <a:off x="5694" y="2355"/>
              <a:ext cx="13" cy="1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17"/>
            <p:cNvSpPr>
              <a:spLocks/>
            </p:cNvSpPr>
            <p:nvPr/>
          </p:nvSpPr>
          <p:spPr bwMode="auto">
            <a:xfrm>
              <a:off x="5584" y="2424"/>
              <a:ext cx="110" cy="40"/>
            </a:xfrm>
            <a:custGeom>
              <a:avLst/>
              <a:gdLst>
                <a:gd name="T0" fmla="*/ 131 w 131"/>
                <a:gd name="T1" fmla="*/ 48 h 48"/>
                <a:gd name="T2" fmla="*/ 131 w 131"/>
                <a:gd name="T3" fmla="*/ 35 h 48"/>
                <a:gd name="T4" fmla="*/ 131 w 131"/>
                <a:gd name="T5" fmla="*/ 1 h 48"/>
                <a:gd name="T6" fmla="*/ 82 w 131"/>
                <a:gd name="T7" fmla="*/ 21 h 48"/>
                <a:gd name="T8" fmla="*/ 5 w 131"/>
                <a:gd name="T9" fmla="*/ 0 h 48"/>
                <a:gd name="T10" fmla="*/ 0 w 131"/>
                <a:gd name="T11" fmla="*/ 11 h 48"/>
                <a:gd name="T12" fmla="*/ 131 w 131"/>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31" h="48">
                  <a:moveTo>
                    <a:pt x="131" y="48"/>
                  </a:moveTo>
                  <a:cubicBezTo>
                    <a:pt x="131" y="35"/>
                    <a:pt x="131" y="35"/>
                    <a:pt x="131" y="35"/>
                  </a:cubicBezTo>
                  <a:cubicBezTo>
                    <a:pt x="131" y="1"/>
                    <a:pt x="131" y="1"/>
                    <a:pt x="131" y="1"/>
                  </a:cubicBezTo>
                  <a:cubicBezTo>
                    <a:pt x="131" y="1"/>
                    <a:pt x="123" y="24"/>
                    <a:pt x="82" y="21"/>
                  </a:cubicBezTo>
                  <a:cubicBezTo>
                    <a:pt x="56" y="14"/>
                    <a:pt x="31" y="7"/>
                    <a:pt x="5" y="0"/>
                  </a:cubicBezTo>
                  <a:cubicBezTo>
                    <a:pt x="3" y="3"/>
                    <a:pt x="1" y="7"/>
                    <a:pt x="0" y="11"/>
                  </a:cubicBezTo>
                  <a:cubicBezTo>
                    <a:pt x="44" y="24"/>
                    <a:pt x="89" y="36"/>
                    <a:pt x="131" y="48"/>
                  </a:cubicBez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18"/>
            <p:cNvSpPr>
              <a:spLocks/>
            </p:cNvSpPr>
            <p:nvPr/>
          </p:nvSpPr>
          <p:spPr bwMode="auto">
            <a:xfrm>
              <a:off x="5694" y="2407"/>
              <a:ext cx="13" cy="60"/>
            </a:xfrm>
            <a:custGeom>
              <a:avLst/>
              <a:gdLst>
                <a:gd name="T0" fmla="*/ 13 w 13"/>
                <a:gd name="T1" fmla="*/ 0 h 60"/>
                <a:gd name="T2" fmla="*/ 0 w 13"/>
                <a:gd name="T3" fmla="*/ 18 h 60"/>
                <a:gd name="T4" fmla="*/ 0 w 13"/>
                <a:gd name="T5" fmla="*/ 57 h 60"/>
                <a:gd name="T6" fmla="*/ 13 w 13"/>
                <a:gd name="T7" fmla="*/ 60 h 60"/>
                <a:gd name="T8" fmla="*/ 13 w 13"/>
                <a:gd name="T9" fmla="*/ 0 h 60"/>
              </a:gdLst>
              <a:ahLst/>
              <a:cxnLst>
                <a:cxn ang="0">
                  <a:pos x="T0" y="T1"/>
                </a:cxn>
                <a:cxn ang="0">
                  <a:pos x="T2" y="T3"/>
                </a:cxn>
                <a:cxn ang="0">
                  <a:pos x="T4" y="T5"/>
                </a:cxn>
                <a:cxn ang="0">
                  <a:pos x="T6" y="T7"/>
                </a:cxn>
                <a:cxn ang="0">
                  <a:pos x="T8" y="T9"/>
                </a:cxn>
              </a:cxnLst>
              <a:rect l="0" t="0" r="r" b="b"/>
              <a:pathLst>
                <a:path w="13" h="60">
                  <a:moveTo>
                    <a:pt x="13" y="0"/>
                  </a:moveTo>
                  <a:lnTo>
                    <a:pt x="0" y="18"/>
                  </a:lnTo>
                  <a:lnTo>
                    <a:pt x="0" y="57"/>
                  </a:lnTo>
                  <a:lnTo>
                    <a:pt x="13" y="60"/>
                  </a:lnTo>
                  <a:lnTo>
                    <a:pt x="13"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Rectangle 19"/>
            <p:cNvSpPr>
              <a:spLocks noChangeArrowheads="1"/>
            </p:cNvSpPr>
            <p:nvPr/>
          </p:nvSpPr>
          <p:spPr bwMode="auto">
            <a:xfrm>
              <a:off x="5778" y="2442"/>
              <a:ext cx="35" cy="27"/>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Freeform 20"/>
            <p:cNvSpPr>
              <a:spLocks/>
            </p:cNvSpPr>
            <p:nvPr/>
          </p:nvSpPr>
          <p:spPr bwMode="auto">
            <a:xfrm>
              <a:off x="5728" y="2459"/>
              <a:ext cx="91" cy="48"/>
            </a:xfrm>
            <a:custGeom>
              <a:avLst/>
              <a:gdLst>
                <a:gd name="T0" fmla="*/ 109 w 109"/>
                <a:gd name="T1" fmla="*/ 57 h 57"/>
                <a:gd name="T2" fmla="*/ 105 w 109"/>
                <a:gd name="T3" fmla="*/ 0 h 57"/>
                <a:gd name="T4" fmla="*/ 39 w 109"/>
                <a:gd name="T5" fmla="*/ 1 h 57"/>
                <a:gd name="T6" fmla="*/ 0 w 109"/>
                <a:gd name="T7" fmla="*/ 31 h 57"/>
                <a:gd name="T8" fmla="*/ 109 w 109"/>
                <a:gd name="T9" fmla="*/ 57 h 57"/>
              </a:gdLst>
              <a:ahLst/>
              <a:cxnLst>
                <a:cxn ang="0">
                  <a:pos x="T0" y="T1"/>
                </a:cxn>
                <a:cxn ang="0">
                  <a:pos x="T2" y="T3"/>
                </a:cxn>
                <a:cxn ang="0">
                  <a:pos x="T4" y="T5"/>
                </a:cxn>
                <a:cxn ang="0">
                  <a:pos x="T6" y="T7"/>
                </a:cxn>
                <a:cxn ang="0">
                  <a:pos x="T8" y="T9"/>
                </a:cxn>
              </a:cxnLst>
              <a:rect l="0" t="0" r="r" b="b"/>
              <a:pathLst>
                <a:path w="109" h="57">
                  <a:moveTo>
                    <a:pt x="109" y="57"/>
                  </a:moveTo>
                  <a:cubicBezTo>
                    <a:pt x="109" y="40"/>
                    <a:pt x="107" y="22"/>
                    <a:pt x="105" y="0"/>
                  </a:cubicBezTo>
                  <a:cubicBezTo>
                    <a:pt x="69" y="3"/>
                    <a:pt x="84" y="2"/>
                    <a:pt x="39" y="1"/>
                  </a:cubicBezTo>
                  <a:cubicBezTo>
                    <a:pt x="22" y="4"/>
                    <a:pt x="9" y="16"/>
                    <a:pt x="0" y="31"/>
                  </a:cubicBezTo>
                  <a:cubicBezTo>
                    <a:pt x="41" y="42"/>
                    <a:pt x="79" y="51"/>
                    <a:pt x="109" y="5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21"/>
            <p:cNvSpPr>
              <a:spLocks/>
            </p:cNvSpPr>
            <p:nvPr/>
          </p:nvSpPr>
          <p:spPr bwMode="auto">
            <a:xfrm>
              <a:off x="5728" y="2459"/>
              <a:ext cx="88" cy="38"/>
            </a:xfrm>
            <a:custGeom>
              <a:avLst/>
              <a:gdLst>
                <a:gd name="T0" fmla="*/ 105 w 105"/>
                <a:gd name="T1" fmla="*/ 4 h 45"/>
                <a:gd name="T2" fmla="*/ 105 w 105"/>
                <a:gd name="T3" fmla="*/ 0 h 45"/>
                <a:gd name="T4" fmla="*/ 39 w 105"/>
                <a:gd name="T5" fmla="*/ 1 h 45"/>
                <a:gd name="T6" fmla="*/ 24 w 105"/>
                <a:gd name="T7" fmla="*/ 6 h 45"/>
                <a:gd name="T8" fmla="*/ 24 w 105"/>
                <a:gd name="T9" fmla="*/ 6 h 45"/>
                <a:gd name="T10" fmla="*/ 13 w 105"/>
                <a:gd name="T11" fmla="*/ 15 h 45"/>
                <a:gd name="T12" fmla="*/ 11 w 105"/>
                <a:gd name="T13" fmla="*/ 17 h 45"/>
                <a:gd name="T14" fmla="*/ 9 w 105"/>
                <a:gd name="T15" fmla="*/ 19 h 45"/>
                <a:gd name="T16" fmla="*/ 0 w 105"/>
                <a:gd name="T17" fmla="*/ 31 h 45"/>
                <a:gd name="T18" fmla="*/ 54 w 105"/>
                <a:gd name="T19" fmla="*/ 45 h 45"/>
                <a:gd name="T20" fmla="*/ 105 w 105"/>
                <a:gd name="T21"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5">
                  <a:moveTo>
                    <a:pt x="105" y="4"/>
                  </a:moveTo>
                  <a:cubicBezTo>
                    <a:pt x="105" y="3"/>
                    <a:pt x="105" y="2"/>
                    <a:pt x="105" y="0"/>
                  </a:cubicBezTo>
                  <a:cubicBezTo>
                    <a:pt x="69" y="3"/>
                    <a:pt x="84" y="2"/>
                    <a:pt x="39" y="1"/>
                  </a:cubicBezTo>
                  <a:cubicBezTo>
                    <a:pt x="34" y="2"/>
                    <a:pt x="29" y="4"/>
                    <a:pt x="24" y="6"/>
                  </a:cubicBezTo>
                  <a:cubicBezTo>
                    <a:pt x="24" y="6"/>
                    <a:pt x="24" y="6"/>
                    <a:pt x="24" y="6"/>
                  </a:cubicBezTo>
                  <a:cubicBezTo>
                    <a:pt x="20" y="9"/>
                    <a:pt x="16" y="12"/>
                    <a:pt x="13" y="15"/>
                  </a:cubicBezTo>
                  <a:cubicBezTo>
                    <a:pt x="12" y="16"/>
                    <a:pt x="11" y="16"/>
                    <a:pt x="11" y="17"/>
                  </a:cubicBezTo>
                  <a:cubicBezTo>
                    <a:pt x="10" y="18"/>
                    <a:pt x="9" y="18"/>
                    <a:pt x="9" y="19"/>
                  </a:cubicBezTo>
                  <a:cubicBezTo>
                    <a:pt x="5" y="23"/>
                    <a:pt x="3" y="27"/>
                    <a:pt x="0" y="31"/>
                  </a:cubicBezTo>
                  <a:cubicBezTo>
                    <a:pt x="19" y="36"/>
                    <a:pt x="37" y="41"/>
                    <a:pt x="54" y="45"/>
                  </a:cubicBezTo>
                  <a:cubicBezTo>
                    <a:pt x="68" y="29"/>
                    <a:pt x="85" y="14"/>
                    <a:pt x="105" y="4"/>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0" name="Freeform 22"/>
            <p:cNvSpPr>
              <a:spLocks/>
            </p:cNvSpPr>
            <p:nvPr/>
          </p:nvSpPr>
          <p:spPr bwMode="auto">
            <a:xfrm>
              <a:off x="5295" y="2347"/>
              <a:ext cx="1004" cy="267"/>
            </a:xfrm>
            <a:custGeom>
              <a:avLst/>
              <a:gdLst>
                <a:gd name="T0" fmla="*/ 1196 w 1196"/>
                <a:gd name="T1" fmla="*/ 243 h 320"/>
                <a:gd name="T2" fmla="*/ 876 w 1196"/>
                <a:gd name="T3" fmla="*/ 148 h 320"/>
                <a:gd name="T4" fmla="*/ 854 w 1196"/>
                <a:gd name="T5" fmla="*/ 141 h 320"/>
                <a:gd name="T6" fmla="*/ 684 w 1196"/>
                <a:gd name="T7" fmla="*/ 184 h 320"/>
                <a:gd name="T8" fmla="*/ 27 w 1196"/>
                <a:gd name="T9" fmla="*/ 8 h 320"/>
                <a:gd name="T10" fmla="*/ 0 w 1196"/>
                <a:gd name="T11" fmla="*/ 28 h 320"/>
                <a:gd name="T12" fmla="*/ 0 w 1196"/>
                <a:gd name="T13" fmla="*/ 292 h 320"/>
                <a:gd name="T14" fmla="*/ 28 w 1196"/>
                <a:gd name="T15" fmla="*/ 320 h 320"/>
                <a:gd name="T16" fmla="*/ 1196 w 1196"/>
                <a:gd name="T17" fmla="*/ 320 h 320"/>
                <a:gd name="T18" fmla="*/ 1196 w 1196"/>
                <a:gd name="T19" fmla="*/ 24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6" h="320">
                  <a:moveTo>
                    <a:pt x="1196" y="243"/>
                  </a:moveTo>
                  <a:cubicBezTo>
                    <a:pt x="1116" y="219"/>
                    <a:pt x="998" y="192"/>
                    <a:pt x="876" y="148"/>
                  </a:cubicBezTo>
                  <a:cubicBezTo>
                    <a:pt x="854" y="141"/>
                    <a:pt x="854" y="141"/>
                    <a:pt x="854" y="141"/>
                  </a:cubicBezTo>
                  <a:cubicBezTo>
                    <a:pt x="839" y="152"/>
                    <a:pt x="765" y="184"/>
                    <a:pt x="684" y="184"/>
                  </a:cubicBezTo>
                  <a:cubicBezTo>
                    <a:pt x="589" y="184"/>
                    <a:pt x="27" y="8"/>
                    <a:pt x="27" y="8"/>
                  </a:cubicBezTo>
                  <a:cubicBezTo>
                    <a:pt x="0" y="0"/>
                    <a:pt x="0" y="28"/>
                    <a:pt x="0" y="28"/>
                  </a:cubicBezTo>
                  <a:cubicBezTo>
                    <a:pt x="0" y="292"/>
                    <a:pt x="0" y="292"/>
                    <a:pt x="0" y="292"/>
                  </a:cubicBezTo>
                  <a:cubicBezTo>
                    <a:pt x="0" y="320"/>
                    <a:pt x="28" y="320"/>
                    <a:pt x="28" y="320"/>
                  </a:cubicBezTo>
                  <a:cubicBezTo>
                    <a:pt x="1196" y="320"/>
                    <a:pt x="1196" y="320"/>
                    <a:pt x="1196" y="320"/>
                  </a:cubicBezTo>
                  <a:lnTo>
                    <a:pt x="1196" y="243"/>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Freeform 23"/>
            <p:cNvSpPr>
              <a:spLocks/>
            </p:cNvSpPr>
            <p:nvPr/>
          </p:nvSpPr>
          <p:spPr bwMode="auto">
            <a:xfrm>
              <a:off x="5858" y="2465"/>
              <a:ext cx="238" cy="78"/>
            </a:xfrm>
            <a:custGeom>
              <a:avLst/>
              <a:gdLst>
                <a:gd name="T0" fmla="*/ 183 w 284"/>
                <a:gd name="T1" fmla="*/ 0 h 93"/>
                <a:gd name="T2" fmla="*/ 13 w 284"/>
                <a:gd name="T3" fmla="*/ 43 h 93"/>
                <a:gd name="T4" fmla="*/ 8 w 284"/>
                <a:gd name="T5" fmla="*/ 43 h 93"/>
                <a:gd name="T6" fmla="*/ 0 w 284"/>
                <a:gd name="T7" fmla="*/ 43 h 93"/>
                <a:gd name="T8" fmla="*/ 284 w 284"/>
                <a:gd name="T9" fmla="*/ 34 h 93"/>
                <a:gd name="T10" fmla="*/ 284 w 284"/>
                <a:gd name="T11" fmla="*/ 34 h 93"/>
                <a:gd name="T12" fmla="*/ 205 w 284"/>
                <a:gd name="T13" fmla="*/ 7 h 93"/>
                <a:gd name="T14" fmla="*/ 183 w 284"/>
                <a:gd name="T15" fmla="*/ 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4" h="93">
                  <a:moveTo>
                    <a:pt x="183" y="0"/>
                  </a:moveTo>
                  <a:cubicBezTo>
                    <a:pt x="168" y="11"/>
                    <a:pt x="94" y="43"/>
                    <a:pt x="13" y="43"/>
                  </a:cubicBezTo>
                  <a:cubicBezTo>
                    <a:pt x="11" y="43"/>
                    <a:pt x="10" y="43"/>
                    <a:pt x="8" y="43"/>
                  </a:cubicBezTo>
                  <a:cubicBezTo>
                    <a:pt x="5" y="43"/>
                    <a:pt x="3" y="43"/>
                    <a:pt x="0" y="43"/>
                  </a:cubicBezTo>
                  <a:cubicBezTo>
                    <a:pt x="0" y="43"/>
                    <a:pt x="106" y="93"/>
                    <a:pt x="284" y="34"/>
                  </a:cubicBezTo>
                  <a:cubicBezTo>
                    <a:pt x="284" y="34"/>
                    <a:pt x="284" y="34"/>
                    <a:pt x="284" y="34"/>
                  </a:cubicBezTo>
                  <a:cubicBezTo>
                    <a:pt x="258" y="25"/>
                    <a:pt x="231" y="17"/>
                    <a:pt x="205" y="7"/>
                  </a:cubicBezTo>
                  <a:lnTo>
                    <a:pt x="183" y="0"/>
                  </a:lnTo>
                  <a:close/>
                </a:path>
              </a:pathLst>
            </a:custGeom>
            <a:solidFill>
              <a:srgbClr val="B82F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Freeform 24"/>
            <p:cNvSpPr>
              <a:spLocks/>
            </p:cNvSpPr>
            <p:nvPr/>
          </p:nvSpPr>
          <p:spPr bwMode="auto">
            <a:xfrm>
              <a:off x="5295" y="2589"/>
              <a:ext cx="1004" cy="25"/>
            </a:xfrm>
            <a:custGeom>
              <a:avLst/>
              <a:gdLst>
                <a:gd name="T0" fmla="*/ 1196 w 1196"/>
                <a:gd name="T1" fmla="*/ 31 h 31"/>
                <a:gd name="T2" fmla="*/ 1196 w 1196"/>
                <a:gd name="T3" fmla="*/ 0 h 31"/>
                <a:gd name="T4" fmla="*/ 0 w 1196"/>
                <a:gd name="T5" fmla="*/ 0 h 31"/>
                <a:gd name="T6" fmla="*/ 0 w 1196"/>
                <a:gd name="T7" fmla="*/ 3 h 31"/>
                <a:gd name="T8" fmla="*/ 28 w 1196"/>
                <a:gd name="T9" fmla="*/ 31 h 31"/>
                <a:gd name="T10" fmla="*/ 1196 w 1196"/>
                <a:gd name="T11" fmla="*/ 31 h 31"/>
              </a:gdLst>
              <a:ahLst/>
              <a:cxnLst>
                <a:cxn ang="0">
                  <a:pos x="T0" y="T1"/>
                </a:cxn>
                <a:cxn ang="0">
                  <a:pos x="T2" y="T3"/>
                </a:cxn>
                <a:cxn ang="0">
                  <a:pos x="T4" y="T5"/>
                </a:cxn>
                <a:cxn ang="0">
                  <a:pos x="T6" y="T7"/>
                </a:cxn>
                <a:cxn ang="0">
                  <a:pos x="T8" y="T9"/>
                </a:cxn>
                <a:cxn ang="0">
                  <a:pos x="T10" y="T11"/>
                </a:cxn>
              </a:cxnLst>
              <a:rect l="0" t="0" r="r" b="b"/>
              <a:pathLst>
                <a:path w="1196" h="31">
                  <a:moveTo>
                    <a:pt x="1196" y="31"/>
                  </a:moveTo>
                  <a:cubicBezTo>
                    <a:pt x="1196" y="0"/>
                    <a:pt x="1196" y="0"/>
                    <a:pt x="1196" y="0"/>
                  </a:cubicBezTo>
                  <a:cubicBezTo>
                    <a:pt x="0" y="0"/>
                    <a:pt x="0" y="0"/>
                    <a:pt x="0" y="0"/>
                  </a:cubicBezTo>
                  <a:cubicBezTo>
                    <a:pt x="0" y="3"/>
                    <a:pt x="0" y="3"/>
                    <a:pt x="0" y="3"/>
                  </a:cubicBezTo>
                  <a:cubicBezTo>
                    <a:pt x="0" y="31"/>
                    <a:pt x="28" y="31"/>
                    <a:pt x="28" y="31"/>
                  </a:cubicBezTo>
                  <a:lnTo>
                    <a:pt x="1196" y="31"/>
                  </a:lnTo>
                  <a:close/>
                </a:path>
              </a:pathLst>
            </a:custGeom>
            <a:solidFill>
              <a:srgbClr val="B82F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Oval 25"/>
            <p:cNvSpPr>
              <a:spLocks noChangeArrowheads="1"/>
            </p:cNvSpPr>
            <p:nvPr/>
          </p:nvSpPr>
          <p:spPr bwMode="auto">
            <a:xfrm>
              <a:off x="5317" y="2378"/>
              <a:ext cx="251" cy="25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Oval 26"/>
            <p:cNvSpPr>
              <a:spLocks noChangeArrowheads="1"/>
            </p:cNvSpPr>
            <p:nvPr/>
          </p:nvSpPr>
          <p:spPr bwMode="auto">
            <a:xfrm>
              <a:off x="6067" y="2477"/>
              <a:ext cx="151" cy="151"/>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Oval 27"/>
            <p:cNvSpPr>
              <a:spLocks noChangeArrowheads="1"/>
            </p:cNvSpPr>
            <p:nvPr/>
          </p:nvSpPr>
          <p:spPr bwMode="auto">
            <a:xfrm>
              <a:off x="5599" y="2470"/>
              <a:ext cx="63" cy="62"/>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28"/>
            <p:cNvSpPr>
              <a:spLocks/>
            </p:cNvSpPr>
            <p:nvPr/>
          </p:nvSpPr>
          <p:spPr bwMode="auto">
            <a:xfrm>
              <a:off x="6299" y="2550"/>
              <a:ext cx="55" cy="39"/>
            </a:xfrm>
            <a:custGeom>
              <a:avLst/>
              <a:gdLst>
                <a:gd name="T0" fmla="*/ 0 w 66"/>
                <a:gd name="T1" fmla="*/ 0 h 47"/>
                <a:gd name="T2" fmla="*/ 0 w 66"/>
                <a:gd name="T3" fmla="*/ 47 h 47"/>
                <a:gd name="T4" fmla="*/ 66 w 66"/>
                <a:gd name="T5" fmla="*/ 47 h 47"/>
                <a:gd name="T6" fmla="*/ 66 w 66"/>
                <a:gd name="T7" fmla="*/ 22 h 47"/>
                <a:gd name="T8" fmla="*/ 0 w 66"/>
                <a:gd name="T9" fmla="*/ 0 h 47"/>
              </a:gdLst>
              <a:ahLst/>
              <a:cxnLst>
                <a:cxn ang="0">
                  <a:pos x="T0" y="T1"/>
                </a:cxn>
                <a:cxn ang="0">
                  <a:pos x="T2" y="T3"/>
                </a:cxn>
                <a:cxn ang="0">
                  <a:pos x="T4" y="T5"/>
                </a:cxn>
                <a:cxn ang="0">
                  <a:pos x="T6" y="T7"/>
                </a:cxn>
                <a:cxn ang="0">
                  <a:pos x="T8" y="T9"/>
                </a:cxn>
              </a:cxnLst>
              <a:rect l="0" t="0" r="r" b="b"/>
              <a:pathLst>
                <a:path w="66" h="47">
                  <a:moveTo>
                    <a:pt x="0" y="0"/>
                  </a:moveTo>
                  <a:cubicBezTo>
                    <a:pt x="0" y="47"/>
                    <a:pt x="0" y="47"/>
                    <a:pt x="0" y="47"/>
                  </a:cubicBezTo>
                  <a:cubicBezTo>
                    <a:pt x="66" y="47"/>
                    <a:pt x="66" y="47"/>
                    <a:pt x="66" y="47"/>
                  </a:cubicBezTo>
                  <a:cubicBezTo>
                    <a:pt x="66" y="22"/>
                    <a:pt x="66" y="22"/>
                    <a:pt x="66" y="22"/>
                  </a:cubicBezTo>
                  <a:cubicBezTo>
                    <a:pt x="49" y="15"/>
                    <a:pt x="26" y="8"/>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29"/>
            <p:cNvSpPr>
              <a:spLocks/>
            </p:cNvSpPr>
            <p:nvPr/>
          </p:nvSpPr>
          <p:spPr bwMode="auto">
            <a:xfrm>
              <a:off x="6299" y="2589"/>
              <a:ext cx="55" cy="25"/>
            </a:xfrm>
            <a:custGeom>
              <a:avLst/>
              <a:gdLst>
                <a:gd name="T0" fmla="*/ 0 w 66"/>
                <a:gd name="T1" fmla="*/ 0 h 30"/>
                <a:gd name="T2" fmla="*/ 0 w 66"/>
                <a:gd name="T3" fmla="*/ 30 h 30"/>
                <a:gd name="T4" fmla="*/ 38 w 66"/>
                <a:gd name="T5" fmla="*/ 30 h 30"/>
                <a:gd name="T6" fmla="*/ 61 w 66"/>
                <a:gd name="T7" fmla="*/ 26 h 30"/>
                <a:gd name="T8" fmla="*/ 63 w 66"/>
                <a:gd name="T9" fmla="*/ 22 h 30"/>
                <a:gd name="T10" fmla="*/ 64 w 66"/>
                <a:gd name="T11" fmla="*/ 20 h 30"/>
                <a:gd name="T12" fmla="*/ 65 w 66"/>
                <a:gd name="T13" fmla="*/ 15 h 30"/>
                <a:gd name="T14" fmla="*/ 66 w 66"/>
                <a:gd name="T15" fmla="*/ 0 h 30"/>
                <a:gd name="T16" fmla="*/ 0 w 6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30">
                  <a:moveTo>
                    <a:pt x="0" y="0"/>
                  </a:moveTo>
                  <a:cubicBezTo>
                    <a:pt x="0" y="30"/>
                    <a:pt x="0" y="30"/>
                    <a:pt x="0" y="30"/>
                  </a:cubicBezTo>
                  <a:cubicBezTo>
                    <a:pt x="38" y="30"/>
                    <a:pt x="38" y="30"/>
                    <a:pt x="38" y="30"/>
                  </a:cubicBezTo>
                  <a:cubicBezTo>
                    <a:pt x="49" y="30"/>
                    <a:pt x="56" y="29"/>
                    <a:pt x="61" y="26"/>
                  </a:cubicBezTo>
                  <a:cubicBezTo>
                    <a:pt x="62" y="25"/>
                    <a:pt x="63" y="24"/>
                    <a:pt x="63" y="22"/>
                  </a:cubicBezTo>
                  <a:cubicBezTo>
                    <a:pt x="64" y="22"/>
                    <a:pt x="64" y="21"/>
                    <a:pt x="64" y="20"/>
                  </a:cubicBezTo>
                  <a:cubicBezTo>
                    <a:pt x="65" y="19"/>
                    <a:pt x="65" y="17"/>
                    <a:pt x="65" y="15"/>
                  </a:cubicBezTo>
                  <a:cubicBezTo>
                    <a:pt x="66" y="15"/>
                    <a:pt x="66" y="2"/>
                    <a:pt x="66" y="0"/>
                  </a:cubicBezTo>
                  <a:lnTo>
                    <a:pt x="0"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30"/>
            <p:cNvSpPr>
              <a:spLocks/>
            </p:cNvSpPr>
            <p:nvPr/>
          </p:nvSpPr>
          <p:spPr bwMode="auto">
            <a:xfrm>
              <a:off x="5782" y="2381"/>
              <a:ext cx="59" cy="74"/>
            </a:xfrm>
            <a:custGeom>
              <a:avLst/>
              <a:gdLst>
                <a:gd name="T0" fmla="*/ 62 w 71"/>
                <a:gd name="T1" fmla="*/ 10 h 89"/>
                <a:gd name="T2" fmla="*/ 62 w 71"/>
                <a:gd name="T3" fmla="*/ 11 h 89"/>
                <a:gd name="T4" fmla="*/ 61 w 71"/>
                <a:gd name="T5" fmla="*/ 33 h 89"/>
                <a:gd name="T6" fmla="*/ 68 w 71"/>
                <a:gd name="T7" fmla="*/ 52 h 89"/>
                <a:gd name="T8" fmla="*/ 60 w 71"/>
                <a:gd name="T9" fmla="*/ 57 h 89"/>
                <a:gd name="T10" fmla="*/ 54 w 71"/>
                <a:gd name="T11" fmla="*/ 85 h 89"/>
                <a:gd name="T12" fmla="*/ 44 w 71"/>
                <a:gd name="T13" fmla="*/ 87 h 89"/>
                <a:gd name="T14" fmla="*/ 0 w 71"/>
                <a:gd name="T15" fmla="*/ 64 h 89"/>
                <a:gd name="T16" fmla="*/ 15 w 71"/>
                <a:gd name="T17" fmla="*/ 0 h 89"/>
                <a:gd name="T18" fmla="*/ 60 w 71"/>
                <a:gd name="T19"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89">
                  <a:moveTo>
                    <a:pt x="62" y="10"/>
                  </a:moveTo>
                  <a:cubicBezTo>
                    <a:pt x="62" y="10"/>
                    <a:pt x="62" y="10"/>
                    <a:pt x="62" y="11"/>
                  </a:cubicBezTo>
                  <a:cubicBezTo>
                    <a:pt x="62" y="14"/>
                    <a:pt x="62" y="30"/>
                    <a:pt x="61" y="33"/>
                  </a:cubicBezTo>
                  <a:cubicBezTo>
                    <a:pt x="61" y="36"/>
                    <a:pt x="67" y="51"/>
                    <a:pt x="68" y="52"/>
                  </a:cubicBezTo>
                  <a:cubicBezTo>
                    <a:pt x="68" y="54"/>
                    <a:pt x="71" y="58"/>
                    <a:pt x="60" y="57"/>
                  </a:cubicBezTo>
                  <a:cubicBezTo>
                    <a:pt x="54" y="85"/>
                    <a:pt x="54" y="85"/>
                    <a:pt x="54" y="85"/>
                  </a:cubicBezTo>
                  <a:cubicBezTo>
                    <a:pt x="54" y="85"/>
                    <a:pt x="53" y="89"/>
                    <a:pt x="44" y="87"/>
                  </a:cubicBezTo>
                  <a:cubicBezTo>
                    <a:pt x="35" y="85"/>
                    <a:pt x="11" y="78"/>
                    <a:pt x="0" y="64"/>
                  </a:cubicBezTo>
                  <a:cubicBezTo>
                    <a:pt x="5" y="9"/>
                    <a:pt x="15" y="0"/>
                    <a:pt x="15" y="0"/>
                  </a:cubicBezTo>
                  <a:cubicBezTo>
                    <a:pt x="60" y="1"/>
                    <a:pt x="60" y="1"/>
                    <a:pt x="60" y="1"/>
                  </a:cubicBezTo>
                </a:path>
              </a:pathLst>
            </a:custGeom>
            <a:solidFill>
              <a:srgbClr val="6240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Oval 31"/>
            <p:cNvSpPr>
              <a:spLocks noChangeArrowheads="1"/>
            </p:cNvSpPr>
            <p:nvPr/>
          </p:nvSpPr>
          <p:spPr bwMode="auto">
            <a:xfrm>
              <a:off x="5819" y="2412"/>
              <a:ext cx="5" cy="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32"/>
            <p:cNvSpPr>
              <a:spLocks/>
            </p:cNvSpPr>
            <p:nvPr/>
          </p:nvSpPr>
          <p:spPr bwMode="auto">
            <a:xfrm>
              <a:off x="5819" y="2436"/>
              <a:ext cx="11" cy="6"/>
            </a:xfrm>
            <a:custGeom>
              <a:avLst/>
              <a:gdLst>
                <a:gd name="T0" fmla="*/ 14 w 14"/>
                <a:gd name="T1" fmla="*/ 0 h 7"/>
                <a:gd name="T2" fmla="*/ 0 w 14"/>
                <a:gd name="T3" fmla="*/ 0 h 7"/>
                <a:gd name="T4" fmla="*/ 13 w 14"/>
                <a:gd name="T5" fmla="*/ 7 h 7"/>
                <a:gd name="T6" fmla="*/ 14 w 14"/>
                <a:gd name="T7" fmla="*/ 0 h 7"/>
              </a:gdLst>
              <a:ahLst/>
              <a:cxnLst>
                <a:cxn ang="0">
                  <a:pos x="T0" y="T1"/>
                </a:cxn>
                <a:cxn ang="0">
                  <a:pos x="T2" y="T3"/>
                </a:cxn>
                <a:cxn ang="0">
                  <a:pos x="T4" y="T5"/>
                </a:cxn>
                <a:cxn ang="0">
                  <a:pos x="T6" y="T7"/>
                </a:cxn>
              </a:cxnLst>
              <a:rect l="0" t="0" r="r" b="b"/>
              <a:pathLst>
                <a:path w="14" h="7">
                  <a:moveTo>
                    <a:pt x="14" y="0"/>
                  </a:moveTo>
                  <a:cubicBezTo>
                    <a:pt x="0" y="0"/>
                    <a:pt x="0" y="0"/>
                    <a:pt x="0" y="0"/>
                  </a:cubicBezTo>
                  <a:cubicBezTo>
                    <a:pt x="0" y="0"/>
                    <a:pt x="6" y="6"/>
                    <a:pt x="13" y="7"/>
                  </a:cubicBezTo>
                  <a:cubicBezTo>
                    <a:pt x="14" y="1"/>
                    <a:pt x="14" y="0"/>
                    <a:pt x="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Freeform 33"/>
            <p:cNvSpPr>
              <a:spLocks/>
            </p:cNvSpPr>
            <p:nvPr/>
          </p:nvSpPr>
          <p:spPr bwMode="auto">
            <a:xfrm>
              <a:off x="5792" y="2398"/>
              <a:ext cx="27" cy="27"/>
            </a:xfrm>
            <a:custGeom>
              <a:avLst/>
              <a:gdLst>
                <a:gd name="T0" fmla="*/ 33 w 33"/>
                <a:gd name="T1" fmla="*/ 0 h 32"/>
                <a:gd name="T2" fmla="*/ 12 w 33"/>
                <a:gd name="T3" fmla="*/ 32 h 32"/>
                <a:gd name="T4" fmla="*/ 0 w 33"/>
                <a:gd name="T5" fmla="*/ 1 h 32"/>
                <a:gd name="T6" fmla="*/ 33 w 33"/>
                <a:gd name="T7" fmla="*/ 0 h 32"/>
              </a:gdLst>
              <a:ahLst/>
              <a:cxnLst>
                <a:cxn ang="0">
                  <a:pos x="T0" y="T1"/>
                </a:cxn>
                <a:cxn ang="0">
                  <a:pos x="T2" y="T3"/>
                </a:cxn>
                <a:cxn ang="0">
                  <a:pos x="T4" y="T5"/>
                </a:cxn>
                <a:cxn ang="0">
                  <a:pos x="T6" y="T7"/>
                </a:cxn>
              </a:cxnLst>
              <a:rect l="0" t="0" r="r" b="b"/>
              <a:pathLst>
                <a:path w="33" h="32">
                  <a:moveTo>
                    <a:pt x="33" y="0"/>
                  </a:moveTo>
                  <a:cubicBezTo>
                    <a:pt x="33" y="0"/>
                    <a:pt x="11" y="12"/>
                    <a:pt x="12" y="32"/>
                  </a:cubicBezTo>
                  <a:cubicBezTo>
                    <a:pt x="11" y="1"/>
                    <a:pt x="0" y="1"/>
                    <a:pt x="0" y="1"/>
                  </a:cubicBezTo>
                  <a:lnTo>
                    <a:pt x="33" y="0"/>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34"/>
            <p:cNvSpPr>
              <a:spLocks/>
            </p:cNvSpPr>
            <p:nvPr/>
          </p:nvSpPr>
          <p:spPr bwMode="auto">
            <a:xfrm>
              <a:off x="5726" y="2341"/>
              <a:ext cx="118" cy="118"/>
            </a:xfrm>
            <a:custGeom>
              <a:avLst/>
              <a:gdLst>
                <a:gd name="T0" fmla="*/ 140 w 140"/>
                <a:gd name="T1" fmla="*/ 58 h 141"/>
                <a:gd name="T2" fmla="*/ 75 w 140"/>
                <a:gd name="T3" fmla="*/ 1 h 141"/>
                <a:gd name="T4" fmla="*/ 71 w 140"/>
                <a:gd name="T5" fmla="*/ 0 h 141"/>
                <a:gd name="T6" fmla="*/ 0 w 140"/>
                <a:gd name="T7" fmla="*/ 71 h 141"/>
                <a:gd name="T8" fmla="*/ 71 w 140"/>
                <a:gd name="T9" fmla="*/ 141 h 141"/>
                <a:gd name="T10" fmla="*/ 73 w 140"/>
                <a:gd name="T11" fmla="*/ 141 h 141"/>
                <a:gd name="T12" fmla="*/ 73 w 140"/>
                <a:gd name="T13" fmla="*/ 141 h 141"/>
                <a:gd name="T14" fmla="*/ 74 w 140"/>
                <a:gd name="T15" fmla="*/ 140 h 141"/>
                <a:gd name="T16" fmla="*/ 75 w 140"/>
                <a:gd name="T17" fmla="*/ 140 h 141"/>
                <a:gd name="T18" fmla="*/ 75 w 140"/>
                <a:gd name="T19" fmla="*/ 140 h 141"/>
                <a:gd name="T20" fmla="*/ 90 w 140"/>
                <a:gd name="T21" fmla="*/ 106 h 141"/>
                <a:gd name="T22" fmla="*/ 90 w 140"/>
                <a:gd name="T23" fmla="*/ 58 h 141"/>
                <a:gd name="T24" fmla="*/ 140 w 140"/>
                <a:gd name="T25" fmla="*/ 5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41">
                  <a:moveTo>
                    <a:pt x="140" y="58"/>
                  </a:moveTo>
                  <a:cubicBezTo>
                    <a:pt x="134" y="27"/>
                    <a:pt x="108" y="3"/>
                    <a:pt x="75" y="1"/>
                  </a:cubicBezTo>
                  <a:cubicBezTo>
                    <a:pt x="74" y="0"/>
                    <a:pt x="72" y="0"/>
                    <a:pt x="71" y="0"/>
                  </a:cubicBezTo>
                  <a:cubicBezTo>
                    <a:pt x="32" y="0"/>
                    <a:pt x="0" y="32"/>
                    <a:pt x="0" y="71"/>
                  </a:cubicBezTo>
                  <a:cubicBezTo>
                    <a:pt x="0" y="109"/>
                    <a:pt x="32" y="141"/>
                    <a:pt x="71" y="141"/>
                  </a:cubicBezTo>
                  <a:cubicBezTo>
                    <a:pt x="71" y="141"/>
                    <a:pt x="72" y="141"/>
                    <a:pt x="73" y="141"/>
                  </a:cubicBezTo>
                  <a:cubicBezTo>
                    <a:pt x="73" y="141"/>
                    <a:pt x="73" y="141"/>
                    <a:pt x="73" y="141"/>
                  </a:cubicBezTo>
                  <a:cubicBezTo>
                    <a:pt x="73" y="141"/>
                    <a:pt x="74" y="140"/>
                    <a:pt x="74" y="140"/>
                  </a:cubicBezTo>
                  <a:cubicBezTo>
                    <a:pt x="74" y="140"/>
                    <a:pt x="74" y="140"/>
                    <a:pt x="75" y="140"/>
                  </a:cubicBezTo>
                  <a:cubicBezTo>
                    <a:pt x="75" y="140"/>
                    <a:pt x="75" y="140"/>
                    <a:pt x="75" y="140"/>
                  </a:cubicBezTo>
                  <a:cubicBezTo>
                    <a:pt x="87" y="138"/>
                    <a:pt x="90" y="122"/>
                    <a:pt x="90" y="106"/>
                  </a:cubicBezTo>
                  <a:cubicBezTo>
                    <a:pt x="90" y="88"/>
                    <a:pt x="90" y="58"/>
                    <a:pt x="90" y="58"/>
                  </a:cubicBezTo>
                  <a:lnTo>
                    <a:pt x="140" y="5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Freeform 35"/>
            <p:cNvSpPr>
              <a:spLocks/>
            </p:cNvSpPr>
            <p:nvPr/>
          </p:nvSpPr>
          <p:spPr bwMode="auto">
            <a:xfrm>
              <a:off x="5794" y="2387"/>
              <a:ext cx="56" cy="12"/>
            </a:xfrm>
            <a:custGeom>
              <a:avLst/>
              <a:gdLst>
                <a:gd name="T0" fmla="*/ 0 w 56"/>
                <a:gd name="T1" fmla="*/ 1 h 12"/>
                <a:gd name="T2" fmla="*/ 0 w 56"/>
                <a:gd name="T3" fmla="*/ 12 h 12"/>
                <a:gd name="T4" fmla="*/ 56 w 56"/>
                <a:gd name="T5" fmla="*/ 11 h 12"/>
                <a:gd name="T6" fmla="*/ 51 w 56"/>
                <a:gd name="T7" fmla="*/ 0 h 12"/>
                <a:gd name="T8" fmla="*/ 0 w 56"/>
                <a:gd name="T9" fmla="*/ 1 h 12"/>
              </a:gdLst>
              <a:ahLst/>
              <a:cxnLst>
                <a:cxn ang="0">
                  <a:pos x="T0" y="T1"/>
                </a:cxn>
                <a:cxn ang="0">
                  <a:pos x="T2" y="T3"/>
                </a:cxn>
                <a:cxn ang="0">
                  <a:pos x="T4" y="T5"/>
                </a:cxn>
                <a:cxn ang="0">
                  <a:pos x="T6" y="T7"/>
                </a:cxn>
                <a:cxn ang="0">
                  <a:pos x="T8" y="T9"/>
                </a:cxn>
              </a:cxnLst>
              <a:rect l="0" t="0" r="r" b="b"/>
              <a:pathLst>
                <a:path w="56" h="12">
                  <a:moveTo>
                    <a:pt x="0" y="1"/>
                  </a:moveTo>
                  <a:lnTo>
                    <a:pt x="0" y="12"/>
                  </a:lnTo>
                  <a:lnTo>
                    <a:pt x="56" y="11"/>
                  </a:lnTo>
                  <a:lnTo>
                    <a:pt x="51" y="0"/>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Oval 36"/>
            <p:cNvSpPr>
              <a:spLocks noChangeArrowheads="1"/>
            </p:cNvSpPr>
            <p:nvPr/>
          </p:nvSpPr>
          <p:spPr bwMode="auto">
            <a:xfrm>
              <a:off x="5371" y="2432"/>
              <a:ext cx="143" cy="141"/>
            </a:xfrm>
            <a:prstGeom prst="ellipse">
              <a:avLst/>
            </a:pr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Oval 37"/>
            <p:cNvSpPr>
              <a:spLocks noChangeArrowheads="1"/>
            </p:cNvSpPr>
            <p:nvPr/>
          </p:nvSpPr>
          <p:spPr bwMode="auto">
            <a:xfrm>
              <a:off x="5385" y="2445"/>
              <a:ext cx="115" cy="1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38"/>
            <p:cNvSpPr>
              <a:spLocks/>
            </p:cNvSpPr>
            <p:nvPr/>
          </p:nvSpPr>
          <p:spPr bwMode="auto">
            <a:xfrm>
              <a:off x="5385" y="2469"/>
              <a:ext cx="104" cy="91"/>
            </a:xfrm>
            <a:custGeom>
              <a:avLst/>
              <a:gdLst>
                <a:gd name="T0" fmla="*/ 125 w 125"/>
                <a:gd name="T1" fmla="*/ 80 h 109"/>
                <a:gd name="T2" fmla="*/ 13 w 125"/>
                <a:gd name="T3" fmla="*/ 0 h 109"/>
                <a:gd name="T4" fmla="*/ 0 w 125"/>
                <a:gd name="T5" fmla="*/ 40 h 109"/>
                <a:gd name="T6" fmla="*/ 69 w 125"/>
                <a:gd name="T7" fmla="*/ 109 h 109"/>
                <a:gd name="T8" fmla="*/ 125 w 125"/>
                <a:gd name="T9" fmla="*/ 80 h 109"/>
              </a:gdLst>
              <a:ahLst/>
              <a:cxnLst>
                <a:cxn ang="0">
                  <a:pos x="T0" y="T1"/>
                </a:cxn>
                <a:cxn ang="0">
                  <a:pos x="T2" y="T3"/>
                </a:cxn>
                <a:cxn ang="0">
                  <a:pos x="T4" y="T5"/>
                </a:cxn>
                <a:cxn ang="0">
                  <a:pos x="T6" y="T7"/>
                </a:cxn>
                <a:cxn ang="0">
                  <a:pos x="T8" y="T9"/>
                </a:cxn>
              </a:cxnLst>
              <a:rect l="0" t="0" r="r" b="b"/>
              <a:pathLst>
                <a:path w="125" h="109">
                  <a:moveTo>
                    <a:pt x="125" y="80"/>
                  </a:moveTo>
                  <a:cubicBezTo>
                    <a:pt x="13" y="0"/>
                    <a:pt x="13" y="0"/>
                    <a:pt x="13" y="0"/>
                  </a:cubicBezTo>
                  <a:cubicBezTo>
                    <a:pt x="5" y="11"/>
                    <a:pt x="0" y="25"/>
                    <a:pt x="0" y="40"/>
                  </a:cubicBezTo>
                  <a:cubicBezTo>
                    <a:pt x="0" y="78"/>
                    <a:pt x="31" y="109"/>
                    <a:pt x="69" y="109"/>
                  </a:cubicBezTo>
                  <a:cubicBezTo>
                    <a:pt x="92" y="109"/>
                    <a:pt x="113" y="98"/>
                    <a:pt x="125" y="80"/>
                  </a:cubicBezTo>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Oval 39"/>
            <p:cNvSpPr>
              <a:spLocks noChangeArrowheads="1"/>
            </p:cNvSpPr>
            <p:nvPr/>
          </p:nvSpPr>
          <p:spPr bwMode="auto">
            <a:xfrm>
              <a:off x="6101" y="2512"/>
              <a:ext cx="82" cy="81"/>
            </a:xfrm>
            <a:prstGeom prst="ellipse">
              <a:avLst/>
            </a:pr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Oval 40"/>
            <p:cNvSpPr>
              <a:spLocks noChangeArrowheads="1"/>
            </p:cNvSpPr>
            <p:nvPr/>
          </p:nvSpPr>
          <p:spPr bwMode="auto">
            <a:xfrm>
              <a:off x="6109" y="2520"/>
              <a:ext cx="66" cy="6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41"/>
            <p:cNvSpPr>
              <a:spLocks/>
            </p:cNvSpPr>
            <p:nvPr/>
          </p:nvSpPr>
          <p:spPr bwMode="auto">
            <a:xfrm>
              <a:off x="6109" y="2533"/>
              <a:ext cx="60" cy="52"/>
            </a:xfrm>
            <a:custGeom>
              <a:avLst/>
              <a:gdLst>
                <a:gd name="T0" fmla="*/ 72 w 72"/>
                <a:gd name="T1" fmla="*/ 45 h 62"/>
                <a:gd name="T2" fmla="*/ 8 w 72"/>
                <a:gd name="T3" fmla="*/ 0 h 62"/>
                <a:gd name="T4" fmla="*/ 0 w 72"/>
                <a:gd name="T5" fmla="*/ 23 h 62"/>
                <a:gd name="T6" fmla="*/ 40 w 72"/>
                <a:gd name="T7" fmla="*/ 62 h 62"/>
                <a:gd name="T8" fmla="*/ 72 w 72"/>
                <a:gd name="T9" fmla="*/ 45 h 62"/>
              </a:gdLst>
              <a:ahLst/>
              <a:cxnLst>
                <a:cxn ang="0">
                  <a:pos x="T0" y="T1"/>
                </a:cxn>
                <a:cxn ang="0">
                  <a:pos x="T2" y="T3"/>
                </a:cxn>
                <a:cxn ang="0">
                  <a:pos x="T4" y="T5"/>
                </a:cxn>
                <a:cxn ang="0">
                  <a:pos x="T6" y="T7"/>
                </a:cxn>
                <a:cxn ang="0">
                  <a:pos x="T8" y="T9"/>
                </a:cxn>
              </a:cxnLst>
              <a:rect l="0" t="0" r="r" b="b"/>
              <a:pathLst>
                <a:path w="72" h="62">
                  <a:moveTo>
                    <a:pt x="72" y="45"/>
                  </a:moveTo>
                  <a:cubicBezTo>
                    <a:pt x="8" y="0"/>
                    <a:pt x="8" y="0"/>
                    <a:pt x="8" y="0"/>
                  </a:cubicBezTo>
                  <a:cubicBezTo>
                    <a:pt x="3" y="6"/>
                    <a:pt x="0" y="14"/>
                    <a:pt x="0" y="23"/>
                  </a:cubicBezTo>
                  <a:cubicBezTo>
                    <a:pt x="0" y="44"/>
                    <a:pt x="18" y="62"/>
                    <a:pt x="40" y="62"/>
                  </a:cubicBezTo>
                  <a:cubicBezTo>
                    <a:pt x="53" y="62"/>
                    <a:pt x="65" y="55"/>
                    <a:pt x="72" y="45"/>
                  </a:cubicBezTo>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42"/>
            <p:cNvSpPr>
              <a:spLocks/>
            </p:cNvSpPr>
            <p:nvPr/>
          </p:nvSpPr>
          <p:spPr bwMode="auto">
            <a:xfrm>
              <a:off x="5726" y="2341"/>
              <a:ext cx="63" cy="118"/>
            </a:xfrm>
            <a:custGeom>
              <a:avLst/>
              <a:gdLst>
                <a:gd name="T0" fmla="*/ 75 w 75"/>
                <a:gd name="T1" fmla="*/ 1 h 141"/>
                <a:gd name="T2" fmla="*/ 71 w 75"/>
                <a:gd name="T3" fmla="*/ 0 h 141"/>
                <a:gd name="T4" fmla="*/ 0 w 75"/>
                <a:gd name="T5" fmla="*/ 71 h 141"/>
                <a:gd name="T6" fmla="*/ 71 w 75"/>
                <a:gd name="T7" fmla="*/ 141 h 141"/>
                <a:gd name="T8" fmla="*/ 75 w 75"/>
                <a:gd name="T9" fmla="*/ 140 h 141"/>
                <a:gd name="T10" fmla="*/ 12 w 75"/>
                <a:gd name="T11" fmla="*/ 70 h 141"/>
                <a:gd name="T12" fmla="*/ 75 w 75"/>
                <a:gd name="T13" fmla="*/ 1 h 141"/>
              </a:gdLst>
              <a:ahLst/>
              <a:cxnLst>
                <a:cxn ang="0">
                  <a:pos x="T0" y="T1"/>
                </a:cxn>
                <a:cxn ang="0">
                  <a:pos x="T2" y="T3"/>
                </a:cxn>
                <a:cxn ang="0">
                  <a:pos x="T4" y="T5"/>
                </a:cxn>
                <a:cxn ang="0">
                  <a:pos x="T6" y="T7"/>
                </a:cxn>
                <a:cxn ang="0">
                  <a:pos x="T8" y="T9"/>
                </a:cxn>
                <a:cxn ang="0">
                  <a:pos x="T10" y="T11"/>
                </a:cxn>
                <a:cxn ang="0">
                  <a:pos x="T12" y="T13"/>
                </a:cxn>
              </a:cxnLst>
              <a:rect l="0" t="0" r="r" b="b"/>
              <a:pathLst>
                <a:path w="75" h="141">
                  <a:moveTo>
                    <a:pt x="75" y="1"/>
                  </a:moveTo>
                  <a:cubicBezTo>
                    <a:pt x="74" y="0"/>
                    <a:pt x="72" y="0"/>
                    <a:pt x="71" y="0"/>
                  </a:cubicBezTo>
                  <a:cubicBezTo>
                    <a:pt x="32" y="0"/>
                    <a:pt x="0" y="32"/>
                    <a:pt x="0" y="71"/>
                  </a:cubicBezTo>
                  <a:cubicBezTo>
                    <a:pt x="0" y="109"/>
                    <a:pt x="32" y="141"/>
                    <a:pt x="71" y="141"/>
                  </a:cubicBezTo>
                  <a:cubicBezTo>
                    <a:pt x="72" y="141"/>
                    <a:pt x="73" y="141"/>
                    <a:pt x="75" y="140"/>
                  </a:cubicBezTo>
                  <a:cubicBezTo>
                    <a:pt x="39" y="137"/>
                    <a:pt x="12" y="107"/>
                    <a:pt x="12" y="70"/>
                  </a:cubicBezTo>
                  <a:cubicBezTo>
                    <a:pt x="12" y="34"/>
                    <a:pt x="40" y="4"/>
                    <a:pt x="75" y="1"/>
                  </a:cubicBezTo>
                </a:path>
              </a:pathLst>
            </a:custGeom>
            <a:solidFill>
              <a:srgbClr val="001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Freeform 43"/>
            <p:cNvSpPr>
              <a:spLocks/>
            </p:cNvSpPr>
            <p:nvPr/>
          </p:nvSpPr>
          <p:spPr bwMode="auto">
            <a:xfrm>
              <a:off x="4955" y="2018"/>
              <a:ext cx="378" cy="206"/>
            </a:xfrm>
            <a:custGeom>
              <a:avLst/>
              <a:gdLst>
                <a:gd name="T0" fmla="*/ 450 w 450"/>
                <a:gd name="T1" fmla="*/ 175 h 246"/>
                <a:gd name="T2" fmla="*/ 380 w 450"/>
                <a:gd name="T3" fmla="*/ 104 h 246"/>
                <a:gd name="T4" fmla="*/ 359 w 450"/>
                <a:gd name="T5" fmla="*/ 107 h 246"/>
                <a:gd name="T6" fmla="*/ 237 w 450"/>
                <a:gd name="T7" fmla="*/ 0 h 246"/>
                <a:gd name="T8" fmla="*/ 120 w 450"/>
                <a:gd name="T9" fmla="*/ 87 h 246"/>
                <a:gd name="T10" fmla="*/ 84 w 450"/>
                <a:gd name="T11" fmla="*/ 79 h 246"/>
                <a:gd name="T12" fmla="*/ 0 w 450"/>
                <a:gd name="T13" fmla="*/ 162 h 246"/>
                <a:gd name="T14" fmla="*/ 83 w 450"/>
                <a:gd name="T15" fmla="*/ 246 h 246"/>
                <a:gd name="T16" fmla="*/ 83 w 450"/>
                <a:gd name="T17" fmla="*/ 246 h 246"/>
                <a:gd name="T18" fmla="*/ 377 w 450"/>
                <a:gd name="T19" fmla="*/ 246 h 246"/>
                <a:gd name="T20" fmla="*/ 377 w 450"/>
                <a:gd name="T21" fmla="*/ 245 h 246"/>
                <a:gd name="T22" fmla="*/ 380 w 450"/>
                <a:gd name="T23" fmla="*/ 246 h 246"/>
                <a:gd name="T24" fmla="*/ 450 w 450"/>
                <a:gd name="T25" fmla="*/ 17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246">
                  <a:moveTo>
                    <a:pt x="450" y="175"/>
                  </a:moveTo>
                  <a:cubicBezTo>
                    <a:pt x="450" y="136"/>
                    <a:pt x="419" y="104"/>
                    <a:pt x="380" y="104"/>
                  </a:cubicBezTo>
                  <a:cubicBezTo>
                    <a:pt x="372" y="104"/>
                    <a:pt x="365" y="105"/>
                    <a:pt x="359" y="107"/>
                  </a:cubicBezTo>
                  <a:cubicBezTo>
                    <a:pt x="351" y="47"/>
                    <a:pt x="299" y="0"/>
                    <a:pt x="237" y="0"/>
                  </a:cubicBezTo>
                  <a:cubicBezTo>
                    <a:pt x="182" y="0"/>
                    <a:pt x="135" y="37"/>
                    <a:pt x="120" y="87"/>
                  </a:cubicBezTo>
                  <a:cubicBezTo>
                    <a:pt x="109" y="82"/>
                    <a:pt x="97" y="79"/>
                    <a:pt x="84" y="79"/>
                  </a:cubicBezTo>
                  <a:cubicBezTo>
                    <a:pt x="38" y="79"/>
                    <a:pt x="0" y="116"/>
                    <a:pt x="0" y="162"/>
                  </a:cubicBezTo>
                  <a:cubicBezTo>
                    <a:pt x="0" y="208"/>
                    <a:pt x="37" y="245"/>
                    <a:pt x="83" y="246"/>
                  </a:cubicBezTo>
                  <a:cubicBezTo>
                    <a:pt x="83" y="246"/>
                    <a:pt x="83" y="246"/>
                    <a:pt x="83" y="246"/>
                  </a:cubicBezTo>
                  <a:cubicBezTo>
                    <a:pt x="377" y="246"/>
                    <a:pt x="377" y="246"/>
                    <a:pt x="377" y="246"/>
                  </a:cubicBezTo>
                  <a:cubicBezTo>
                    <a:pt x="377" y="245"/>
                    <a:pt x="377" y="245"/>
                    <a:pt x="377" y="245"/>
                  </a:cubicBezTo>
                  <a:cubicBezTo>
                    <a:pt x="378" y="245"/>
                    <a:pt x="379" y="246"/>
                    <a:pt x="380" y="246"/>
                  </a:cubicBezTo>
                  <a:cubicBezTo>
                    <a:pt x="419" y="246"/>
                    <a:pt x="450" y="214"/>
                    <a:pt x="450" y="1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44"/>
            <p:cNvSpPr>
              <a:spLocks/>
            </p:cNvSpPr>
            <p:nvPr/>
          </p:nvSpPr>
          <p:spPr bwMode="auto">
            <a:xfrm>
              <a:off x="4955" y="2084"/>
              <a:ext cx="286" cy="140"/>
            </a:xfrm>
            <a:custGeom>
              <a:avLst/>
              <a:gdLst>
                <a:gd name="T0" fmla="*/ 120 w 341"/>
                <a:gd name="T1" fmla="*/ 8 h 167"/>
                <a:gd name="T2" fmla="*/ 84 w 341"/>
                <a:gd name="T3" fmla="*/ 0 h 167"/>
                <a:gd name="T4" fmla="*/ 0 w 341"/>
                <a:gd name="T5" fmla="*/ 83 h 167"/>
                <a:gd name="T6" fmla="*/ 83 w 341"/>
                <a:gd name="T7" fmla="*/ 167 h 167"/>
                <a:gd name="T8" fmla="*/ 83 w 341"/>
                <a:gd name="T9" fmla="*/ 167 h 167"/>
                <a:gd name="T10" fmla="*/ 341 w 341"/>
                <a:gd name="T11" fmla="*/ 167 h 167"/>
                <a:gd name="T12" fmla="*/ 120 w 341"/>
                <a:gd name="T13" fmla="*/ 8 h 167"/>
              </a:gdLst>
              <a:ahLst/>
              <a:cxnLst>
                <a:cxn ang="0">
                  <a:pos x="T0" y="T1"/>
                </a:cxn>
                <a:cxn ang="0">
                  <a:pos x="T2" y="T3"/>
                </a:cxn>
                <a:cxn ang="0">
                  <a:pos x="T4" y="T5"/>
                </a:cxn>
                <a:cxn ang="0">
                  <a:pos x="T6" y="T7"/>
                </a:cxn>
                <a:cxn ang="0">
                  <a:pos x="T8" y="T9"/>
                </a:cxn>
                <a:cxn ang="0">
                  <a:pos x="T10" y="T11"/>
                </a:cxn>
                <a:cxn ang="0">
                  <a:pos x="T12" y="T13"/>
                </a:cxn>
              </a:cxnLst>
              <a:rect l="0" t="0" r="r" b="b"/>
              <a:pathLst>
                <a:path w="341" h="167">
                  <a:moveTo>
                    <a:pt x="120" y="8"/>
                  </a:moveTo>
                  <a:cubicBezTo>
                    <a:pt x="109" y="3"/>
                    <a:pt x="97" y="0"/>
                    <a:pt x="84" y="0"/>
                  </a:cubicBezTo>
                  <a:cubicBezTo>
                    <a:pt x="38" y="0"/>
                    <a:pt x="0" y="37"/>
                    <a:pt x="0" y="83"/>
                  </a:cubicBezTo>
                  <a:cubicBezTo>
                    <a:pt x="0" y="129"/>
                    <a:pt x="37" y="166"/>
                    <a:pt x="83" y="167"/>
                  </a:cubicBezTo>
                  <a:cubicBezTo>
                    <a:pt x="83" y="167"/>
                    <a:pt x="83" y="167"/>
                    <a:pt x="83" y="167"/>
                  </a:cubicBezTo>
                  <a:cubicBezTo>
                    <a:pt x="341" y="167"/>
                    <a:pt x="341" y="167"/>
                    <a:pt x="341" y="167"/>
                  </a:cubicBezTo>
                  <a:lnTo>
                    <a:pt x="120" y="8"/>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45"/>
            <p:cNvSpPr>
              <a:spLocks/>
            </p:cNvSpPr>
            <p:nvPr/>
          </p:nvSpPr>
          <p:spPr bwMode="auto">
            <a:xfrm>
              <a:off x="5969" y="2100"/>
              <a:ext cx="254" cy="139"/>
            </a:xfrm>
            <a:custGeom>
              <a:avLst/>
              <a:gdLst>
                <a:gd name="T0" fmla="*/ 303 w 303"/>
                <a:gd name="T1" fmla="*/ 118 h 166"/>
                <a:gd name="T2" fmla="*/ 255 w 303"/>
                <a:gd name="T3" fmla="*/ 70 h 166"/>
                <a:gd name="T4" fmla="*/ 241 w 303"/>
                <a:gd name="T5" fmla="*/ 72 h 166"/>
                <a:gd name="T6" fmla="*/ 159 w 303"/>
                <a:gd name="T7" fmla="*/ 0 h 166"/>
                <a:gd name="T8" fmla="*/ 80 w 303"/>
                <a:gd name="T9" fmla="*/ 59 h 166"/>
                <a:gd name="T10" fmla="*/ 56 w 303"/>
                <a:gd name="T11" fmla="*/ 53 h 166"/>
                <a:gd name="T12" fmla="*/ 0 w 303"/>
                <a:gd name="T13" fmla="*/ 110 h 166"/>
                <a:gd name="T14" fmla="*/ 55 w 303"/>
                <a:gd name="T15" fmla="*/ 166 h 166"/>
                <a:gd name="T16" fmla="*/ 55 w 303"/>
                <a:gd name="T17" fmla="*/ 166 h 166"/>
                <a:gd name="T18" fmla="*/ 254 w 303"/>
                <a:gd name="T19" fmla="*/ 166 h 166"/>
                <a:gd name="T20" fmla="*/ 254 w 303"/>
                <a:gd name="T21" fmla="*/ 166 h 166"/>
                <a:gd name="T22" fmla="*/ 255 w 303"/>
                <a:gd name="T23" fmla="*/ 166 h 166"/>
                <a:gd name="T24" fmla="*/ 303 w 303"/>
                <a:gd name="T25" fmla="*/ 11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3" h="166">
                  <a:moveTo>
                    <a:pt x="303" y="118"/>
                  </a:moveTo>
                  <a:cubicBezTo>
                    <a:pt x="303" y="92"/>
                    <a:pt x="282" y="70"/>
                    <a:pt x="255" y="70"/>
                  </a:cubicBezTo>
                  <a:cubicBezTo>
                    <a:pt x="250" y="70"/>
                    <a:pt x="246" y="71"/>
                    <a:pt x="241" y="72"/>
                  </a:cubicBezTo>
                  <a:cubicBezTo>
                    <a:pt x="236" y="32"/>
                    <a:pt x="201" y="0"/>
                    <a:pt x="159" y="0"/>
                  </a:cubicBezTo>
                  <a:cubicBezTo>
                    <a:pt x="122" y="0"/>
                    <a:pt x="90" y="25"/>
                    <a:pt x="80" y="59"/>
                  </a:cubicBezTo>
                  <a:cubicBezTo>
                    <a:pt x="73" y="55"/>
                    <a:pt x="64" y="53"/>
                    <a:pt x="56" y="53"/>
                  </a:cubicBezTo>
                  <a:cubicBezTo>
                    <a:pt x="25" y="53"/>
                    <a:pt x="0" y="79"/>
                    <a:pt x="0" y="110"/>
                  </a:cubicBezTo>
                  <a:cubicBezTo>
                    <a:pt x="0" y="141"/>
                    <a:pt x="25" y="166"/>
                    <a:pt x="55" y="166"/>
                  </a:cubicBezTo>
                  <a:cubicBezTo>
                    <a:pt x="55" y="166"/>
                    <a:pt x="55" y="166"/>
                    <a:pt x="55" y="166"/>
                  </a:cubicBezTo>
                  <a:cubicBezTo>
                    <a:pt x="254" y="166"/>
                    <a:pt x="254" y="166"/>
                    <a:pt x="254" y="166"/>
                  </a:cubicBezTo>
                  <a:cubicBezTo>
                    <a:pt x="254" y="166"/>
                    <a:pt x="254" y="166"/>
                    <a:pt x="254" y="166"/>
                  </a:cubicBezTo>
                  <a:cubicBezTo>
                    <a:pt x="254" y="166"/>
                    <a:pt x="255" y="166"/>
                    <a:pt x="255" y="166"/>
                  </a:cubicBezTo>
                  <a:cubicBezTo>
                    <a:pt x="282" y="166"/>
                    <a:pt x="303" y="144"/>
                    <a:pt x="303" y="1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46"/>
            <p:cNvSpPr>
              <a:spLocks/>
            </p:cNvSpPr>
            <p:nvPr/>
          </p:nvSpPr>
          <p:spPr bwMode="auto">
            <a:xfrm>
              <a:off x="5969" y="2144"/>
              <a:ext cx="192" cy="95"/>
            </a:xfrm>
            <a:custGeom>
              <a:avLst/>
              <a:gdLst>
                <a:gd name="T0" fmla="*/ 80 w 229"/>
                <a:gd name="T1" fmla="*/ 6 h 113"/>
                <a:gd name="T2" fmla="*/ 56 w 229"/>
                <a:gd name="T3" fmla="*/ 0 h 113"/>
                <a:gd name="T4" fmla="*/ 0 w 229"/>
                <a:gd name="T5" fmla="*/ 57 h 113"/>
                <a:gd name="T6" fmla="*/ 55 w 229"/>
                <a:gd name="T7" fmla="*/ 113 h 113"/>
                <a:gd name="T8" fmla="*/ 55 w 229"/>
                <a:gd name="T9" fmla="*/ 113 h 113"/>
                <a:gd name="T10" fmla="*/ 229 w 229"/>
                <a:gd name="T11" fmla="*/ 113 h 113"/>
                <a:gd name="T12" fmla="*/ 80 w 229"/>
                <a:gd name="T13" fmla="*/ 6 h 113"/>
              </a:gdLst>
              <a:ahLst/>
              <a:cxnLst>
                <a:cxn ang="0">
                  <a:pos x="T0" y="T1"/>
                </a:cxn>
                <a:cxn ang="0">
                  <a:pos x="T2" y="T3"/>
                </a:cxn>
                <a:cxn ang="0">
                  <a:pos x="T4" y="T5"/>
                </a:cxn>
                <a:cxn ang="0">
                  <a:pos x="T6" y="T7"/>
                </a:cxn>
                <a:cxn ang="0">
                  <a:pos x="T8" y="T9"/>
                </a:cxn>
                <a:cxn ang="0">
                  <a:pos x="T10" y="T11"/>
                </a:cxn>
                <a:cxn ang="0">
                  <a:pos x="T12" y="T13"/>
                </a:cxn>
              </a:cxnLst>
              <a:rect l="0" t="0" r="r" b="b"/>
              <a:pathLst>
                <a:path w="229" h="113">
                  <a:moveTo>
                    <a:pt x="80" y="6"/>
                  </a:moveTo>
                  <a:cubicBezTo>
                    <a:pt x="73" y="2"/>
                    <a:pt x="64" y="0"/>
                    <a:pt x="56" y="0"/>
                  </a:cubicBezTo>
                  <a:cubicBezTo>
                    <a:pt x="25" y="0"/>
                    <a:pt x="0" y="26"/>
                    <a:pt x="0" y="57"/>
                  </a:cubicBezTo>
                  <a:cubicBezTo>
                    <a:pt x="0" y="88"/>
                    <a:pt x="25" y="113"/>
                    <a:pt x="55" y="113"/>
                  </a:cubicBezTo>
                  <a:cubicBezTo>
                    <a:pt x="55" y="113"/>
                    <a:pt x="55" y="113"/>
                    <a:pt x="55" y="113"/>
                  </a:cubicBezTo>
                  <a:cubicBezTo>
                    <a:pt x="229" y="113"/>
                    <a:pt x="229" y="113"/>
                    <a:pt x="229" y="113"/>
                  </a:cubicBezTo>
                  <a:lnTo>
                    <a:pt x="80" y="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47"/>
            <p:cNvSpPr>
              <a:spLocks/>
            </p:cNvSpPr>
            <p:nvPr/>
          </p:nvSpPr>
          <p:spPr bwMode="auto">
            <a:xfrm>
              <a:off x="4874" y="2522"/>
              <a:ext cx="518" cy="365"/>
            </a:xfrm>
            <a:custGeom>
              <a:avLst/>
              <a:gdLst>
                <a:gd name="T0" fmla="*/ 615 w 617"/>
                <a:gd name="T1" fmla="*/ 81 h 438"/>
                <a:gd name="T2" fmla="*/ 612 w 617"/>
                <a:gd name="T3" fmla="*/ 78 h 438"/>
                <a:gd name="T4" fmla="*/ 614 w 617"/>
                <a:gd name="T5" fmla="*/ 70 h 438"/>
                <a:gd name="T6" fmla="*/ 609 w 617"/>
                <a:gd name="T7" fmla="*/ 66 h 438"/>
                <a:gd name="T8" fmla="*/ 611 w 617"/>
                <a:gd name="T9" fmla="*/ 58 h 438"/>
                <a:gd name="T10" fmla="*/ 603 w 617"/>
                <a:gd name="T11" fmla="*/ 54 h 438"/>
                <a:gd name="T12" fmla="*/ 603 w 617"/>
                <a:gd name="T13" fmla="*/ 49 h 438"/>
                <a:gd name="T14" fmla="*/ 594 w 617"/>
                <a:gd name="T15" fmla="*/ 46 h 438"/>
                <a:gd name="T16" fmla="*/ 594 w 617"/>
                <a:gd name="T17" fmla="*/ 46 h 438"/>
                <a:gd name="T18" fmla="*/ 564 w 617"/>
                <a:gd name="T19" fmla="*/ 60 h 438"/>
                <a:gd name="T20" fmla="*/ 572 w 617"/>
                <a:gd name="T21" fmla="*/ 53 h 438"/>
                <a:gd name="T22" fmla="*/ 572 w 617"/>
                <a:gd name="T23" fmla="*/ 53 h 438"/>
                <a:gd name="T24" fmla="*/ 572 w 617"/>
                <a:gd name="T25" fmla="*/ 53 h 438"/>
                <a:gd name="T26" fmla="*/ 573 w 617"/>
                <a:gd name="T27" fmla="*/ 39 h 438"/>
                <a:gd name="T28" fmla="*/ 569 w 617"/>
                <a:gd name="T29" fmla="*/ 42 h 438"/>
                <a:gd name="T30" fmla="*/ 547 w 617"/>
                <a:gd name="T31" fmla="*/ 62 h 438"/>
                <a:gd name="T32" fmla="*/ 545 w 617"/>
                <a:gd name="T33" fmla="*/ 67 h 438"/>
                <a:gd name="T34" fmla="*/ 466 w 617"/>
                <a:gd name="T35" fmla="*/ 99 h 438"/>
                <a:gd name="T36" fmla="*/ 398 w 617"/>
                <a:gd name="T37" fmla="*/ 60 h 438"/>
                <a:gd name="T38" fmla="*/ 327 w 617"/>
                <a:gd name="T39" fmla="*/ 23 h 438"/>
                <a:gd name="T40" fmla="*/ 163 w 617"/>
                <a:gd name="T41" fmla="*/ 155 h 438"/>
                <a:gd name="T42" fmla="*/ 163 w 617"/>
                <a:gd name="T43" fmla="*/ 155 h 438"/>
                <a:gd name="T44" fmla="*/ 144 w 617"/>
                <a:gd name="T45" fmla="*/ 179 h 438"/>
                <a:gd name="T46" fmla="*/ 141 w 617"/>
                <a:gd name="T47" fmla="*/ 211 h 438"/>
                <a:gd name="T48" fmla="*/ 132 w 617"/>
                <a:gd name="T49" fmla="*/ 251 h 438"/>
                <a:gd name="T50" fmla="*/ 0 w 617"/>
                <a:gd name="T51" fmla="*/ 398 h 438"/>
                <a:gd name="T52" fmla="*/ 39 w 617"/>
                <a:gd name="T53" fmla="*/ 433 h 438"/>
                <a:gd name="T54" fmla="*/ 182 w 617"/>
                <a:gd name="T55" fmla="*/ 286 h 438"/>
                <a:gd name="T56" fmla="*/ 189 w 617"/>
                <a:gd name="T57" fmla="*/ 273 h 438"/>
                <a:gd name="T58" fmla="*/ 194 w 617"/>
                <a:gd name="T59" fmla="*/ 256 h 438"/>
                <a:gd name="T60" fmla="*/ 256 w 617"/>
                <a:gd name="T61" fmla="*/ 304 h 438"/>
                <a:gd name="T62" fmla="*/ 189 w 617"/>
                <a:gd name="T63" fmla="*/ 409 h 438"/>
                <a:gd name="T64" fmla="*/ 235 w 617"/>
                <a:gd name="T65" fmla="*/ 438 h 438"/>
                <a:gd name="T66" fmla="*/ 323 w 617"/>
                <a:gd name="T67" fmla="*/ 313 h 438"/>
                <a:gd name="T68" fmla="*/ 315 w 617"/>
                <a:gd name="T69" fmla="*/ 272 h 438"/>
                <a:gd name="T70" fmla="*/ 264 w 617"/>
                <a:gd name="T71" fmla="*/ 232 h 438"/>
                <a:gd name="T72" fmla="*/ 381 w 617"/>
                <a:gd name="T73" fmla="*/ 102 h 438"/>
                <a:gd name="T74" fmla="*/ 452 w 617"/>
                <a:gd name="T75" fmla="*/ 143 h 438"/>
                <a:gd name="T76" fmla="*/ 465 w 617"/>
                <a:gd name="T77" fmla="*/ 146 h 438"/>
                <a:gd name="T78" fmla="*/ 472 w 617"/>
                <a:gd name="T79" fmla="*/ 145 h 438"/>
                <a:gd name="T80" fmla="*/ 563 w 617"/>
                <a:gd name="T81" fmla="*/ 109 h 438"/>
                <a:gd name="T82" fmla="*/ 563 w 617"/>
                <a:gd name="T83" fmla="*/ 109 h 438"/>
                <a:gd name="T84" fmla="*/ 611 w 617"/>
                <a:gd name="T85" fmla="*/ 90 h 438"/>
                <a:gd name="T86" fmla="*/ 611 w 617"/>
                <a:gd name="T87" fmla="*/ 90 h 438"/>
                <a:gd name="T88" fmla="*/ 612 w 617"/>
                <a:gd name="T89" fmla="*/ 90 h 438"/>
                <a:gd name="T90" fmla="*/ 615 w 617"/>
                <a:gd name="T91" fmla="*/ 81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7" h="438">
                  <a:moveTo>
                    <a:pt x="615" y="81"/>
                  </a:moveTo>
                  <a:cubicBezTo>
                    <a:pt x="615" y="79"/>
                    <a:pt x="614" y="78"/>
                    <a:pt x="612" y="78"/>
                  </a:cubicBezTo>
                  <a:cubicBezTo>
                    <a:pt x="615" y="76"/>
                    <a:pt x="615" y="73"/>
                    <a:pt x="614" y="70"/>
                  </a:cubicBezTo>
                  <a:cubicBezTo>
                    <a:pt x="613" y="68"/>
                    <a:pt x="611" y="66"/>
                    <a:pt x="609" y="66"/>
                  </a:cubicBezTo>
                  <a:cubicBezTo>
                    <a:pt x="611" y="64"/>
                    <a:pt x="612" y="61"/>
                    <a:pt x="611" y="58"/>
                  </a:cubicBezTo>
                  <a:cubicBezTo>
                    <a:pt x="610" y="55"/>
                    <a:pt x="606" y="53"/>
                    <a:pt x="603" y="54"/>
                  </a:cubicBezTo>
                  <a:cubicBezTo>
                    <a:pt x="603" y="52"/>
                    <a:pt x="603" y="51"/>
                    <a:pt x="603" y="49"/>
                  </a:cubicBezTo>
                  <a:cubicBezTo>
                    <a:pt x="601" y="46"/>
                    <a:pt x="597" y="44"/>
                    <a:pt x="594" y="46"/>
                  </a:cubicBezTo>
                  <a:cubicBezTo>
                    <a:pt x="594" y="46"/>
                    <a:pt x="594" y="46"/>
                    <a:pt x="594" y="46"/>
                  </a:cubicBezTo>
                  <a:cubicBezTo>
                    <a:pt x="564" y="60"/>
                    <a:pt x="564" y="60"/>
                    <a:pt x="564" y="60"/>
                  </a:cubicBezTo>
                  <a:cubicBezTo>
                    <a:pt x="572" y="53"/>
                    <a:pt x="572" y="53"/>
                    <a:pt x="572" y="53"/>
                  </a:cubicBezTo>
                  <a:cubicBezTo>
                    <a:pt x="572" y="53"/>
                    <a:pt x="572" y="53"/>
                    <a:pt x="572" y="53"/>
                  </a:cubicBezTo>
                  <a:cubicBezTo>
                    <a:pt x="572" y="53"/>
                    <a:pt x="572" y="53"/>
                    <a:pt x="572" y="53"/>
                  </a:cubicBezTo>
                  <a:cubicBezTo>
                    <a:pt x="576" y="49"/>
                    <a:pt x="577" y="43"/>
                    <a:pt x="573" y="39"/>
                  </a:cubicBezTo>
                  <a:cubicBezTo>
                    <a:pt x="569" y="42"/>
                    <a:pt x="569" y="42"/>
                    <a:pt x="569" y="42"/>
                  </a:cubicBezTo>
                  <a:cubicBezTo>
                    <a:pt x="564" y="46"/>
                    <a:pt x="549" y="58"/>
                    <a:pt x="547" y="62"/>
                  </a:cubicBezTo>
                  <a:cubicBezTo>
                    <a:pt x="546" y="66"/>
                    <a:pt x="546" y="64"/>
                    <a:pt x="545" y="67"/>
                  </a:cubicBezTo>
                  <a:cubicBezTo>
                    <a:pt x="466" y="99"/>
                    <a:pt x="466" y="99"/>
                    <a:pt x="466" y="99"/>
                  </a:cubicBezTo>
                  <a:cubicBezTo>
                    <a:pt x="398" y="60"/>
                    <a:pt x="398" y="60"/>
                    <a:pt x="398" y="60"/>
                  </a:cubicBezTo>
                  <a:cubicBezTo>
                    <a:pt x="358" y="42"/>
                    <a:pt x="374" y="50"/>
                    <a:pt x="327" y="23"/>
                  </a:cubicBezTo>
                  <a:cubicBezTo>
                    <a:pt x="248" y="0"/>
                    <a:pt x="163" y="155"/>
                    <a:pt x="163" y="155"/>
                  </a:cubicBezTo>
                  <a:cubicBezTo>
                    <a:pt x="163" y="155"/>
                    <a:pt x="163" y="155"/>
                    <a:pt x="163" y="155"/>
                  </a:cubicBezTo>
                  <a:cubicBezTo>
                    <a:pt x="144" y="179"/>
                    <a:pt x="144" y="179"/>
                    <a:pt x="144" y="179"/>
                  </a:cubicBezTo>
                  <a:cubicBezTo>
                    <a:pt x="137" y="188"/>
                    <a:pt x="136" y="201"/>
                    <a:pt x="141" y="211"/>
                  </a:cubicBezTo>
                  <a:cubicBezTo>
                    <a:pt x="132" y="251"/>
                    <a:pt x="132" y="251"/>
                    <a:pt x="132" y="251"/>
                  </a:cubicBezTo>
                  <a:cubicBezTo>
                    <a:pt x="0" y="398"/>
                    <a:pt x="0" y="398"/>
                    <a:pt x="0" y="398"/>
                  </a:cubicBezTo>
                  <a:cubicBezTo>
                    <a:pt x="39" y="433"/>
                    <a:pt x="39" y="433"/>
                    <a:pt x="39" y="433"/>
                  </a:cubicBezTo>
                  <a:cubicBezTo>
                    <a:pt x="182" y="286"/>
                    <a:pt x="182" y="286"/>
                    <a:pt x="182" y="286"/>
                  </a:cubicBezTo>
                  <a:cubicBezTo>
                    <a:pt x="186" y="283"/>
                    <a:pt x="188" y="278"/>
                    <a:pt x="189" y="273"/>
                  </a:cubicBezTo>
                  <a:cubicBezTo>
                    <a:pt x="194" y="256"/>
                    <a:pt x="194" y="256"/>
                    <a:pt x="194" y="256"/>
                  </a:cubicBezTo>
                  <a:cubicBezTo>
                    <a:pt x="256" y="304"/>
                    <a:pt x="256" y="304"/>
                    <a:pt x="256" y="304"/>
                  </a:cubicBezTo>
                  <a:cubicBezTo>
                    <a:pt x="189" y="409"/>
                    <a:pt x="189" y="409"/>
                    <a:pt x="189" y="409"/>
                  </a:cubicBezTo>
                  <a:cubicBezTo>
                    <a:pt x="235" y="438"/>
                    <a:pt x="235" y="438"/>
                    <a:pt x="235" y="438"/>
                  </a:cubicBezTo>
                  <a:cubicBezTo>
                    <a:pt x="323" y="313"/>
                    <a:pt x="323" y="313"/>
                    <a:pt x="323" y="313"/>
                  </a:cubicBezTo>
                  <a:cubicBezTo>
                    <a:pt x="331" y="299"/>
                    <a:pt x="328" y="282"/>
                    <a:pt x="315" y="272"/>
                  </a:cubicBezTo>
                  <a:cubicBezTo>
                    <a:pt x="264" y="232"/>
                    <a:pt x="264" y="232"/>
                    <a:pt x="264" y="232"/>
                  </a:cubicBezTo>
                  <a:cubicBezTo>
                    <a:pt x="273" y="233"/>
                    <a:pt x="324" y="230"/>
                    <a:pt x="381" y="102"/>
                  </a:cubicBezTo>
                  <a:cubicBezTo>
                    <a:pt x="452" y="143"/>
                    <a:pt x="452" y="143"/>
                    <a:pt x="452" y="143"/>
                  </a:cubicBezTo>
                  <a:cubicBezTo>
                    <a:pt x="456" y="146"/>
                    <a:pt x="461" y="147"/>
                    <a:pt x="465" y="146"/>
                  </a:cubicBezTo>
                  <a:cubicBezTo>
                    <a:pt x="467" y="146"/>
                    <a:pt x="470" y="146"/>
                    <a:pt x="472" y="145"/>
                  </a:cubicBezTo>
                  <a:cubicBezTo>
                    <a:pt x="563" y="109"/>
                    <a:pt x="563" y="109"/>
                    <a:pt x="563" y="109"/>
                  </a:cubicBezTo>
                  <a:cubicBezTo>
                    <a:pt x="563" y="109"/>
                    <a:pt x="563" y="109"/>
                    <a:pt x="563" y="109"/>
                  </a:cubicBezTo>
                  <a:cubicBezTo>
                    <a:pt x="611" y="90"/>
                    <a:pt x="611" y="90"/>
                    <a:pt x="611" y="90"/>
                  </a:cubicBezTo>
                  <a:cubicBezTo>
                    <a:pt x="611" y="90"/>
                    <a:pt x="611" y="90"/>
                    <a:pt x="611" y="90"/>
                  </a:cubicBezTo>
                  <a:cubicBezTo>
                    <a:pt x="612" y="90"/>
                    <a:pt x="612" y="90"/>
                    <a:pt x="612" y="90"/>
                  </a:cubicBezTo>
                  <a:cubicBezTo>
                    <a:pt x="615" y="89"/>
                    <a:pt x="617" y="84"/>
                    <a:pt x="615" y="8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48"/>
            <p:cNvSpPr>
              <a:spLocks/>
            </p:cNvSpPr>
            <p:nvPr/>
          </p:nvSpPr>
          <p:spPr bwMode="auto">
            <a:xfrm>
              <a:off x="5144" y="2503"/>
              <a:ext cx="72" cy="81"/>
            </a:xfrm>
            <a:custGeom>
              <a:avLst/>
              <a:gdLst>
                <a:gd name="T0" fmla="*/ 33 w 72"/>
                <a:gd name="T1" fmla="*/ 0 h 81"/>
                <a:gd name="T2" fmla="*/ 0 w 72"/>
                <a:gd name="T3" fmla="*/ 59 h 81"/>
                <a:gd name="T4" fmla="*/ 39 w 72"/>
                <a:gd name="T5" fmla="*/ 81 h 81"/>
                <a:gd name="T6" fmla="*/ 72 w 72"/>
                <a:gd name="T7" fmla="*/ 20 h 81"/>
                <a:gd name="T8" fmla="*/ 33 w 72"/>
                <a:gd name="T9" fmla="*/ 0 h 81"/>
              </a:gdLst>
              <a:ahLst/>
              <a:cxnLst>
                <a:cxn ang="0">
                  <a:pos x="T0" y="T1"/>
                </a:cxn>
                <a:cxn ang="0">
                  <a:pos x="T2" y="T3"/>
                </a:cxn>
                <a:cxn ang="0">
                  <a:pos x="T4" y="T5"/>
                </a:cxn>
                <a:cxn ang="0">
                  <a:pos x="T6" y="T7"/>
                </a:cxn>
                <a:cxn ang="0">
                  <a:pos x="T8" y="T9"/>
                </a:cxn>
              </a:cxnLst>
              <a:rect l="0" t="0" r="r" b="b"/>
              <a:pathLst>
                <a:path w="72" h="81">
                  <a:moveTo>
                    <a:pt x="33" y="0"/>
                  </a:moveTo>
                  <a:lnTo>
                    <a:pt x="0" y="59"/>
                  </a:lnTo>
                  <a:lnTo>
                    <a:pt x="39" y="81"/>
                  </a:lnTo>
                  <a:lnTo>
                    <a:pt x="72" y="20"/>
                  </a:lnTo>
                  <a:lnTo>
                    <a:pt x="33" y="0"/>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49"/>
            <p:cNvSpPr>
              <a:spLocks noChangeShapeType="1"/>
            </p:cNvSpPr>
            <p:nvPr/>
          </p:nvSpPr>
          <p:spPr bwMode="auto">
            <a:xfrm>
              <a:off x="5014" y="265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50"/>
            <p:cNvSpPr>
              <a:spLocks noChangeShapeType="1"/>
            </p:cNvSpPr>
            <p:nvPr/>
          </p:nvSpPr>
          <p:spPr bwMode="auto">
            <a:xfrm>
              <a:off x="5014" y="265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Freeform 51"/>
            <p:cNvSpPr>
              <a:spLocks/>
            </p:cNvSpPr>
            <p:nvPr/>
          </p:nvSpPr>
          <p:spPr bwMode="auto">
            <a:xfrm>
              <a:off x="5181" y="2474"/>
              <a:ext cx="81" cy="98"/>
            </a:xfrm>
            <a:custGeom>
              <a:avLst/>
              <a:gdLst>
                <a:gd name="T0" fmla="*/ 94 w 96"/>
                <a:gd name="T1" fmla="*/ 31 h 117"/>
                <a:gd name="T2" fmla="*/ 93 w 96"/>
                <a:gd name="T3" fmla="*/ 32 h 117"/>
                <a:gd name="T4" fmla="*/ 82 w 96"/>
                <a:gd name="T5" fmla="*/ 57 h 117"/>
                <a:gd name="T6" fmla="*/ 82 w 96"/>
                <a:gd name="T7" fmla="*/ 81 h 117"/>
                <a:gd name="T8" fmla="*/ 71 w 96"/>
                <a:gd name="T9" fmla="*/ 84 h 117"/>
                <a:gd name="T10" fmla="*/ 52 w 96"/>
                <a:gd name="T11" fmla="*/ 112 h 117"/>
                <a:gd name="T12" fmla="*/ 40 w 96"/>
                <a:gd name="T13" fmla="*/ 110 h 117"/>
                <a:gd name="T14" fmla="*/ 0 w 96"/>
                <a:gd name="T15" fmla="*/ 65 h 117"/>
                <a:gd name="T16" fmla="*/ 45 w 96"/>
                <a:gd name="T17" fmla="*/ 0 h 117"/>
                <a:gd name="T18" fmla="*/ 96 w 96"/>
                <a:gd name="T19" fmla="*/ 2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7">
                  <a:moveTo>
                    <a:pt x="94" y="31"/>
                  </a:moveTo>
                  <a:cubicBezTo>
                    <a:pt x="94" y="31"/>
                    <a:pt x="93" y="32"/>
                    <a:pt x="93" y="32"/>
                  </a:cubicBezTo>
                  <a:cubicBezTo>
                    <a:pt x="92" y="36"/>
                    <a:pt x="84" y="54"/>
                    <a:pt x="82" y="57"/>
                  </a:cubicBezTo>
                  <a:cubicBezTo>
                    <a:pt x="81" y="60"/>
                    <a:pt x="82" y="80"/>
                    <a:pt x="82" y="81"/>
                  </a:cubicBezTo>
                  <a:cubicBezTo>
                    <a:pt x="82" y="83"/>
                    <a:pt x="83" y="89"/>
                    <a:pt x="71" y="84"/>
                  </a:cubicBezTo>
                  <a:cubicBezTo>
                    <a:pt x="52" y="112"/>
                    <a:pt x="52" y="112"/>
                    <a:pt x="52" y="112"/>
                  </a:cubicBezTo>
                  <a:cubicBezTo>
                    <a:pt x="52" y="112"/>
                    <a:pt x="49" y="117"/>
                    <a:pt x="40" y="110"/>
                  </a:cubicBezTo>
                  <a:cubicBezTo>
                    <a:pt x="31" y="104"/>
                    <a:pt x="6" y="86"/>
                    <a:pt x="0" y="65"/>
                  </a:cubicBezTo>
                  <a:cubicBezTo>
                    <a:pt x="30" y="6"/>
                    <a:pt x="45" y="0"/>
                    <a:pt x="45" y="0"/>
                  </a:cubicBezTo>
                  <a:cubicBezTo>
                    <a:pt x="96" y="20"/>
                    <a:pt x="96" y="20"/>
                    <a:pt x="96" y="20"/>
                  </a:cubicBezTo>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Freeform 52"/>
            <p:cNvSpPr>
              <a:spLocks/>
            </p:cNvSpPr>
            <p:nvPr/>
          </p:nvSpPr>
          <p:spPr bwMode="auto">
            <a:xfrm>
              <a:off x="5232" y="2520"/>
              <a:ext cx="7" cy="8"/>
            </a:xfrm>
            <a:custGeom>
              <a:avLst/>
              <a:gdLst>
                <a:gd name="T0" fmla="*/ 3 w 9"/>
                <a:gd name="T1" fmla="*/ 8 h 9"/>
                <a:gd name="T2" fmla="*/ 8 w 9"/>
                <a:gd name="T3" fmla="*/ 6 h 9"/>
                <a:gd name="T4" fmla="*/ 6 w 9"/>
                <a:gd name="T5" fmla="*/ 1 h 9"/>
                <a:gd name="T6" fmla="*/ 1 w 9"/>
                <a:gd name="T7" fmla="*/ 3 h 9"/>
                <a:gd name="T8" fmla="*/ 3 w 9"/>
                <a:gd name="T9" fmla="*/ 8 h 9"/>
              </a:gdLst>
              <a:ahLst/>
              <a:cxnLst>
                <a:cxn ang="0">
                  <a:pos x="T0" y="T1"/>
                </a:cxn>
                <a:cxn ang="0">
                  <a:pos x="T2" y="T3"/>
                </a:cxn>
                <a:cxn ang="0">
                  <a:pos x="T4" y="T5"/>
                </a:cxn>
                <a:cxn ang="0">
                  <a:pos x="T6" y="T7"/>
                </a:cxn>
                <a:cxn ang="0">
                  <a:pos x="T8" y="T9"/>
                </a:cxn>
              </a:cxnLst>
              <a:rect l="0" t="0" r="r" b="b"/>
              <a:pathLst>
                <a:path w="9" h="9">
                  <a:moveTo>
                    <a:pt x="3" y="8"/>
                  </a:moveTo>
                  <a:cubicBezTo>
                    <a:pt x="5" y="9"/>
                    <a:pt x="7" y="8"/>
                    <a:pt x="8" y="6"/>
                  </a:cubicBezTo>
                  <a:cubicBezTo>
                    <a:pt x="9" y="4"/>
                    <a:pt x="8" y="2"/>
                    <a:pt x="6" y="1"/>
                  </a:cubicBezTo>
                  <a:cubicBezTo>
                    <a:pt x="4" y="0"/>
                    <a:pt x="2" y="1"/>
                    <a:pt x="1" y="3"/>
                  </a:cubicBezTo>
                  <a:cubicBezTo>
                    <a:pt x="0" y="5"/>
                    <a:pt x="1" y="8"/>
                    <a:pt x="3"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Freeform 53"/>
            <p:cNvSpPr>
              <a:spLocks/>
            </p:cNvSpPr>
            <p:nvPr/>
          </p:nvSpPr>
          <p:spPr bwMode="auto">
            <a:xfrm>
              <a:off x="5223" y="2546"/>
              <a:ext cx="13" cy="12"/>
            </a:xfrm>
            <a:custGeom>
              <a:avLst/>
              <a:gdLst>
                <a:gd name="T0" fmla="*/ 16 w 16"/>
                <a:gd name="T1" fmla="*/ 7 h 14"/>
                <a:gd name="T2" fmla="*/ 0 w 16"/>
                <a:gd name="T3" fmla="*/ 0 h 14"/>
                <a:gd name="T4" fmla="*/ 11 w 16"/>
                <a:gd name="T5" fmla="*/ 14 h 14"/>
                <a:gd name="T6" fmla="*/ 16 w 16"/>
                <a:gd name="T7" fmla="*/ 7 h 14"/>
              </a:gdLst>
              <a:ahLst/>
              <a:cxnLst>
                <a:cxn ang="0">
                  <a:pos x="T0" y="T1"/>
                </a:cxn>
                <a:cxn ang="0">
                  <a:pos x="T2" y="T3"/>
                </a:cxn>
                <a:cxn ang="0">
                  <a:pos x="T4" y="T5"/>
                </a:cxn>
                <a:cxn ang="0">
                  <a:pos x="T6" y="T7"/>
                </a:cxn>
              </a:cxnLst>
              <a:rect l="0" t="0" r="r" b="b"/>
              <a:pathLst>
                <a:path w="16" h="14">
                  <a:moveTo>
                    <a:pt x="16" y="7"/>
                  </a:moveTo>
                  <a:cubicBezTo>
                    <a:pt x="0" y="0"/>
                    <a:pt x="0" y="0"/>
                    <a:pt x="0" y="0"/>
                  </a:cubicBezTo>
                  <a:cubicBezTo>
                    <a:pt x="0" y="0"/>
                    <a:pt x="4" y="10"/>
                    <a:pt x="11" y="14"/>
                  </a:cubicBezTo>
                  <a:cubicBezTo>
                    <a:pt x="15" y="8"/>
                    <a:pt x="16" y="7"/>
                    <a:pt x="16"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Freeform 54"/>
            <p:cNvSpPr>
              <a:spLocks/>
            </p:cNvSpPr>
            <p:nvPr/>
          </p:nvSpPr>
          <p:spPr bwMode="auto">
            <a:xfrm>
              <a:off x="5208" y="2493"/>
              <a:ext cx="32" cy="34"/>
            </a:xfrm>
            <a:custGeom>
              <a:avLst/>
              <a:gdLst>
                <a:gd name="T0" fmla="*/ 38 w 38"/>
                <a:gd name="T1" fmla="*/ 15 h 41"/>
                <a:gd name="T2" fmla="*/ 0 w 38"/>
                <a:gd name="T3" fmla="*/ 41 h 41"/>
                <a:gd name="T4" fmla="*/ 0 w 38"/>
                <a:gd name="T5" fmla="*/ 0 h 41"/>
                <a:gd name="T6" fmla="*/ 38 w 38"/>
                <a:gd name="T7" fmla="*/ 15 h 41"/>
              </a:gdLst>
              <a:ahLst/>
              <a:cxnLst>
                <a:cxn ang="0">
                  <a:pos x="T0" y="T1"/>
                </a:cxn>
                <a:cxn ang="0">
                  <a:pos x="T2" y="T3"/>
                </a:cxn>
                <a:cxn ang="0">
                  <a:pos x="T4" y="T5"/>
                </a:cxn>
                <a:cxn ang="0">
                  <a:pos x="T6" y="T7"/>
                </a:cxn>
              </a:cxnLst>
              <a:rect l="0" t="0" r="r" b="b"/>
              <a:pathLst>
                <a:path w="38" h="41">
                  <a:moveTo>
                    <a:pt x="38" y="15"/>
                  </a:moveTo>
                  <a:cubicBezTo>
                    <a:pt x="38" y="15"/>
                    <a:pt x="8" y="18"/>
                    <a:pt x="0" y="41"/>
                  </a:cubicBezTo>
                  <a:cubicBezTo>
                    <a:pt x="13" y="5"/>
                    <a:pt x="0" y="0"/>
                    <a:pt x="0" y="0"/>
                  </a:cubicBezTo>
                  <a:lnTo>
                    <a:pt x="38" y="15"/>
                  </a:lnTo>
                  <a:close/>
                </a:path>
              </a:pathLst>
            </a:custGeom>
            <a:solidFill>
              <a:srgbClr val="A87E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Freeform 55"/>
            <p:cNvSpPr>
              <a:spLocks noEditPoints="1"/>
            </p:cNvSpPr>
            <p:nvPr/>
          </p:nvSpPr>
          <p:spPr bwMode="auto">
            <a:xfrm>
              <a:off x="5132" y="2417"/>
              <a:ext cx="145" cy="145"/>
            </a:xfrm>
            <a:custGeom>
              <a:avLst/>
              <a:gdLst>
                <a:gd name="T0" fmla="*/ 51 w 173"/>
                <a:gd name="T1" fmla="*/ 168 h 173"/>
                <a:gd name="T2" fmla="*/ 51 w 173"/>
                <a:gd name="T3" fmla="*/ 168 h 173"/>
                <a:gd name="T4" fmla="*/ 119 w 173"/>
                <a:gd name="T5" fmla="*/ 12 h 173"/>
                <a:gd name="T6" fmla="*/ 16 w 173"/>
                <a:gd name="T7" fmla="*/ 63 h 173"/>
                <a:gd name="T8" fmla="*/ 56 w 173"/>
                <a:gd name="T9" fmla="*/ 169 h 173"/>
                <a:gd name="T10" fmla="*/ 54 w 173"/>
                <a:gd name="T11" fmla="*/ 169 h 173"/>
                <a:gd name="T12" fmla="*/ 88 w 173"/>
                <a:gd name="T13" fmla="*/ 138 h 173"/>
                <a:gd name="T14" fmla="*/ 109 w 173"/>
                <a:gd name="T15" fmla="*/ 84 h 173"/>
                <a:gd name="T16" fmla="*/ 165 w 173"/>
                <a:gd name="T17" fmla="*/ 106 h 173"/>
                <a:gd name="T18" fmla="*/ 119 w 173"/>
                <a:gd name="T19"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173">
                  <a:moveTo>
                    <a:pt x="51" y="168"/>
                  </a:moveTo>
                  <a:cubicBezTo>
                    <a:pt x="51" y="168"/>
                    <a:pt x="51" y="168"/>
                    <a:pt x="51" y="168"/>
                  </a:cubicBezTo>
                  <a:moveTo>
                    <a:pt x="119" y="12"/>
                  </a:moveTo>
                  <a:cubicBezTo>
                    <a:pt x="77" y="0"/>
                    <a:pt x="32" y="22"/>
                    <a:pt x="16" y="63"/>
                  </a:cubicBezTo>
                  <a:cubicBezTo>
                    <a:pt x="0" y="104"/>
                    <a:pt x="18" y="149"/>
                    <a:pt x="56" y="169"/>
                  </a:cubicBezTo>
                  <a:cubicBezTo>
                    <a:pt x="55" y="169"/>
                    <a:pt x="55" y="169"/>
                    <a:pt x="54" y="169"/>
                  </a:cubicBezTo>
                  <a:cubicBezTo>
                    <a:pt x="71" y="173"/>
                    <a:pt x="81" y="157"/>
                    <a:pt x="88" y="138"/>
                  </a:cubicBezTo>
                  <a:cubicBezTo>
                    <a:pt x="96" y="118"/>
                    <a:pt x="109" y="84"/>
                    <a:pt x="109" y="84"/>
                  </a:cubicBezTo>
                  <a:cubicBezTo>
                    <a:pt x="165" y="106"/>
                    <a:pt x="165" y="106"/>
                    <a:pt x="165" y="106"/>
                  </a:cubicBezTo>
                  <a:cubicBezTo>
                    <a:pt x="173" y="68"/>
                    <a:pt x="154" y="29"/>
                    <a:pt x="119" y="12"/>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56"/>
            <p:cNvSpPr>
              <a:spLocks/>
            </p:cNvSpPr>
            <p:nvPr/>
          </p:nvSpPr>
          <p:spPr bwMode="auto">
            <a:xfrm>
              <a:off x="5212" y="2482"/>
              <a:ext cx="62" cy="36"/>
            </a:xfrm>
            <a:custGeom>
              <a:avLst/>
              <a:gdLst>
                <a:gd name="T0" fmla="*/ 4 w 62"/>
                <a:gd name="T1" fmla="*/ 0 h 36"/>
                <a:gd name="T2" fmla="*/ 0 w 62"/>
                <a:gd name="T3" fmla="*/ 12 h 36"/>
                <a:gd name="T4" fmla="*/ 62 w 62"/>
                <a:gd name="T5" fmla="*/ 36 h 36"/>
                <a:gd name="T6" fmla="*/ 62 w 62"/>
                <a:gd name="T7" fmla="*/ 21 h 36"/>
                <a:gd name="T8" fmla="*/ 4 w 62"/>
                <a:gd name="T9" fmla="*/ 0 h 36"/>
              </a:gdLst>
              <a:ahLst/>
              <a:cxnLst>
                <a:cxn ang="0">
                  <a:pos x="T0" y="T1"/>
                </a:cxn>
                <a:cxn ang="0">
                  <a:pos x="T2" y="T3"/>
                </a:cxn>
                <a:cxn ang="0">
                  <a:pos x="T4" y="T5"/>
                </a:cxn>
                <a:cxn ang="0">
                  <a:pos x="T6" y="T7"/>
                </a:cxn>
                <a:cxn ang="0">
                  <a:pos x="T8" y="T9"/>
                </a:cxn>
              </a:cxnLst>
              <a:rect l="0" t="0" r="r" b="b"/>
              <a:pathLst>
                <a:path w="62" h="36">
                  <a:moveTo>
                    <a:pt x="4" y="0"/>
                  </a:moveTo>
                  <a:lnTo>
                    <a:pt x="0" y="12"/>
                  </a:lnTo>
                  <a:lnTo>
                    <a:pt x="62" y="36"/>
                  </a:lnTo>
                  <a:lnTo>
                    <a:pt x="62" y="21"/>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57"/>
            <p:cNvSpPr>
              <a:spLocks/>
            </p:cNvSpPr>
            <p:nvPr/>
          </p:nvSpPr>
          <p:spPr bwMode="auto">
            <a:xfrm>
              <a:off x="5120" y="2412"/>
              <a:ext cx="112" cy="146"/>
            </a:xfrm>
            <a:custGeom>
              <a:avLst/>
              <a:gdLst>
                <a:gd name="T0" fmla="*/ 133 w 133"/>
                <a:gd name="T1" fmla="*/ 19 h 176"/>
                <a:gd name="T2" fmla="*/ 127 w 133"/>
                <a:gd name="T3" fmla="*/ 17 h 176"/>
                <a:gd name="T4" fmla="*/ 17 w 133"/>
                <a:gd name="T5" fmla="*/ 65 h 176"/>
                <a:gd name="T6" fmla="*/ 65 w 133"/>
                <a:gd name="T7" fmla="*/ 175 h 176"/>
                <a:gd name="T8" fmla="*/ 70 w 133"/>
                <a:gd name="T9" fmla="*/ 176 h 176"/>
                <a:gd name="T10" fmla="*/ 30 w 133"/>
                <a:gd name="T11" fmla="*/ 70 h 176"/>
                <a:gd name="T12" fmla="*/ 133 w 133"/>
                <a:gd name="T13" fmla="*/ 19 h 176"/>
              </a:gdLst>
              <a:ahLst/>
              <a:cxnLst>
                <a:cxn ang="0">
                  <a:pos x="T0" y="T1"/>
                </a:cxn>
                <a:cxn ang="0">
                  <a:pos x="T2" y="T3"/>
                </a:cxn>
                <a:cxn ang="0">
                  <a:pos x="T4" y="T5"/>
                </a:cxn>
                <a:cxn ang="0">
                  <a:pos x="T6" y="T7"/>
                </a:cxn>
                <a:cxn ang="0">
                  <a:pos x="T8" y="T9"/>
                </a:cxn>
                <a:cxn ang="0">
                  <a:pos x="T10" y="T11"/>
                </a:cxn>
                <a:cxn ang="0">
                  <a:pos x="T12" y="T13"/>
                </a:cxn>
              </a:cxnLst>
              <a:rect l="0" t="0" r="r" b="b"/>
              <a:pathLst>
                <a:path w="133" h="176">
                  <a:moveTo>
                    <a:pt x="133" y="19"/>
                  </a:moveTo>
                  <a:cubicBezTo>
                    <a:pt x="131" y="19"/>
                    <a:pt x="129" y="18"/>
                    <a:pt x="127" y="17"/>
                  </a:cubicBezTo>
                  <a:cubicBezTo>
                    <a:pt x="84" y="0"/>
                    <a:pt x="34" y="21"/>
                    <a:pt x="17" y="65"/>
                  </a:cubicBezTo>
                  <a:cubicBezTo>
                    <a:pt x="0" y="108"/>
                    <a:pt x="22" y="158"/>
                    <a:pt x="65" y="175"/>
                  </a:cubicBezTo>
                  <a:cubicBezTo>
                    <a:pt x="67" y="176"/>
                    <a:pt x="68" y="176"/>
                    <a:pt x="70" y="176"/>
                  </a:cubicBezTo>
                  <a:cubicBezTo>
                    <a:pt x="32" y="156"/>
                    <a:pt x="14" y="111"/>
                    <a:pt x="30" y="70"/>
                  </a:cubicBezTo>
                  <a:cubicBezTo>
                    <a:pt x="46" y="29"/>
                    <a:pt x="91" y="7"/>
                    <a:pt x="133" y="19"/>
                  </a:cubicBezTo>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58"/>
            <p:cNvSpPr>
              <a:spLocks/>
            </p:cNvSpPr>
            <p:nvPr/>
          </p:nvSpPr>
          <p:spPr bwMode="auto">
            <a:xfrm>
              <a:off x="5178" y="2578"/>
              <a:ext cx="169" cy="66"/>
            </a:xfrm>
            <a:custGeom>
              <a:avLst/>
              <a:gdLst>
                <a:gd name="T0" fmla="*/ 183 w 201"/>
                <a:gd name="T1" fmla="*/ 0 h 80"/>
                <a:gd name="T2" fmla="*/ 177 w 201"/>
                <a:gd name="T3" fmla="*/ 3 h 80"/>
                <a:gd name="T4" fmla="*/ 190 w 201"/>
                <a:gd name="T5" fmla="*/ 33 h 80"/>
                <a:gd name="T6" fmla="*/ 101 w 201"/>
                <a:gd name="T7" fmla="*/ 68 h 80"/>
                <a:gd name="T8" fmla="*/ 17 w 201"/>
                <a:gd name="T9" fmla="*/ 20 h 80"/>
                <a:gd name="T10" fmla="*/ 0 w 201"/>
                <a:gd name="T11" fmla="*/ 24 h 80"/>
                <a:gd name="T12" fmla="*/ 90 w 201"/>
                <a:gd name="T13" fmla="*/ 76 h 80"/>
                <a:gd name="T14" fmla="*/ 103 w 201"/>
                <a:gd name="T15" fmla="*/ 79 h 80"/>
                <a:gd name="T16" fmla="*/ 110 w 201"/>
                <a:gd name="T17" fmla="*/ 78 h 80"/>
                <a:gd name="T18" fmla="*/ 201 w 201"/>
                <a:gd name="T19" fmla="*/ 42 h 80"/>
                <a:gd name="T20" fmla="*/ 183 w 201"/>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 h="80">
                  <a:moveTo>
                    <a:pt x="183" y="0"/>
                  </a:moveTo>
                  <a:cubicBezTo>
                    <a:pt x="177" y="3"/>
                    <a:pt x="177" y="3"/>
                    <a:pt x="177" y="3"/>
                  </a:cubicBezTo>
                  <a:cubicBezTo>
                    <a:pt x="190" y="33"/>
                    <a:pt x="190" y="33"/>
                    <a:pt x="190" y="33"/>
                  </a:cubicBezTo>
                  <a:cubicBezTo>
                    <a:pt x="101" y="68"/>
                    <a:pt x="101" y="68"/>
                    <a:pt x="101" y="68"/>
                  </a:cubicBezTo>
                  <a:cubicBezTo>
                    <a:pt x="101" y="68"/>
                    <a:pt x="28" y="26"/>
                    <a:pt x="17" y="20"/>
                  </a:cubicBezTo>
                  <a:cubicBezTo>
                    <a:pt x="7" y="13"/>
                    <a:pt x="0" y="24"/>
                    <a:pt x="0" y="24"/>
                  </a:cubicBezTo>
                  <a:cubicBezTo>
                    <a:pt x="90" y="76"/>
                    <a:pt x="90" y="76"/>
                    <a:pt x="90" y="76"/>
                  </a:cubicBezTo>
                  <a:cubicBezTo>
                    <a:pt x="94" y="79"/>
                    <a:pt x="99" y="80"/>
                    <a:pt x="103" y="79"/>
                  </a:cubicBezTo>
                  <a:cubicBezTo>
                    <a:pt x="105" y="79"/>
                    <a:pt x="108" y="79"/>
                    <a:pt x="110" y="78"/>
                  </a:cubicBezTo>
                  <a:cubicBezTo>
                    <a:pt x="201" y="42"/>
                    <a:pt x="201" y="42"/>
                    <a:pt x="201" y="42"/>
                  </a:cubicBezTo>
                  <a:lnTo>
                    <a:pt x="183" y="0"/>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59"/>
            <p:cNvSpPr>
              <a:spLocks/>
            </p:cNvSpPr>
            <p:nvPr/>
          </p:nvSpPr>
          <p:spPr bwMode="auto">
            <a:xfrm>
              <a:off x="4874" y="2539"/>
              <a:ext cx="341" cy="333"/>
            </a:xfrm>
            <a:custGeom>
              <a:avLst/>
              <a:gdLst>
                <a:gd name="T0" fmla="*/ 181 w 406"/>
                <a:gd name="T1" fmla="*/ 148 h 399"/>
                <a:gd name="T2" fmla="*/ 189 w 406"/>
                <a:gd name="T3" fmla="*/ 155 h 399"/>
                <a:gd name="T4" fmla="*/ 265 w 406"/>
                <a:gd name="T5" fmla="*/ 211 h 399"/>
                <a:gd name="T6" fmla="*/ 288 w 406"/>
                <a:gd name="T7" fmla="*/ 204 h 399"/>
                <a:gd name="T8" fmla="*/ 197 w 406"/>
                <a:gd name="T9" fmla="*/ 135 h 399"/>
                <a:gd name="T10" fmla="*/ 397 w 406"/>
                <a:gd name="T11" fmla="*/ 43 h 399"/>
                <a:gd name="T12" fmla="*/ 406 w 406"/>
                <a:gd name="T13" fmla="*/ 43 h 399"/>
                <a:gd name="T14" fmla="*/ 398 w 406"/>
                <a:gd name="T15" fmla="*/ 39 h 399"/>
                <a:gd name="T16" fmla="*/ 327 w 406"/>
                <a:gd name="T17" fmla="*/ 3 h 399"/>
                <a:gd name="T18" fmla="*/ 309 w 406"/>
                <a:gd name="T19" fmla="*/ 0 h 399"/>
                <a:gd name="T20" fmla="*/ 308 w 406"/>
                <a:gd name="T21" fmla="*/ 0 h 399"/>
                <a:gd name="T22" fmla="*/ 292 w 406"/>
                <a:gd name="T23" fmla="*/ 3 h 399"/>
                <a:gd name="T24" fmla="*/ 288 w 406"/>
                <a:gd name="T25" fmla="*/ 4 h 399"/>
                <a:gd name="T26" fmla="*/ 285 w 406"/>
                <a:gd name="T27" fmla="*/ 5 h 399"/>
                <a:gd name="T28" fmla="*/ 244 w 406"/>
                <a:gd name="T29" fmla="*/ 31 h 399"/>
                <a:gd name="T30" fmla="*/ 243 w 406"/>
                <a:gd name="T31" fmla="*/ 31 h 399"/>
                <a:gd name="T32" fmla="*/ 185 w 406"/>
                <a:gd name="T33" fmla="*/ 99 h 399"/>
                <a:gd name="T34" fmla="*/ 183 w 406"/>
                <a:gd name="T35" fmla="*/ 102 h 399"/>
                <a:gd name="T36" fmla="*/ 177 w 406"/>
                <a:gd name="T37" fmla="*/ 110 h 399"/>
                <a:gd name="T38" fmla="*/ 163 w 406"/>
                <a:gd name="T39" fmla="*/ 134 h 399"/>
                <a:gd name="T40" fmla="*/ 163 w 406"/>
                <a:gd name="T41" fmla="*/ 134 h 399"/>
                <a:gd name="T42" fmla="*/ 163 w 406"/>
                <a:gd name="T43" fmla="*/ 134 h 399"/>
                <a:gd name="T44" fmla="*/ 163 w 406"/>
                <a:gd name="T45" fmla="*/ 134 h 399"/>
                <a:gd name="T46" fmla="*/ 144 w 406"/>
                <a:gd name="T47" fmla="*/ 158 h 399"/>
                <a:gd name="T48" fmla="*/ 141 w 406"/>
                <a:gd name="T49" fmla="*/ 190 h 399"/>
                <a:gd name="T50" fmla="*/ 132 w 406"/>
                <a:gd name="T51" fmla="*/ 230 h 399"/>
                <a:gd name="T52" fmla="*/ 0 w 406"/>
                <a:gd name="T53" fmla="*/ 377 h 399"/>
                <a:gd name="T54" fmla="*/ 13 w 406"/>
                <a:gd name="T55" fmla="*/ 389 h 399"/>
                <a:gd name="T56" fmla="*/ 144 w 406"/>
                <a:gd name="T57" fmla="*/ 243 h 399"/>
                <a:gd name="T58" fmla="*/ 151 w 406"/>
                <a:gd name="T59" fmla="*/ 230 h 399"/>
                <a:gd name="T60" fmla="*/ 157 w 406"/>
                <a:gd name="T61" fmla="*/ 206 h 399"/>
                <a:gd name="T62" fmla="*/ 256 w 406"/>
                <a:gd name="T63" fmla="*/ 283 h 399"/>
                <a:gd name="T64" fmla="*/ 189 w 406"/>
                <a:gd name="T65" fmla="*/ 388 h 399"/>
                <a:gd name="T66" fmla="*/ 207 w 406"/>
                <a:gd name="T67" fmla="*/ 399 h 399"/>
                <a:gd name="T68" fmla="*/ 271 w 406"/>
                <a:gd name="T69" fmla="*/ 298 h 399"/>
                <a:gd name="T70" fmla="*/ 263 w 406"/>
                <a:gd name="T71" fmla="*/ 257 h 399"/>
                <a:gd name="T72" fmla="*/ 163 w 406"/>
                <a:gd name="T73" fmla="*/ 180 h 399"/>
                <a:gd name="T74" fmla="*/ 166 w 406"/>
                <a:gd name="T75" fmla="*/ 169 h 399"/>
                <a:gd name="T76" fmla="*/ 181 w 406"/>
                <a:gd name="T77" fmla="*/ 14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6" h="399">
                  <a:moveTo>
                    <a:pt x="181" y="148"/>
                  </a:moveTo>
                  <a:cubicBezTo>
                    <a:pt x="189" y="155"/>
                    <a:pt x="189" y="155"/>
                    <a:pt x="189" y="155"/>
                  </a:cubicBezTo>
                  <a:cubicBezTo>
                    <a:pt x="265" y="211"/>
                    <a:pt x="265" y="211"/>
                    <a:pt x="265" y="211"/>
                  </a:cubicBezTo>
                  <a:cubicBezTo>
                    <a:pt x="268" y="211"/>
                    <a:pt x="276" y="211"/>
                    <a:pt x="288" y="204"/>
                  </a:cubicBezTo>
                  <a:cubicBezTo>
                    <a:pt x="197" y="135"/>
                    <a:pt x="197" y="135"/>
                    <a:pt x="197" y="135"/>
                  </a:cubicBezTo>
                  <a:cubicBezTo>
                    <a:pt x="228" y="107"/>
                    <a:pt x="306" y="43"/>
                    <a:pt x="397" y="43"/>
                  </a:cubicBezTo>
                  <a:cubicBezTo>
                    <a:pt x="401" y="43"/>
                    <a:pt x="406" y="43"/>
                    <a:pt x="406" y="43"/>
                  </a:cubicBezTo>
                  <a:cubicBezTo>
                    <a:pt x="406" y="43"/>
                    <a:pt x="402" y="41"/>
                    <a:pt x="398" y="39"/>
                  </a:cubicBezTo>
                  <a:cubicBezTo>
                    <a:pt x="358" y="21"/>
                    <a:pt x="375" y="29"/>
                    <a:pt x="327" y="3"/>
                  </a:cubicBezTo>
                  <a:cubicBezTo>
                    <a:pt x="321" y="1"/>
                    <a:pt x="315" y="0"/>
                    <a:pt x="309" y="0"/>
                  </a:cubicBezTo>
                  <a:cubicBezTo>
                    <a:pt x="308" y="0"/>
                    <a:pt x="308" y="0"/>
                    <a:pt x="308" y="0"/>
                  </a:cubicBezTo>
                  <a:cubicBezTo>
                    <a:pt x="303" y="0"/>
                    <a:pt x="297" y="1"/>
                    <a:pt x="292" y="3"/>
                  </a:cubicBezTo>
                  <a:cubicBezTo>
                    <a:pt x="290" y="3"/>
                    <a:pt x="289" y="4"/>
                    <a:pt x="288" y="4"/>
                  </a:cubicBezTo>
                  <a:cubicBezTo>
                    <a:pt x="287" y="4"/>
                    <a:pt x="286" y="5"/>
                    <a:pt x="285" y="5"/>
                  </a:cubicBezTo>
                  <a:cubicBezTo>
                    <a:pt x="271" y="11"/>
                    <a:pt x="257" y="20"/>
                    <a:pt x="244" y="31"/>
                  </a:cubicBezTo>
                  <a:cubicBezTo>
                    <a:pt x="244" y="31"/>
                    <a:pt x="243" y="31"/>
                    <a:pt x="243" y="31"/>
                  </a:cubicBezTo>
                  <a:cubicBezTo>
                    <a:pt x="220" y="52"/>
                    <a:pt x="199" y="78"/>
                    <a:pt x="185" y="99"/>
                  </a:cubicBezTo>
                  <a:cubicBezTo>
                    <a:pt x="184" y="100"/>
                    <a:pt x="183" y="101"/>
                    <a:pt x="183" y="102"/>
                  </a:cubicBezTo>
                  <a:cubicBezTo>
                    <a:pt x="181" y="105"/>
                    <a:pt x="179" y="108"/>
                    <a:pt x="177" y="110"/>
                  </a:cubicBezTo>
                  <a:cubicBezTo>
                    <a:pt x="168" y="124"/>
                    <a:pt x="163" y="134"/>
                    <a:pt x="163" y="134"/>
                  </a:cubicBezTo>
                  <a:cubicBezTo>
                    <a:pt x="163" y="134"/>
                    <a:pt x="163" y="134"/>
                    <a:pt x="163" y="134"/>
                  </a:cubicBezTo>
                  <a:cubicBezTo>
                    <a:pt x="163" y="134"/>
                    <a:pt x="163" y="134"/>
                    <a:pt x="163" y="134"/>
                  </a:cubicBezTo>
                  <a:cubicBezTo>
                    <a:pt x="163" y="134"/>
                    <a:pt x="163" y="134"/>
                    <a:pt x="163" y="134"/>
                  </a:cubicBezTo>
                  <a:cubicBezTo>
                    <a:pt x="144" y="158"/>
                    <a:pt x="144" y="158"/>
                    <a:pt x="144" y="158"/>
                  </a:cubicBezTo>
                  <a:cubicBezTo>
                    <a:pt x="137" y="167"/>
                    <a:pt x="136" y="180"/>
                    <a:pt x="141" y="190"/>
                  </a:cubicBezTo>
                  <a:cubicBezTo>
                    <a:pt x="132" y="230"/>
                    <a:pt x="132" y="230"/>
                    <a:pt x="132" y="230"/>
                  </a:cubicBezTo>
                  <a:cubicBezTo>
                    <a:pt x="0" y="377"/>
                    <a:pt x="0" y="377"/>
                    <a:pt x="0" y="377"/>
                  </a:cubicBezTo>
                  <a:cubicBezTo>
                    <a:pt x="13" y="389"/>
                    <a:pt x="13" y="389"/>
                    <a:pt x="13" y="389"/>
                  </a:cubicBezTo>
                  <a:cubicBezTo>
                    <a:pt x="144" y="243"/>
                    <a:pt x="144" y="243"/>
                    <a:pt x="144" y="243"/>
                  </a:cubicBezTo>
                  <a:cubicBezTo>
                    <a:pt x="147" y="239"/>
                    <a:pt x="150" y="235"/>
                    <a:pt x="151" y="230"/>
                  </a:cubicBezTo>
                  <a:cubicBezTo>
                    <a:pt x="157" y="206"/>
                    <a:pt x="157" y="206"/>
                    <a:pt x="157" y="206"/>
                  </a:cubicBezTo>
                  <a:cubicBezTo>
                    <a:pt x="256" y="283"/>
                    <a:pt x="256" y="283"/>
                    <a:pt x="256" y="283"/>
                  </a:cubicBezTo>
                  <a:cubicBezTo>
                    <a:pt x="189" y="388"/>
                    <a:pt x="189" y="388"/>
                    <a:pt x="189" y="388"/>
                  </a:cubicBezTo>
                  <a:cubicBezTo>
                    <a:pt x="207" y="399"/>
                    <a:pt x="207" y="399"/>
                    <a:pt x="207" y="399"/>
                  </a:cubicBezTo>
                  <a:cubicBezTo>
                    <a:pt x="271" y="298"/>
                    <a:pt x="271" y="298"/>
                    <a:pt x="271" y="298"/>
                  </a:cubicBezTo>
                  <a:cubicBezTo>
                    <a:pt x="279" y="285"/>
                    <a:pt x="276" y="267"/>
                    <a:pt x="263" y="257"/>
                  </a:cubicBezTo>
                  <a:cubicBezTo>
                    <a:pt x="163" y="180"/>
                    <a:pt x="163" y="180"/>
                    <a:pt x="163" y="180"/>
                  </a:cubicBezTo>
                  <a:cubicBezTo>
                    <a:pt x="166" y="169"/>
                    <a:pt x="166" y="169"/>
                    <a:pt x="166" y="169"/>
                  </a:cubicBezTo>
                  <a:lnTo>
                    <a:pt x="181" y="148"/>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60"/>
            <p:cNvSpPr>
              <a:spLocks/>
            </p:cNvSpPr>
            <p:nvPr/>
          </p:nvSpPr>
          <p:spPr bwMode="auto">
            <a:xfrm>
              <a:off x="4873" y="2847"/>
              <a:ext cx="100" cy="49"/>
            </a:xfrm>
            <a:custGeom>
              <a:avLst/>
              <a:gdLst>
                <a:gd name="T0" fmla="*/ 109 w 119"/>
                <a:gd name="T1" fmla="*/ 27 h 58"/>
                <a:gd name="T2" fmla="*/ 51 w 119"/>
                <a:gd name="T3" fmla="*/ 0 h 58"/>
                <a:gd name="T4" fmla="*/ 50 w 119"/>
                <a:gd name="T5" fmla="*/ 0 h 58"/>
                <a:gd name="T6" fmla="*/ 48 w 119"/>
                <a:gd name="T7" fmla="*/ 0 h 58"/>
                <a:gd name="T8" fmla="*/ 42 w 119"/>
                <a:gd name="T9" fmla="*/ 5 h 58"/>
                <a:gd name="T10" fmla="*/ 41 w 119"/>
                <a:gd name="T11" fmla="*/ 5 h 58"/>
                <a:gd name="T12" fmla="*/ 21 w 119"/>
                <a:gd name="T13" fmla="*/ 20 h 58"/>
                <a:gd name="T14" fmla="*/ 1 w 119"/>
                <a:gd name="T15" fmla="*/ 8 h 58"/>
                <a:gd name="T16" fmla="*/ 1 w 119"/>
                <a:gd name="T17" fmla="*/ 49 h 58"/>
                <a:gd name="T18" fmla="*/ 9 w 119"/>
                <a:gd name="T19" fmla="*/ 57 h 58"/>
                <a:gd name="T20" fmla="*/ 111 w 119"/>
                <a:gd name="T21" fmla="*/ 57 h 58"/>
                <a:gd name="T22" fmla="*/ 117 w 119"/>
                <a:gd name="T23" fmla="*/ 50 h 58"/>
                <a:gd name="T24" fmla="*/ 117 w 119"/>
                <a:gd name="T25" fmla="*/ 37 h 58"/>
                <a:gd name="T26" fmla="*/ 109 w 119"/>
                <a:gd name="T27"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58">
                  <a:moveTo>
                    <a:pt x="109" y="27"/>
                  </a:moveTo>
                  <a:cubicBezTo>
                    <a:pt x="100" y="22"/>
                    <a:pt x="51" y="0"/>
                    <a:pt x="51" y="0"/>
                  </a:cubicBezTo>
                  <a:cubicBezTo>
                    <a:pt x="51" y="0"/>
                    <a:pt x="51" y="0"/>
                    <a:pt x="50" y="0"/>
                  </a:cubicBezTo>
                  <a:cubicBezTo>
                    <a:pt x="50" y="0"/>
                    <a:pt x="49" y="0"/>
                    <a:pt x="48" y="0"/>
                  </a:cubicBezTo>
                  <a:cubicBezTo>
                    <a:pt x="45" y="0"/>
                    <a:pt x="42" y="2"/>
                    <a:pt x="42" y="5"/>
                  </a:cubicBezTo>
                  <a:cubicBezTo>
                    <a:pt x="42" y="5"/>
                    <a:pt x="42" y="5"/>
                    <a:pt x="41" y="5"/>
                  </a:cubicBezTo>
                  <a:cubicBezTo>
                    <a:pt x="41" y="10"/>
                    <a:pt x="35" y="20"/>
                    <a:pt x="21" y="20"/>
                  </a:cubicBezTo>
                  <a:cubicBezTo>
                    <a:pt x="1" y="8"/>
                    <a:pt x="1" y="8"/>
                    <a:pt x="1" y="8"/>
                  </a:cubicBezTo>
                  <a:cubicBezTo>
                    <a:pt x="1" y="49"/>
                    <a:pt x="1" y="49"/>
                    <a:pt x="1" y="49"/>
                  </a:cubicBezTo>
                  <a:cubicBezTo>
                    <a:pt x="1" y="49"/>
                    <a:pt x="0" y="57"/>
                    <a:pt x="9" y="57"/>
                  </a:cubicBezTo>
                  <a:cubicBezTo>
                    <a:pt x="111" y="57"/>
                    <a:pt x="111" y="57"/>
                    <a:pt x="111" y="57"/>
                  </a:cubicBezTo>
                  <a:cubicBezTo>
                    <a:pt x="111" y="57"/>
                    <a:pt x="117" y="58"/>
                    <a:pt x="117" y="50"/>
                  </a:cubicBezTo>
                  <a:cubicBezTo>
                    <a:pt x="117" y="37"/>
                    <a:pt x="117" y="37"/>
                    <a:pt x="117" y="37"/>
                  </a:cubicBezTo>
                  <a:cubicBezTo>
                    <a:pt x="117" y="37"/>
                    <a:pt x="119" y="32"/>
                    <a:pt x="109"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61"/>
            <p:cNvSpPr>
              <a:spLocks/>
            </p:cNvSpPr>
            <p:nvPr/>
          </p:nvSpPr>
          <p:spPr bwMode="auto">
            <a:xfrm>
              <a:off x="4873" y="2854"/>
              <a:ext cx="14" cy="41"/>
            </a:xfrm>
            <a:custGeom>
              <a:avLst/>
              <a:gdLst>
                <a:gd name="T0" fmla="*/ 1 w 16"/>
                <a:gd name="T1" fmla="*/ 0 h 49"/>
                <a:gd name="T2" fmla="*/ 1 w 16"/>
                <a:gd name="T3" fmla="*/ 41 h 49"/>
                <a:gd name="T4" fmla="*/ 9 w 16"/>
                <a:gd name="T5" fmla="*/ 49 h 49"/>
                <a:gd name="T6" fmla="*/ 16 w 16"/>
                <a:gd name="T7" fmla="*/ 49 h 49"/>
                <a:gd name="T8" fmla="*/ 16 w 16"/>
                <a:gd name="T9" fmla="*/ 9 h 49"/>
                <a:gd name="T10" fmla="*/ 1 w 16"/>
                <a:gd name="T11" fmla="*/ 0 h 49"/>
              </a:gdLst>
              <a:ahLst/>
              <a:cxnLst>
                <a:cxn ang="0">
                  <a:pos x="T0" y="T1"/>
                </a:cxn>
                <a:cxn ang="0">
                  <a:pos x="T2" y="T3"/>
                </a:cxn>
                <a:cxn ang="0">
                  <a:pos x="T4" y="T5"/>
                </a:cxn>
                <a:cxn ang="0">
                  <a:pos x="T6" y="T7"/>
                </a:cxn>
                <a:cxn ang="0">
                  <a:pos x="T8" y="T9"/>
                </a:cxn>
                <a:cxn ang="0">
                  <a:pos x="T10" y="T11"/>
                </a:cxn>
              </a:cxnLst>
              <a:rect l="0" t="0" r="r" b="b"/>
              <a:pathLst>
                <a:path w="16" h="49">
                  <a:moveTo>
                    <a:pt x="1" y="0"/>
                  </a:moveTo>
                  <a:cubicBezTo>
                    <a:pt x="1" y="41"/>
                    <a:pt x="1" y="41"/>
                    <a:pt x="1" y="41"/>
                  </a:cubicBezTo>
                  <a:cubicBezTo>
                    <a:pt x="1" y="41"/>
                    <a:pt x="0" y="49"/>
                    <a:pt x="9" y="49"/>
                  </a:cubicBezTo>
                  <a:cubicBezTo>
                    <a:pt x="16" y="49"/>
                    <a:pt x="16" y="49"/>
                    <a:pt x="16" y="49"/>
                  </a:cubicBezTo>
                  <a:cubicBezTo>
                    <a:pt x="16" y="9"/>
                    <a:pt x="16" y="9"/>
                    <a:pt x="16" y="9"/>
                  </a:cubicBezTo>
                  <a:lnTo>
                    <a:pt x="1"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62"/>
            <p:cNvSpPr>
              <a:spLocks/>
            </p:cNvSpPr>
            <p:nvPr/>
          </p:nvSpPr>
          <p:spPr bwMode="auto">
            <a:xfrm>
              <a:off x="5033" y="2857"/>
              <a:ext cx="100" cy="48"/>
            </a:xfrm>
            <a:custGeom>
              <a:avLst/>
              <a:gdLst>
                <a:gd name="T0" fmla="*/ 109 w 119"/>
                <a:gd name="T1" fmla="*/ 27 h 58"/>
                <a:gd name="T2" fmla="*/ 51 w 119"/>
                <a:gd name="T3" fmla="*/ 0 h 58"/>
                <a:gd name="T4" fmla="*/ 50 w 119"/>
                <a:gd name="T5" fmla="*/ 0 h 58"/>
                <a:gd name="T6" fmla="*/ 48 w 119"/>
                <a:gd name="T7" fmla="*/ 0 h 58"/>
                <a:gd name="T8" fmla="*/ 41 w 119"/>
                <a:gd name="T9" fmla="*/ 5 h 58"/>
                <a:gd name="T10" fmla="*/ 41 w 119"/>
                <a:gd name="T11" fmla="*/ 5 h 58"/>
                <a:gd name="T12" fmla="*/ 20 w 119"/>
                <a:gd name="T13" fmla="*/ 20 h 58"/>
                <a:gd name="T14" fmla="*/ 0 w 119"/>
                <a:gd name="T15" fmla="*/ 8 h 58"/>
                <a:gd name="T16" fmla="*/ 0 w 119"/>
                <a:gd name="T17" fmla="*/ 49 h 58"/>
                <a:gd name="T18" fmla="*/ 8 w 119"/>
                <a:gd name="T19" fmla="*/ 57 h 58"/>
                <a:gd name="T20" fmla="*/ 110 w 119"/>
                <a:gd name="T21" fmla="*/ 57 h 58"/>
                <a:gd name="T22" fmla="*/ 117 w 119"/>
                <a:gd name="T23" fmla="*/ 50 h 58"/>
                <a:gd name="T24" fmla="*/ 117 w 119"/>
                <a:gd name="T25" fmla="*/ 37 h 58"/>
                <a:gd name="T26" fmla="*/ 109 w 119"/>
                <a:gd name="T27"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58">
                  <a:moveTo>
                    <a:pt x="109" y="27"/>
                  </a:moveTo>
                  <a:cubicBezTo>
                    <a:pt x="99" y="22"/>
                    <a:pt x="51" y="0"/>
                    <a:pt x="51" y="0"/>
                  </a:cubicBezTo>
                  <a:cubicBezTo>
                    <a:pt x="51" y="0"/>
                    <a:pt x="50" y="0"/>
                    <a:pt x="50" y="0"/>
                  </a:cubicBezTo>
                  <a:cubicBezTo>
                    <a:pt x="49" y="0"/>
                    <a:pt x="48" y="0"/>
                    <a:pt x="48" y="0"/>
                  </a:cubicBezTo>
                  <a:cubicBezTo>
                    <a:pt x="44" y="0"/>
                    <a:pt x="42" y="2"/>
                    <a:pt x="41" y="5"/>
                  </a:cubicBezTo>
                  <a:cubicBezTo>
                    <a:pt x="41" y="5"/>
                    <a:pt x="41" y="5"/>
                    <a:pt x="41" y="5"/>
                  </a:cubicBezTo>
                  <a:cubicBezTo>
                    <a:pt x="40" y="10"/>
                    <a:pt x="35" y="20"/>
                    <a:pt x="20" y="20"/>
                  </a:cubicBezTo>
                  <a:cubicBezTo>
                    <a:pt x="0" y="8"/>
                    <a:pt x="0" y="8"/>
                    <a:pt x="0" y="8"/>
                  </a:cubicBezTo>
                  <a:cubicBezTo>
                    <a:pt x="0" y="49"/>
                    <a:pt x="0" y="49"/>
                    <a:pt x="0" y="49"/>
                  </a:cubicBezTo>
                  <a:cubicBezTo>
                    <a:pt x="0" y="49"/>
                    <a:pt x="0" y="57"/>
                    <a:pt x="8" y="57"/>
                  </a:cubicBezTo>
                  <a:cubicBezTo>
                    <a:pt x="110" y="57"/>
                    <a:pt x="110" y="57"/>
                    <a:pt x="110" y="57"/>
                  </a:cubicBezTo>
                  <a:cubicBezTo>
                    <a:pt x="110" y="57"/>
                    <a:pt x="117" y="58"/>
                    <a:pt x="117" y="50"/>
                  </a:cubicBezTo>
                  <a:cubicBezTo>
                    <a:pt x="117" y="37"/>
                    <a:pt x="117" y="37"/>
                    <a:pt x="117" y="37"/>
                  </a:cubicBezTo>
                  <a:cubicBezTo>
                    <a:pt x="117" y="37"/>
                    <a:pt x="119" y="32"/>
                    <a:pt x="109"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63"/>
            <p:cNvSpPr>
              <a:spLocks/>
            </p:cNvSpPr>
            <p:nvPr/>
          </p:nvSpPr>
          <p:spPr bwMode="auto">
            <a:xfrm>
              <a:off x="5033" y="2863"/>
              <a:ext cx="16" cy="41"/>
            </a:xfrm>
            <a:custGeom>
              <a:avLst/>
              <a:gdLst>
                <a:gd name="T0" fmla="*/ 19 w 19"/>
                <a:gd name="T1" fmla="*/ 11 h 49"/>
                <a:gd name="T2" fmla="*/ 0 w 19"/>
                <a:gd name="T3" fmla="*/ 0 h 49"/>
                <a:gd name="T4" fmla="*/ 0 w 19"/>
                <a:gd name="T5" fmla="*/ 41 h 49"/>
                <a:gd name="T6" fmla="*/ 8 w 19"/>
                <a:gd name="T7" fmla="*/ 49 h 49"/>
                <a:gd name="T8" fmla="*/ 19 w 19"/>
                <a:gd name="T9" fmla="*/ 49 h 49"/>
                <a:gd name="T10" fmla="*/ 19 w 19"/>
                <a:gd name="T11" fmla="*/ 11 h 49"/>
              </a:gdLst>
              <a:ahLst/>
              <a:cxnLst>
                <a:cxn ang="0">
                  <a:pos x="T0" y="T1"/>
                </a:cxn>
                <a:cxn ang="0">
                  <a:pos x="T2" y="T3"/>
                </a:cxn>
                <a:cxn ang="0">
                  <a:pos x="T4" y="T5"/>
                </a:cxn>
                <a:cxn ang="0">
                  <a:pos x="T6" y="T7"/>
                </a:cxn>
                <a:cxn ang="0">
                  <a:pos x="T8" y="T9"/>
                </a:cxn>
                <a:cxn ang="0">
                  <a:pos x="T10" y="T11"/>
                </a:cxn>
              </a:cxnLst>
              <a:rect l="0" t="0" r="r" b="b"/>
              <a:pathLst>
                <a:path w="19" h="49">
                  <a:moveTo>
                    <a:pt x="19" y="11"/>
                  </a:moveTo>
                  <a:cubicBezTo>
                    <a:pt x="0" y="0"/>
                    <a:pt x="0" y="0"/>
                    <a:pt x="0" y="0"/>
                  </a:cubicBezTo>
                  <a:cubicBezTo>
                    <a:pt x="0" y="41"/>
                    <a:pt x="0" y="41"/>
                    <a:pt x="0" y="41"/>
                  </a:cubicBezTo>
                  <a:cubicBezTo>
                    <a:pt x="0" y="41"/>
                    <a:pt x="0" y="49"/>
                    <a:pt x="8" y="49"/>
                  </a:cubicBezTo>
                  <a:cubicBezTo>
                    <a:pt x="19" y="49"/>
                    <a:pt x="19" y="49"/>
                    <a:pt x="19" y="49"/>
                  </a:cubicBezTo>
                  <a:lnTo>
                    <a:pt x="19" y="11"/>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Line 64"/>
            <p:cNvSpPr>
              <a:spLocks noChangeShapeType="1"/>
            </p:cNvSpPr>
            <p:nvPr/>
          </p:nvSpPr>
          <p:spPr bwMode="auto">
            <a:xfrm>
              <a:off x="6546" y="259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Line 65"/>
            <p:cNvSpPr>
              <a:spLocks noChangeShapeType="1"/>
            </p:cNvSpPr>
            <p:nvPr/>
          </p:nvSpPr>
          <p:spPr bwMode="auto">
            <a:xfrm>
              <a:off x="6546" y="259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66"/>
            <p:cNvSpPr>
              <a:spLocks/>
            </p:cNvSpPr>
            <p:nvPr/>
          </p:nvSpPr>
          <p:spPr bwMode="auto">
            <a:xfrm>
              <a:off x="6436" y="2496"/>
              <a:ext cx="7" cy="7"/>
            </a:xfrm>
            <a:custGeom>
              <a:avLst/>
              <a:gdLst>
                <a:gd name="T0" fmla="*/ 4 w 9"/>
                <a:gd name="T1" fmla="*/ 8 h 9"/>
                <a:gd name="T2" fmla="*/ 0 w 9"/>
                <a:gd name="T3" fmla="*/ 4 h 9"/>
                <a:gd name="T4" fmla="*/ 5 w 9"/>
                <a:gd name="T5" fmla="*/ 0 h 9"/>
                <a:gd name="T6" fmla="*/ 8 w 9"/>
                <a:gd name="T7" fmla="*/ 5 h 9"/>
                <a:gd name="T8" fmla="*/ 4 w 9"/>
                <a:gd name="T9" fmla="*/ 8 h 9"/>
              </a:gdLst>
              <a:ahLst/>
              <a:cxnLst>
                <a:cxn ang="0">
                  <a:pos x="T0" y="T1"/>
                </a:cxn>
                <a:cxn ang="0">
                  <a:pos x="T2" y="T3"/>
                </a:cxn>
                <a:cxn ang="0">
                  <a:pos x="T4" y="T5"/>
                </a:cxn>
                <a:cxn ang="0">
                  <a:pos x="T6" y="T7"/>
                </a:cxn>
                <a:cxn ang="0">
                  <a:pos x="T8" y="T9"/>
                </a:cxn>
              </a:cxnLst>
              <a:rect l="0" t="0" r="r" b="b"/>
              <a:pathLst>
                <a:path w="9" h="9">
                  <a:moveTo>
                    <a:pt x="4" y="8"/>
                  </a:moveTo>
                  <a:cubicBezTo>
                    <a:pt x="2" y="8"/>
                    <a:pt x="0" y="6"/>
                    <a:pt x="0" y="4"/>
                  </a:cubicBezTo>
                  <a:cubicBezTo>
                    <a:pt x="1" y="2"/>
                    <a:pt x="3" y="0"/>
                    <a:pt x="5" y="0"/>
                  </a:cubicBezTo>
                  <a:cubicBezTo>
                    <a:pt x="7" y="1"/>
                    <a:pt x="9" y="3"/>
                    <a:pt x="8" y="5"/>
                  </a:cubicBezTo>
                  <a:cubicBezTo>
                    <a:pt x="8" y="7"/>
                    <a:pt x="6" y="9"/>
                    <a:pt x="4" y="8"/>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67"/>
            <p:cNvSpPr>
              <a:spLocks/>
            </p:cNvSpPr>
            <p:nvPr/>
          </p:nvSpPr>
          <p:spPr bwMode="auto">
            <a:xfrm>
              <a:off x="6426" y="2523"/>
              <a:ext cx="15" cy="9"/>
            </a:xfrm>
            <a:custGeom>
              <a:avLst/>
              <a:gdLst>
                <a:gd name="T0" fmla="*/ 0 w 17"/>
                <a:gd name="T1" fmla="*/ 0 h 10"/>
                <a:gd name="T2" fmla="*/ 17 w 17"/>
                <a:gd name="T3" fmla="*/ 2 h 10"/>
                <a:gd name="T4" fmla="*/ 1 w 17"/>
                <a:gd name="T5" fmla="*/ 10 h 10"/>
                <a:gd name="T6" fmla="*/ 0 w 17"/>
                <a:gd name="T7" fmla="*/ 0 h 10"/>
              </a:gdLst>
              <a:ahLst/>
              <a:cxnLst>
                <a:cxn ang="0">
                  <a:pos x="T0" y="T1"/>
                </a:cxn>
                <a:cxn ang="0">
                  <a:pos x="T2" y="T3"/>
                </a:cxn>
                <a:cxn ang="0">
                  <a:pos x="T4" y="T5"/>
                </a:cxn>
                <a:cxn ang="0">
                  <a:pos x="T6" y="T7"/>
                </a:cxn>
              </a:cxnLst>
              <a:rect l="0" t="0" r="r" b="b"/>
              <a:pathLst>
                <a:path w="17" h="10">
                  <a:moveTo>
                    <a:pt x="0" y="0"/>
                  </a:moveTo>
                  <a:cubicBezTo>
                    <a:pt x="17" y="2"/>
                    <a:pt x="17" y="2"/>
                    <a:pt x="17" y="2"/>
                  </a:cubicBezTo>
                  <a:cubicBezTo>
                    <a:pt x="17" y="2"/>
                    <a:pt x="9" y="9"/>
                    <a:pt x="1" y="10"/>
                  </a:cubicBezTo>
                  <a:cubicBezTo>
                    <a:pt x="0" y="2"/>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Rectangle 68"/>
            <p:cNvSpPr>
              <a:spLocks noChangeArrowheads="1"/>
            </p:cNvSpPr>
            <p:nvPr/>
          </p:nvSpPr>
          <p:spPr bwMode="auto">
            <a:xfrm>
              <a:off x="6684" y="2829"/>
              <a:ext cx="1" cy="17"/>
            </a:xfrm>
            <a:prstGeom prst="rect">
              <a:avLst/>
            </a:prstGeom>
            <a:solidFill>
              <a:srgbClr val="D6C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69"/>
            <p:cNvSpPr>
              <a:spLocks/>
            </p:cNvSpPr>
            <p:nvPr/>
          </p:nvSpPr>
          <p:spPr bwMode="auto">
            <a:xfrm>
              <a:off x="6437" y="2685"/>
              <a:ext cx="156" cy="187"/>
            </a:xfrm>
            <a:custGeom>
              <a:avLst/>
              <a:gdLst>
                <a:gd name="T0" fmla="*/ 11 w 185"/>
                <a:gd name="T1" fmla="*/ 224 h 224"/>
                <a:gd name="T2" fmla="*/ 1 w 185"/>
                <a:gd name="T3" fmla="*/ 102 h 224"/>
                <a:gd name="T4" fmla="*/ 20 w 185"/>
                <a:gd name="T5" fmla="*/ 72 h 224"/>
                <a:gd name="T6" fmla="*/ 110 w 185"/>
                <a:gd name="T7" fmla="*/ 34 h 224"/>
                <a:gd name="T8" fmla="*/ 153 w 185"/>
                <a:gd name="T9" fmla="*/ 0 h 224"/>
                <a:gd name="T10" fmla="*/ 177 w 185"/>
                <a:gd name="T11" fmla="*/ 31 h 224"/>
                <a:gd name="T12" fmla="*/ 182 w 185"/>
                <a:gd name="T13" fmla="*/ 58 h 224"/>
                <a:gd name="T14" fmla="*/ 164 w 185"/>
                <a:gd name="T15" fmla="*/ 79 h 224"/>
                <a:gd name="T16" fmla="*/ 64 w 185"/>
                <a:gd name="T17" fmla="*/ 122 h 224"/>
                <a:gd name="T18" fmla="*/ 66 w 185"/>
                <a:gd name="T19" fmla="*/ 222 h 224"/>
                <a:gd name="T20" fmla="*/ 11 w 185"/>
                <a:gd name="T21"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224">
                  <a:moveTo>
                    <a:pt x="11" y="224"/>
                  </a:moveTo>
                  <a:cubicBezTo>
                    <a:pt x="1" y="102"/>
                    <a:pt x="1" y="102"/>
                    <a:pt x="1" y="102"/>
                  </a:cubicBezTo>
                  <a:cubicBezTo>
                    <a:pt x="0" y="89"/>
                    <a:pt x="8" y="77"/>
                    <a:pt x="20" y="72"/>
                  </a:cubicBezTo>
                  <a:cubicBezTo>
                    <a:pt x="110" y="34"/>
                    <a:pt x="110" y="34"/>
                    <a:pt x="110" y="34"/>
                  </a:cubicBezTo>
                  <a:cubicBezTo>
                    <a:pt x="153" y="0"/>
                    <a:pt x="153" y="0"/>
                    <a:pt x="153" y="0"/>
                  </a:cubicBezTo>
                  <a:cubicBezTo>
                    <a:pt x="177" y="31"/>
                    <a:pt x="177" y="31"/>
                    <a:pt x="177" y="31"/>
                  </a:cubicBezTo>
                  <a:cubicBezTo>
                    <a:pt x="183" y="38"/>
                    <a:pt x="185" y="48"/>
                    <a:pt x="182" y="58"/>
                  </a:cubicBezTo>
                  <a:cubicBezTo>
                    <a:pt x="180" y="67"/>
                    <a:pt x="173" y="75"/>
                    <a:pt x="164" y="79"/>
                  </a:cubicBezTo>
                  <a:cubicBezTo>
                    <a:pt x="64" y="122"/>
                    <a:pt x="64" y="122"/>
                    <a:pt x="64" y="122"/>
                  </a:cubicBezTo>
                  <a:cubicBezTo>
                    <a:pt x="66" y="222"/>
                    <a:pt x="66" y="222"/>
                    <a:pt x="66" y="222"/>
                  </a:cubicBezTo>
                  <a:lnTo>
                    <a:pt x="11" y="224"/>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70"/>
            <p:cNvSpPr>
              <a:spLocks/>
            </p:cNvSpPr>
            <p:nvPr/>
          </p:nvSpPr>
          <p:spPr bwMode="auto">
            <a:xfrm>
              <a:off x="6474" y="2716"/>
              <a:ext cx="118" cy="156"/>
            </a:xfrm>
            <a:custGeom>
              <a:avLst/>
              <a:gdLst>
                <a:gd name="T0" fmla="*/ 138 w 140"/>
                <a:gd name="T1" fmla="*/ 21 h 186"/>
                <a:gd name="T2" fmla="*/ 137 w 140"/>
                <a:gd name="T3" fmla="*/ 0 h 186"/>
                <a:gd name="T4" fmla="*/ 110 w 140"/>
                <a:gd name="T5" fmla="*/ 21 h 186"/>
                <a:gd name="T6" fmla="*/ 20 w 140"/>
                <a:gd name="T7" fmla="*/ 60 h 186"/>
                <a:gd name="T8" fmla="*/ 1 w 140"/>
                <a:gd name="T9" fmla="*/ 89 h 186"/>
                <a:gd name="T10" fmla="*/ 3 w 140"/>
                <a:gd name="T11" fmla="*/ 186 h 186"/>
                <a:gd name="T12" fmla="*/ 22 w 140"/>
                <a:gd name="T13" fmla="*/ 185 h 186"/>
                <a:gd name="T14" fmla="*/ 20 w 140"/>
                <a:gd name="T15" fmla="*/ 85 h 186"/>
                <a:gd name="T16" fmla="*/ 120 w 140"/>
                <a:gd name="T17" fmla="*/ 42 h 186"/>
                <a:gd name="T18" fmla="*/ 138 w 140"/>
                <a:gd name="T19" fmla="*/ 2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86">
                  <a:moveTo>
                    <a:pt x="138" y="21"/>
                  </a:moveTo>
                  <a:cubicBezTo>
                    <a:pt x="140" y="14"/>
                    <a:pt x="140" y="7"/>
                    <a:pt x="137" y="0"/>
                  </a:cubicBezTo>
                  <a:cubicBezTo>
                    <a:pt x="110" y="21"/>
                    <a:pt x="110" y="21"/>
                    <a:pt x="110" y="21"/>
                  </a:cubicBezTo>
                  <a:cubicBezTo>
                    <a:pt x="20" y="60"/>
                    <a:pt x="20" y="60"/>
                    <a:pt x="20" y="60"/>
                  </a:cubicBezTo>
                  <a:cubicBezTo>
                    <a:pt x="8" y="65"/>
                    <a:pt x="0" y="76"/>
                    <a:pt x="1" y="89"/>
                  </a:cubicBezTo>
                  <a:cubicBezTo>
                    <a:pt x="3" y="186"/>
                    <a:pt x="3" y="186"/>
                    <a:pt x="3" y="186"/>
                  </a:cubicBezTo>
                  <a:cubicBezTo>
                    <a:pt x="22" y="185"/>
                    <a:pt x="22" y="185"/>
                    <a:pt x="22" y="185"/>
                  </a:cubicBezTo>
                  <a:cubicBezTo>
                    <a:pt x="20" y="85"/>
                    <a:pt x="20" y="85"/>
                    <a:pt x="20" y="85"/>
                  </a:cubicBezTo>
                  <a:cubicBezTo>
                    <a:pt x="120" y="42"/>
                    <a:pt x="120" y="42"/>
                    <a:pt x="120" y="42"/>
                  </a:cubicBezTo>
                  <a:cubicBezTo>
                    <a:pt x="129" y="38"/>
                    <a:pt x="136" y="30"/>
                    <a:pt x="138" y="21"/>
                  </a:cubicBezTo>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71"/>
            <p:cNvSpPr>
              <a:spLocks/>
            </p:cNvSpPr>
            <p:nvPr/>
          </p:nvSpPr>
          <p:spPr bwMode="auto">
            <a:xfrm>
              <a:off x="6381" y="2850"/>
              <a:ext cx="112" cy="55"/>
            </a:xfrm>
            <a:custGeom>
              <a:avLst/>
              <a:gdLst>
                <a:gd name="T0" fmla="*/ 11 w 134"/>
                <a:gd name="T1" fmla="*/ 31 h 66"/>
                <a:gd name="T2" fmla="*/ 77 w 134"/>
                <a:gd name="T3" fmla="*/ 1 h 66"/>
                <a:gd name="T4" fmla="*/ 77 w 134"/>
                <a:gd name="T5" fmla="*/ 1 h 66"/>
                <a:gd name="T6" fmla="*/ 80 w 134"/>
                <a:gd name="T7" fmla="*/ 0 h 66"/>
                <a:gd name="T8" fmla="*/ 87 w 134"/>
                <a:gd name="T9" fmla="*/ 6 h 66"/>
                <a:gd name="T10" fmla="*/ 87 w 134"/>
                <a:gd name="T11" fmla="*/ 7 h 66"/>
                <a:gd name="T12" fmla="*/ 111 w 134"/>
                <a:gd name="T13" fmla="*/ 23 h 66"/>
                <a:gd name="T14" fmla="*/ 133 w 134"/>
                <a:gd name="T15" fmla="*/ 10 h 66"/>
                <a:gd name="T16" fmla="*/ 133 w 134"/>
                <a:gd name="T17" fmla="*/ 56 h 66"/>
                <a:gd name="T18" fmla="*/ 124 w 134"/>
                <a:gd name="T19" fmla="*/ 65 h 66"/>
                <a:gd name="T20" fmla="*/ 9 w 134"/>
                <a:gd name="T21" fmla="*/ 65 h 66"/>
                <a:gd name="T22" fmla="*/ 2 w 134"/>
                <a:gd name="T23" fmla="*/ 58 h 66"/>
                <a:gd name="T24" fmla="*/ 2 w 134"/>
                <a:gd name="T25" fmla="*/ 43 h 66"/>
                <a:gd name="T26" fmla="*/ 11 w 134"/>
                <a:gd name="T27"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66">
                  <a:moveTo>
                    <a:pt x="11" y="31"/>
                  </a:moveTo>
                  <a:cubicBezTo>
                    <a:pt x="22" y="26"/>
                    <a:pt x="77" y="1"/>
                    <a:pt x="77" y="1"/>
                  </a:cubicBezTo>
                  <a:cubicBezTo>
                    <a:pt x="77" y="1"/>
                    <a:pt x="77" y="1"/>
                    <a:pt x="77" y="1"/>
                  </a:cubicBezTo>
                  <a:cubicBezTo>
                    <a:pt x="78" y="1"/>
                    <a:pt x="79" y="0"/>
                    <a:pt x="80" y="0"/>
                  </a:cubicBezTo>
                  <a:cubicBezTo>
                    <a:pt x="84" y="0"/>
                    <a:pt x="86" y="3"/>
                    <a:pt x="87" y="6"/>
                  </a:cubicBezTo>
                  <a:cubicBezTo>
                    <a:pt x="87" y="6"/>
                    <a:pt x="87" y="6"/>
                    <a:pt x="87" y="7"/>
                  </a:cubicBezTo>
                  <a:cubicBezTo>
                    <a:pt x="88" y="12"/>
                    <a:pt x="95" y="23"/>
                    <a:pt x="111" y="23"/>
                  </a:cubicBezTo>
                  <a:cubicBezTo>
                    <a:pt x="133" y="10"/>
                    <a:pt x="133" y="10"/>
                    <a:pt x="133" y="10"/>
                  </a:cubicBezTo>
                  <a:cubicBezTo>
                    <a:pt x="133" y="56"/>
                    <a:pt x="133" y="56"/>
                    <a:pt x="133" y="56"/>
                  </a:cubicBezTo>
                  <a:cubicBezTo>
                    <a:pt x="133" y="56"/>
                    <a:pt x="134" y="65"/>
                    <a:pt x="124" y="65"/>
                  </a:cubicBezTo>
                  <a:cubicBezTo>
                    <a:pt x="9" y="65"/>
                    <a:pt x="9" y="65"/>
                    <a:pt x="9" y="65"/>
                  </a:cubicBezTo>
                  <a:cubicBezTo>
                    <a:pt x="9" y="65"/>
                    <a:pt x="2" y="66"/>
                    <a:pt x="2" y="58"/>
                  </a:cubicBezTo>
                  <a:cubicBezTo>
                    <a:pt x="2" y="43"/>
                    <a:pt x="2" y="43"/>
                    <a:pt x="2" y="43"/>
                  </a:cubicBezTo>
                  <a:cubicBezTo>
                    <a:pt x="2" y="43"/>
                    <a:pt x="0" y="37"/>
                    <a:pt x="11" y="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72"/>
            <p:cNvSpPr>
              <a:spLocks/>
            </p:cNvSpPr>
            <p:nvPr/>
          </p:nvSpPr>
          <p:spPr bwMode="auto">
            <a:xfrm>
              <a:off x="6437" y="2513"/>
              <a:ext cx="55" cy="74"/>
            </a:xfrm>
            <a:custGeom>
              <a:avLst/>
              <a:gdLst>
                <a:gd name="T0" fmla="*/ 45 w 55"/>
                <a:gd name="T1" fmla="*/ 0 h 74"/>
                <a:gd name="T2" fmla="*/ 55 w 55"/>
                <a:gd name="T3" fmla="*/ 67 h 74"/>
                <a:gd name="T4" fmla="*/ 10 w 55"/>
                <a:gd name="T5" fmla="*/ 74 h 74"/>
                <a:gd name="T6" fmla="*/ 0 w 55"/>
                <a:gd name="T7" fmla="*/ 6 h 74"/>
                <a:gd name="T8" fmla="*/ 45 w 55"/>
                <a:gd name="T9" fmla="*/ 0 h 74"/>
              </a:gdLst>
              <a:ahLst/>
              <a:cxnLst>
                <a:cxn ang="0">
                  <a:pos x="T0" y="T1"/>
                </a:cxn>
                <a:cxn ang="0">
                  <a:pos x="T2" y="T3"/>
                </a:cxn>
                <a:cxn ang="0">
                  <a:pos x="T4" y="T5"/>
                </a:cxn>
                <a:cxn ang="0">
                  <a:pos x="T6" y="T7"/>
                </a:cxn>
                <a:cxn ang="0">
                  <a:pos x="T8" y="T9"/>
                </a:cxn>
              </a:cxnLst>
              <a:rect l="0" t="0" r="r" b="b"/>
              <a:pathLst>
                <a:path w="55" h="74">
                  <a:moveTo>
                    <a:pt x="45" y="0"/>
                  </a:moveTo>
                  <a:lnTo>
                    <a:pt x="55" y="67"/>
                  </a:lnTo>
                  <a:lnTo>
                    <a:pt x="10" y="74"/>
                  </a:lnTo>
                  <a:lnTo>
                    <a:pt x="0" y="6"/>
                  </a:lnTo>
                  <a:lnTo>
                    <a:pt x="45" y="0"/>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Line 73"/>
            <p:cNvSpPr>
              <a:spLocks noChangeShapeType="1"/>
            </p:cNvSpPr>
            <p:nvPr/>
          </p:nvSpPr>
          <p:spPr bwMode="auto">
            <a:xfrm>
              <a:off x="6582" y="271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Line 74"/>
            <p:cNvSpPr>
              <a:spLocks noChangeShapeType="1"/>
            </p:cNvSpPr>
            <p:nvPr/>
          </p:nvSpPr>
          <p:spPr bwMode="auto">
            <a:xfrm>
              <a:off x="6582" y="271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75"/>
            <p:cNvSpPr>
              <a:spLocks/>
            </p:cNvSpPr>
            <p:nvPr/>
          </p:nvSpPr>
          <p:spPr bwMode="auto">
            <a:xfrm>
              <a:off x="6431" y="2560"/>
              <a:ext cx="153" cy="180"/>
            </a:xfrm>
            <a:custGeom>
              <a:avLst/>
              <a:gdLst>
                <a:gd name="T0" fmla="*/ 182 w 182"/>
                <a:gd name="T1" fmla="*/ 180 h 216"/>
                <a:gd name="T2" fmla="*/ 74 w 182"/>
                <a:gd name="T3" fmla="*/ 0 h 216"/>
                <a:gd name="T4" fmla="*/ 5 w 182"/>
                <a:gd name="T5" fmla="*/ 8 h 216"/>
                <a:gd name="T6" fmla="*/ 43 w 182"/>
                <a:gd name="T7" fmla="*/ 216 h 216"/>
              </a:gdLst>
              <a:ahLst/>
              <a:cxnLst>
                <a:cxn ang="0">
                  <a:pos x="T0" y="T1"/>
                </a:cxn>
                <a:cxn ang="0">
                  <a:pos x="T2" y="T3"/>
                </a:cxn>
                <a:cxn ang="0">
                  <a:pos x="T4" y="T5"/>
                </a:cxn>
                <a:cxn ang="0">
                  <a:pos x="T6" y="T7"/>
                </a:cxn>
              </a:cxnLst>
              <a:rect l="0" t="0" r="r" b="b"/>
              <a:pathLst>
                <a:path w="182" h="216">
                  <a:moveTo>
                    <a:pt x="182" y="180"/>
                  </a:moveTo>
                  <a:cubicBezTo>
                    <a:pt x="182" y="180"/>
                    <a:pt x="157" y="6"/>
                    <a:pt x="74" y="0"/>
                  </a:cubicBezTo>
                  <a:cubicBezTo>
                    <a:pt x="21" y="8"/>
                    <a:pt x="48" y="5"/>
                    <a:pt x="5" y="8"/>
                  </a:cubicBezTo>
                  <a:cubicBezTo>
                    <a:pt x="0" y="131"/>
                    <a:pt x="43" y="216"/>
                    <a:pt x="43" y="216"/>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76"/>
            <p:cNvSpPr>
              <a:spLocks/>
            </p:cNvSpPr>
            <p:nvPr/>
          </p:nvSpPr>
          <p:spPr bwMode="auto">
            <a:xfrm>
              <a:off x="6287" y="2456"/>
              <a:ext cx="164" cy="150"/>
            </a:xfrm>
            <a:custGeom>
              <a:avLst/>
              <a:gdLst>
                <a:gd name="T0" fmla="*/ 67 w 195"/>
                <a:gd name="T1" fmla="*/ 150 h 180"/>
                <a:gd name="T2" fmla="*/ 78 w 195"/>
                <a:gd name="T3" fmla="*/ 156 h 180"/>
                <a:gd name="T4" fmla="*/ 195 w 195"/>
                <a:gd name="T5" fmla="*/ 180 h 180"/>
                <a:gd name="T6" fmla="*/ 187 w 195"/>
                <a:gd name="T7" fmla="*/ 131 h 180"/>
                <a:gd name="T8" fmla="*/ 98 w 195"/>
                <a:gd name="T9" fmla="*/ 114 h 180"/>
                <a:gd name="T10" fmla="*/ 40 w 195"/>
                <a:gd name="T11" fmla="*/ 0 h 180"/>
                <a:gd name="T12" fmla="*/ 0 w 195"/>
                <a:gd name="T13" fmla="*/ 21 h 180"/>
                <a:gd name="T14" fmla="*/ 62 w 195"/>
                <a:gd name="T15" fmla="*/ 144 h 180"/>
                <a:gd name="T16" fmla="*/ 67 w 195"/>
                <a:gd name="T17" fmla="*/ 15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80">
                  <a:moveTo>
                    <a:pt x="67" y="150"/>
                  </a:moveTo>
                  <a:cubicBezTo>
                    <a:pt x="70" y="153"/>
                    <a:pt x="74" y="155"/>
                    <a:pt x="78" y="156"/>
                  </a:cubicBezTo>
                  <a:cubicBezTo>
                    <a:pt x="195" y="180"/>
                    <a:pt x="195" y="180"/>
                    <a:pt x="195" y="180"/>
                  </a:cubicBezTo>
                  <a:cubicBezTo>
                    <a:pt x="187" y="131"/>
                    <a:pt x="187" y="131"/>
                    <a:pt x="187" y="131"/>
                  </a:cubicBezTo>
                  <a:cubicBezTo>
                    <a:pt x="98" y="114"/>
                    <a:pt x="98" y="114"/>
                    <a:pt x="98" y="114"/>
                  </a:cubicBezTo>
                  <a:cubicBezTo>
                    <a:pt x="40" y="0"/>
                    <a:pt x="40" y="0"/>
                    <a:pt x="40" y="0"/>
                  </a:cubicBezTo>
                  <a:cubicBezTo>
                    <a:pt x="0" y="21"/>
                    <a:pt x="0" y="21"/>
                    <a:pt x="0" y="21"/>
                  </a:cubicBezTo>
                  <a:cubicBezTo>
                    <a:pt x="62" y="144"/>
                    <a:pt x="62" y="144"/>
                    <a:pt x="62" y="144"/>
                  </a:cubicBezTo>
                  <a:cubicBezTo>
                    <a:pt x="63" y="146"/>
                    <a:pt x="65" y="148"/>
                    <a:pt x="67" y="150"/>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77"/>
            <p:cNvSpPr>
              <a:spLocks/>
            </p:cNvSpPr>
            <p:nvPr/>
          </p:nvSpPr>
          <p:spPr bwMode="auto">
            <a:xfrm>
              <a:off x="6395" y="2472"/>
              <a:ext cx="73" cy="90"/>
            </a:xfrm>
            <a:custGeom>
              <a:avLst/>
              <a:gdLst>
                <a:gd name="T0" fmla="*/ 11 w 87"/>
                <a:gd name="T1" fmla="*/ 12 h 108"/>
                <a:gd name="T2" fmla="*/ 11 w 87"/>
                <a:gd name="T3" fmla="*/ 13 h 108"/>
                <a:gd name="T4" fmla="*/ 12 w 87"/>
                <a:gd name="T5" fmla="*/ 40 h 108"/>
                <a:gd name="T6" fmla="*/ 4 w 87"/>
                <a:gd name="T7" fmla="*/ 63 h 108"/>
                <a:gd name="T8" fmla="*/ 14 w 87"/>
                <a:gd name="T9" fmla="*/ 70 h 108"/>
                <a:gd name="T10" fmla="*/ 21 w 87"/>
                <a:gd name="T11" fmla="*/ 103 h 108"/>
                <a:gd name="T12" fmla="*/ 34 w 87"/>
                <a:gd name="T13" fmla="*/ 105 h 108"/>
                <a:gd name="T14" fmla="*/ 87 w 87"/>
                <a:gd name="T15" fmla="*/ 77 h 108"/>
                <a:gd name="T16" fmla="*/ 67 w 87"/>
                <a:gd name="T17" fmla="*/ 0 h 108"/>
                <a:gd name="T18" fmla="*/ 13 w 87"/>
                <a:gd name="T19" fmla="*/ 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108">
                  <a:moveTo>
                    <a:pt x="11" y="12"/>
                  </a:moveTo>
                  <a:cubicBezTo>
                    <a:pt x="11" y="12"/>
                    <a:pt x="11" y="13"/>
                    <a:pt x="11" y="13"/>
                  </a:cubicBezTo>
                  <a:cubicBezTo>
                    <a:pt x="11" y="17"/>
                    <a:pt x="12" y="37"/>
                    <a:pt x="12" y="40"/>
                  </a:cubicBezTo>
                  <a:cubicBezTo>
                    <a:pt x="13" y="44"/>
                    <a:pt x="5" y="62"/>
                    <a:pt x="4" y="63"/>
                  </a:cubicBezTo>
                  <a:cubicBezTo>
                    <a:pt x="4" y="65"/>
                    <a:pt x="0" y="70"/>
                    <a:pt x="14" y="70"/>
                  </a:cubicBezTo>
                  <a:cubicBezTo>
                    <a:pt x="21" y="103"/>
                    <a:pt x="21" y="103"/>
                    <a:pt x="21" y="103"/>
                  </a:cubicBezTo>
                  <a:cubicBezTo>
                    <a:pt x="21" y="103"/>
                    <a:pt x="23" y="108"/>
                    <a:pt x="34" y="105"/>
                  </a:cubicBezTo>
                  <a:cubicBezTo>
                    <a:pt x="44" y="103"/>
                    <a:pt x="74" y="94"/>
                    <a:pt x="87" y="77"/>
                  </a:cubicBezTo>
                  <a:cubicBezTo>
                    <a:pt x="79" y="11"/>
                    <a:pt x="67" y="0"/>
                    <a:pt x="67" y="0"/>
                  </a:cubicBezTo>
                  <a:cubicBezTo>
                    <a:pt x="13" y="1"/>
                    <a:pt x="13" y="1"/>
                    <a:pt x="13" y="1"/>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78"/>
            <p:cNvSpPr>
              <a:spLocks/>
            </p:cNvSpPr>
            <p:nvPr/>
          </p:nvSpPr>
          <p:spPr bwMode="auto">
            <a:xfrm>
              <a:off x="6415" y="2509"/>
              <a:ext cx="7" cy="7"/>
            </a:xfrm>
            <a:custGeom>
              <a:avLst/>
              <a:gdLst>
                <a:gd name="T0" fmla="*/ 4 w 8"/>
                <a:gd name="T1" fmla="*/ 8 h 8"/>
                <a:gd name="T2" fmla="*/ 0 w 8"/>
                <a:gd name="T3" fmla="*/ 4 h 8"/>
                <a:gd name="T4" fmla="*/ 4 w 8"/>
                <a:gd name="T5" fmla="*/ 0 h 8"/>
                <a:gd name="T6" fmla="*/ 8 w 8"/>
                <a:gd name="T7" fmla="*/ 4 h 8"/>
                <a:gd name="T8" fmla="*/ 4 w 8"/>
                <a:gd name="T9" fmla="*/ 8 h 8"/>
              </a:gdLst>
              <a:ahLst/>
              <a:cxnLst>
                <a:cxn ang="0">
                  <a:pos x="T0" y="T1"/>
                </a:cxn>
                <a:cxn ang="0">
                  <a:pos x="T2" y="T3"/>
                </a:cxn>
                <a:cxn ang="0">
                  <a:pos x="T4" y="T5"/>
                </a:cxn>
                <a:cxn ang="0">
                  <a:pos x="T6" y="T7"/>
                </a:cxn>
                <a:cxn ang="0">
                  <a:pos x="T8" y="T9"/>
                </a:cxn>
              </a:cxnLst>
              <a:rect l="0" t="0" r="r" b="b"/>
              <a:pathLst>
                <a:path w="8" h="8">
                  <a:moveTo>
                    <a:pt x="4" y="8"/>
                  </a:moveTo>
                  <a:cubicBezTo>
                    <a:pt x="2" y="8"/>
                    <a:pt x="0" y="6"/>
                    <a:pt x="0" y="4"/>
                  </a:cubicBezTo>
                  <a:cubicBezTo>
                    <a:pt x="0" y="2"/>
                    <a:pt x="2" y="0"/>
                    <a:pt x="4" y="0"/>
                  </a:cubicBezTo>
                  <a:cubicBezTo>
                    <a:pt x="6" y="0"/>
                    <a:pt x="8" y="2"/>
                    <a:pt x="8" y="4"/>
                  </a:cubicBezTo>
                  <a:cubicBezTo>
                    <a:pt x="8" y="6"/>
                    <a:pt x="7" y="8"/>
                    <a:pt x="4"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79"/>
            <p:cNvSpPr>
              <a:spLocks/>
            </p:cNvSpPr>
            <p:nvPr/>
          </p:nvSpPr>
          <p:spPr bwMode="auto">
            <a:xfrm>
              <a:off x="6409" y="2538"/>
              <a:ext cx="14" cy="8"/>
            </a:xfrm>
            <a:custGeom>
              <a:avLst/>
              <a:gdLst>
                <a:gd name="T0" fmla="*/ 0 w 17"/>
                <a:gd name="T1" fmla="*/ 0 h 9"/>
                <a:gd name="T2" fmla="*/ 17 w 17"/>
                <a:gd name="T3" fmla="*/ 0 h 9"/>
                <a:gd name="T4" fmla="*/ 2 w 17"/>
                <a:gd name="T5" fmla="*/ 9 h 9"/>
                <a:gd name="T6" fmla="*/ 0 w 17"/>
                <a:gd name="T7" fmla="*/ 0 h 9"/>
              </a:gdLst>
              <a:ahLst/>
              <a:cxnLst>
                <a:cxn ang="0">
                  <a:pos x="T0" y="T1"/>
                </a:cxn>
                <a:cxn ang="0">
                  <a:pos x="T2" y="T3"/>
                </a:cxn>
                <a:cxn ang="0">
                  <a:pos x="T4" y="T5"/>
                </a:cxn>
                <a:cxn ang="0">
                  <a:pos x="T6" y="T7"/>
                </a:cxn>
              </a:cxnLst>
              <a:rect l="0" t="0" r="r" b="b"/>
              <a:pathLst>
                <a:path w="17" h="9">
                  <a:moveTo>
                    <a:pt x="0" y="0"/>
                  </a:moveTo>
                  <a:cubicBezTo>
                    <a:pt x="17" y="0"/>
                    <a:pt x="17" y="0"/>
                    <a:pt x="17" y="0"/>
                  </a:cubicBezTo>
                  <a:cubicBezTo>
                    <a:pt x="17" y="0"/>
                    <a:pt x="11" y="7"/>
                    <a:pt x="2" y="9"/>
                  </a:cubicBezTo>
                  <a:cubicBezTo>
                    <a:pt x="0" y="1"/>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80"/>
            <p:cNvSpPr>
              <a:spLocks/>
            </p:cNvSpPr>
            <p:nvPr/>
          </p:nvSpPr>
          <p:spPr bwMode="auto">
            <a:xfrm>
              <a:off x="6422" y="2493"/>
              <a:ext cx="34" cy="32"/>
            </a:xfrm>
            <a:custGeom>
              <a:avLst/>
              <a:gdLst>
                <a:gd name="T0" fmla="*/ 0 w 40"/>
                <a:gd name="T1" fmla="*/ 1 h 39"/>
                <a:gd name="T2" fmla="*/ 26 w 40"/>
                <a:gd name="T3" fmla="*/ 39 h 39"/>
                <a:gd name="T4" fmla="*/ 40 w 40"/>
                <a:gd name="T5" fmla="*/ 0 h 39"/>
                <a:gd name="T6" fmla="*/ 0 w 40"/>
                <a:gd name="T7" fmla="*/ 1 h 39"/>
              </a:gdLst>
              <a:ahLst/>
              <a:cxnLst>
                <a:cxn ang="0">
                  <a:pos x="T0" y="T1"/>
                </a:cxn>
                <a:cxn ang="0">
                  <a:pos x="T2" y="T3"/>
                </a:cxn>
                <a:cxn ang="0">
                  <a:pos x="T4" y="T5"/>
                </a:cxn>
                <a:cxn ang="0">
                  <a:pos x="T6" y="T7"/>
                </a:cxn>
              </a:cxnLst>
              <a:rect l="0" t="0" r="r" b="b"/>
              <a:pathLst>
                <a:path w="40" h="39">
                  <a:moveTo>
                    <a:pt x="0" y="1"/>
                  </a:moveTo>
                  <a:cubicBezTo>
                    <a:pt x="0" y="1"/>
                    <a:pt x="26" y="15"/>
                    <a:pt x="26" y="39"/>
                  </a:cubicBezTo>
                  <a:cubicBezTo>
                    <a:pt x="26" y="1"/>
                    <a:pt x="40" y="0"/>
                    <a:pt x="40" y="0"/>
                  </a:cubicBezTo>
                  <a:lnTo>
                    <a:pt x="0" y="1"/>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81"/>
            <p:cNvSpPr>
              <a:spLocks/>
            </p:cNvSpPr>
            <p:nvPr/>
          </p:nvSpPr>
          <p:spPr bwMode="auto">
            <a:xfrm>
              <a:off x="6393" y="2424"/>
              <a:ext cx="130" cy="141"/>
            </a:xfrm>
            <a:custGeom>
              <a:avLst/>
              <a:gdLst>
                <a:gd name="T0" fmla="*/ 76 w 155"/>
                <a:gd name="T1" fmla="*/ 0 h 169"/>
                <a:gd name="T2" fmla="*/ 155 w 155"/>
                <a:gd name="T3" fmla="*/ 83 h 169"/>
                <a:gd name="T4" fmla="*/ 80 w 155"/>
                <a:gd name="T5" fmla="*/ 169 h 169"/>
                <a:gd name="T6" fmla="*/ 82 w 155"/>
                <a:gd name="T7" fmla="*/ 169 h 169"/>
                <a:gd name="T8" fmla="*/ 61 w 155"/>
                <a:gd name="T9" fmla="*/ 128 h 169"/>
                <a:gd name="T10" fmla="*/ 60 w 155"/>
                <a:gd name="T11" fmla="*/ 70 h 169"/>
                <a:gd name="T12" fmla="*/ 0 w 155"/>
                <a:gd name="T13" fmla="*/ 71 h 169"/>
                <a:gd name="T14" fmla="*/ 76 w 155"/>
                <a:gd name="T15" fmla="*/ 0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69">
                  <a:moveTo>
                    <a:pt x="76" y="0"/>
                  </a:moveTo>
                  <a:cubicBezTo>
                    <a:pt x="119" y="3"/>
                    <a:pt x="154" y="39"/>
                    <a:pt x="155" y="83"/>
                  </a:cubicBezTo>
                  <a:cubicBezTo>
                    <a:pt x="155" y="127"/>
                    <a:pt x="123" y="164"/>
                    <a:pt x="80" y="169"/>
                  </a:cubicBezTo>
                  <a:cubicBezTo>
                    <a:pt x="81" y="169"/>
                    <a:pt x="81" y="169"/>
                    <a:pt x="82" y="169"/>
                  </a:cubicBezTo>
                  <a:cubicBezTo>
                    <a:pt x="65" y="167"/>
                    <a:pt x="61" y="148"/>
                    <a:pt x="61" y="128"/>
                  </a:cubicBezTo>
                  <a:cubicBezTo>
                    <a:pt x="61" y="106"/>
                    <a:pt x="60" y="70"/>
                    <a:pt x="60" y="70"/>
                  </a:cubicBezTo>
                  <a:cubicBezTo>
                    <a:pt x="0" y="71"/>
                    <a:pt x="0" y="71"/>
                    <a:pt x="0" y="71"/>
                  </a:cubicBezTo>
                  <a:cubicBezTo>
                    <a:pt x="6" y="33"/>
                    <a:pt x="37" y="3"/>
                    <a:pt x="76" y="0"/>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82"/>
            <p:cNvSpPr>
              <a:spLocks/>
            </p:cNvSpPr>
            <p:nvPr/>
          </p:nvSpPr>
          <p:spPr bwMode="auto">
            <a:xfrm>
              <a:off x="6385" y="2480"/>
              <a:ext cx="67" cy="13"/>
            </a:xfrm>
            <a:custGeom>
              <a:avLst/>
              <a:gdLst>
                <a:gd name="T0" fmla="*/ 67 w 67"/>
                <a:gd name="T1" fmla="*/ 0 h 13"/>
                <a:gd name="T2" fmla="*/ 67 w 67"/>
                <a:gd name="T3" fmla="*/ 13 h 13"/>
                <a:gd name="T4" fmla="*/ 0 w 67"/>
                <a:gd name="T5" fmla="*/ 13 h 13"/>
                <a:gd name="T6" fmla="*/ 5 w 67"/>
                <a:gd name="T7" fmla="*/ 1 h 13"/>
                <a:gd name="T8" fmla="*/ 67 w 67"/>
                <a:gd name="T9" fmla="*/ 0 h 13"/>
              </a:gdLst>
              <a:ahLst/>
              <a:cxnLst>
                <a:cxn ang="0">
                  <a:pos x="T0" y="T1"/>
                </a:cxn>
                <a:cxn ang="0">
                  <a:pos x="T2" y="T3"/>
                </a:cxn>
                <a:cxn ang="0">
                  <a:pos x="T4" y="T5"/>
                </a:cxn>
                <a:cxn ang="0">
                  <a:pos x="T6" y="T7"/>
                </a:cxn>
                <a:cxn ang="0">
                  <a:pos x="T8" y="T9"/>
                </a:cxn>
              </a:cxnLst>
              <a:rect l="0" t="0" r="r" b="b"/>
              <a:pathLst>
                <a:path w="67" h="13">
                  <a:moveTo>
                    <a:pt x="67" y="0"/>
                  </a:moveTo>
                  <a:lnTo>
                    <a:pt x="67" y="13"/>
                  </a:lnTo>
                  <a:lnTo>
                    <a:pt x="0" y="13"/>
                  </a:lnTo>
                  <a:lnTo>
                    <a:pt x="5" y="1"/>
                  </a:ln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83"/>
            <p:cNvSpPr>
              <a:spLocks/>
            </p:cNvSpPr>
            <p:nvPr/>
          </p:nvSpPr>
          <p:spPr bwMode="auto">
            <a:xfrm>
              <a:off x="6457" y="2423"/>
              <a:ext cx="78" cy="142"/>
            </a:xfrm>
            <a:custGeom>
              <a:avLst/>
              <a:gdLst>
                <a:gd name="T0" fmla="*/ 0 w 93"/>
                <a:gd name="T1" fmla="*/ 1 h 170"/>
                <a:gd name="T2" fmla="*/ 6 w 93"/>
                <a:gd name="T3" fmla="*/ 0 h 170"/>
                <a:gd name="T4" fmla="*/ 92 w 93"/>
                <a:gd name="T5" fmla="*/ 84 h 170"/>
                <a:gd name="T6" fmla="*/ 9 w 93"/>
                <a:gd name="T7" fmla="*/ 170 h 170"/>
                <a:gd name="T8" fmla="*/ 4 w 93"/>
                <a:gd name="T9" fmla="*/ 170 h 170"/>
                <a:gd name="T10" fmla="*/ 79 w 93"/>
                <a:gd name="T11" fmla="*/ 84 h 170"/>
                <a:gd name="T12" fmla="*/ 0 w 93"/>
                <a:gd name="T13" fmla="*/ 1 h 170"/>
              </a:gdLst>
              <a:ahLst/>
              <a:cxnLst>
                <a:cxn ang="0">
                  <a:pos x="T0" y="T1"/>
                </a:cxn>
                <a:cxn ang="0">
                  <a:pos x="T2" y="T3"/>
                </a:cxn>
                <a:cxn ang="0">
                  <a:pos x="T4" y="T5"/>
                </a:cxn>
                <a:cxn ang="0">
                  <a:pos x="T6" y="T7"/>
                </a:cxn>
                <a:cxn ang="0">
                  <a:pos x="T8" y="T9"/>
                </a:cxn>
                <a:cxn ang="0">
                  <a:pos x="T10" y="T11"/>
                </a:cxn>
                <a:cxn ang="0">
                  <a:pos x="T12" y="T13"/>
                </a:cxn>
              </a:cxnLst>
              <a:rect l="0" t="0" r="r" b="b"/>
              <a:pathLst>
                <a:path w="93" h="170">
                  <a:moveTo>
                    <a:pt x="0" y="1"/>
                  </a:moveTo>
                  <a:cubicBezTo>
                    <a:pt x="2" y="1"/>
                    <a:pt x="4" y="1"/>
                    <a:pt x="6" y="0"/>
                  </a:cubicBezTo>
                  <a:cubicBezTo>
                    <a:pt x="53" y="0"/>
                    <a:pt x="91" y="37"/>
                    <a:pt x="92" y="84"/>
                  </a:cubicBezTo>
                  <a:cubicBezTo>
                    <a:pt x="93" y="131"/>
                    <a:pt x="56" y="169"/>
                    <a:pt x="9" y="170"/>
                  </a:cubicBezTo>
                  <a:cubicBezTo>
                    <a:pt x="7" y="170"/>
                    <a:pt x="6" y="170"/>
                    <a:pt x="4" y="170"/>
                  </a:cubicBezTo>
                  <a:cubicBezTo>
                    <a:pt x="47" y="165"/>
                    <a:pt x="79" y="128"/>
                    <a:pt x="79" y="84"/>
                  </a:cubicBezTo>
                  <a:cubicBezTo>
                    <a:pt x="78" y="40"/>
                    <a:pt x="43" y="4"/>
                    <a:pt x="0" y="1"/>
                  </a:cubicBezTo>
                </a:path>
              </a:pathLst>
            </a:custGeom>
            <a:solidFill>
              <a:srgbClr val="B82F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Freeform 84"/>
            <p:cNvSpPr>
              <a:spLocks/>
            </p:cNvSpPr>
            <p:nvPr/>
          </p:nvSpPr>
          <p:spPr bwMode="auto">
            <a:xfrm>
              <a:off x="6278" y="2420"/>
              <a:ext cx="48" cy="64"/>
            </a:xfrm>
            <a:custGeom>
              <a:avLst/>
              <a:gdLst>
                <a:gd name="T0" fmla="*/ 51 w 58"/>
                <a:gd name="T1" fmla="*/ 30 h 77"/>
                <a:gd name="T2" fmla="*/ 49 w 58"/>
                <a:gd name="T3" fmla="*/ 6 h 77"/>
                <a:gd name="T4" fmla="*/ 36 w 58"/>
                <a:gd name="T5" fmla="*/ 8 h 77"/>
                <a:gd name="T6" fmla="*/ 34 w 58"/>
                <a:gd name="T7" fmla="*/ 28 h 77"/>
                <a:gd name="T8" fmla="*/ 21 w 58"/>
                <a:gd name="T9" fmla="*/ 24 h 77"/>
                <a:gd name="T10" fmla="*/ 21 w 58"/>
                <a:gd name="T11" fmla="*/ 24 h 77"/>
                <a:gd name="T12" fmla="*/ 21 w 58"/>
                <a:gd name="T13" fmla="*/ 24 h 77"/>
                <a:gd name="T14" fmla="*/ 12 w 58"/>
                <a:gd name="T15" fmla="*/ 28 h 77"/>
                <a:gd name="T16" fmla="*/ 12 w 58"/>
                <a:gd name="T17" fmla="*/ 33 h 77"/>
                <a:gd name="T18" fmla="*/ 4 w 58"/>
                <a:gd name="T19" fmla="*/ 37 h 77"/>
                <a:gd name="T20" fmla="*/ 6 w 58"/>
                <a:gd name="T21" fmla="*/ 45 h 77"/>
                <a:gd name="T22" fmla="*/ 1 w 58"/>
                <a:gd name="T23" fmla="*/ 50 h 77"/>
                <a:gd name="T24" fmla="*/ 4 w 58"/>
                <a:gd name="T25" fmla="*/ 58 h 77"/>
                <a:gd name="T26" fmla="*/ 1 w 58"/>
                <a:gd name="T27" fmla="*/ 61 h 77"/>
                <a:gd name="T28" fmla="*/ 5 w 58"/>
                <a:gd name="T29" fmla="*/ 70 h 77"/>
                <a:gd name="T30" fmla="*/ 7 w 58"/>
                <a:gd name="T31" fmla="*/ 71 h 77"/>
                <a:gd name="T32" fmla="*/ 32 w 58"/>
                <a:gd name="T33" fmla="*/ 77 h 77"/>
                <a:gd name="T34" fmla="*/ 57 w 58"/>
                <a:gd name="T35" fmla="*/ 57 h 77"/>
                <a:gd name="T36" fmla="*/ 51 w 58"/>
                <a:gd name="T3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77">
                  <a:moveTo>
                    <a:pt x="51" y="30"/>
                  </a:moveTo>
                  <a:cubicBezTo>
                    <a:pt x="51" y="30"/>
                    <a:pt x="53" y="15"/>
                    <a:pt x="49" y="6"/>
                  </a:cubicBezTo>
                  <a:cubicBezTo>
                    <a:pt x="40" y="0"/>
                    <a:pt x="36" y="8"/>
                    <a:pt x="36" y="8"/>
                  </a:cubicBezTo>
                  <a:cubicBezTo>
                    <a:pt x="34" y="28"/>
                    <a:pt x="34" y="28"/>
                    <a:pt x="34" y="28"/>
                  </a:cubicBezTo>
                  <a:cubicBezTo>
                    <a:pt x="21" y="24"/>
                    <a:pt x="21" y="24"/>
                    <a:pt x="21" y="24"/>
                  </a:cubicBezTo>
                  <a:cubicBezTo>
                    <a:pt x="21" y="24"/>
                    <a:pt x="21" y="24"/>
                    <a:pt x="21" y="24"/>
                  </a:cubicBezTo>
                  <a:cubicBezTo>
                    <a:pt x="21" y="24"/>
                    <a:pt x="21" y="24"/>
                    <a:pt x="21" y="24"/>
                  </a:cubicBezTo>
                  <a:cubicBezTo>
                    <a:pt x="17" y="22"/>
                    <a:pt x="13" y="24"/>
                    <a:pt x="12" y="28"/>
                  </a:cubicBezTo>
                  <a:cubicBezTo>
                    <a:pt x="11" y="29"/>
                    <a:pt x="11" y="31"/>
                    <a:pt x="12" y="33"/>
                  </a:cubicBezTo>
                  <a:cubicBezTo>
                    <a:pt x="8" y="33"/>
                    <a:pt x="5" y="34"/>
                    <a:pt x="4" y="37"/>
                  </a:cubicBezTo>
                  <a:cubicBezTo>
                    <a:pt x="3" y="40"/>
                    <a:pt x="4" y="43"/>
                    <a:pt x="6" y="45"/>
                  </a:cubicBezTo>
                  <a:cubicBezTo>
                    <a:pt x="4" y="46"/>
                    <a:pt x="2" y="47"/>
                    <a:pt x="1" y="50"/>
                  </a:cubicBezTo>
                  <a:cubicBezTo>
                    <a:pt x="0" y="53"/>
                    <a:pt x="1" y="56"/>
                    <a:pt x="4" y="58"/>
                  </a:cubicBezTo>
                  <a:cubicBezTo>
                    <a:pt x="3" y="59"/>
                    <a:pt x="2" y="60"/>
                    <a:pt x="1" y="61"/>
                  </a:cubicBezTo>
                  <a:cubicBezTo>
                    <a:pt x="0" y="65"/>
                    <a:pt x="2" y="69"/>
                    <a:pt x="5" y="70"/>
                  </a:cubicBezTo>
                  <a:cubicBezTo>
                    <a:pt x="6" y="70"/>
                    <a:pt x="6" y="70"/>
                    <a:pt x="7" y="71"/>
                  </a:cubicBezTo>
                  <a:cubicBezTo>
                    <a:pt x="32" y="77"/>
                    <a:pt x="32" y="77"/>
                    <a:pt x="32" y="77"/>
                  </a:cubicBezTo>
                  <a:cubicBezTo>
                    <a:pt x="32" y="77"/>
                    <a:pt x="56" y="61"/>
                    <a:pt x="57" y="57"/>
                  </a:cubicBezTo>
                  <a:cubicBezTo>
                    <a:pt x="58" y="52"/>
                    <a:pt x="51" y="30"/>
                    <a:pt x="51" y="30"/>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85"/>
            <p:cNvSpPr>
              <a:spLocks/>
            </p:cNvSpPr>
            <p:nvPr/>
          </p:nvSpPr>
          <p:spPr bwMode="auto">
            <a:xfrm>
              <a:off x="6445" y="2559"/>
              <a:ext cx="140" cy="181"/>
            </a:xfrm>
            <a:custGeom>
              <a:avLst/>
              <a:gdLst>
                <a:gd name="T0" fmla="*/ 162 w 167"/>
                <a:gd name="T1" fmla="*/ 153 h 217"/>
                <a:gd name="T2" fmla="*/ 159 w 167"/>
                <a:gd name="T3" fmla="*/ 143 h 217"/>
                <a:gd name="T4" fmla="*/ 158 w 167"/>
                <a:gd name="T5" fmla="*/ 140 h 217"/>
                <a:gd name="T6" fmla="*/ 127 w 167"/>
                <a:gd name="T7" fmla="*/ 56 h 217"/>
                <a:gd name="T8" fmla="*/ 127 w 167"/>
                <a:gd name="T9" fmla="*/ 55 h 217"/>
                <a:gd name="T10" fmla="*/ 98 w 167"/>
                <a:gd name="T11" fmla="*/ 17 h 217"/>
                <a:gd name="T12" fmla="*/ 95 w 167"/>
                <a:gd name="T13" fmla="*/ 15 h 217"/>
                <a:gd name="T14" fmla="*/ 92 w 167"/>
                <a:gd name="T15" fmla="*/ 13 h 217"/>
                <a:gd name="T16" fmla="*/ 77 w 167"/>
                <a:gd name="T17" fmla="*/ 4 h 217"/>
                <a:gd name="T18" fmla="*/ 77 w 167"/>
                <a:gd name="T19" fmla="*/ 4 h 217"/>
                <a:gd name="T20" fmla="*/ 59 w 167"/>
                <a:gd name="T21" fmla="*/ 0 h 217"/>
                <a:gd name="T22" fmla="*/ 0 w 167"/>
                <a:gd name="T23" fmla="*/ 8 h 217"/>
                <a:gd name="T24" fmla="*/ 0 w 167"/>
                <a:gd name="T25" fmla="*/ 10 h 217"/>
                <a:gd name="T26" fmla="*/ 145 w 167"/>
                <a:gd name="T27" fmla="*/ 166 h 217"/>
                <a:gd name="T28" fmla="*/ 25 w 167"/>
                <a:gd name="T29" fmla="*/ 202 h 217"/>
                <a:gd name="T30" fmla="*/ 44 w 167"/>
                <a:gd name="T31" fmla="*/ 217 h 217"/>
                <a:gd name="T32" fmla="*/ 135 w 167"/>
                <a:gd name="T33" fmla="*/ 191 h 217"/>
                <a:gd name="T34" fmla="*/ 167 w 167"/>
                <a:gd name="T35" fmla="*/ 181 h 217"/>
                <a:gd name="T36" fmla="*/ 162 w 167"/>
                <a:gd name="T37" fmla="*/ 15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217">
                  <a:moveTo>
                    <a:pt x="162" y="153"/>
                  </a:moveTo>
                  <a:cubicBezTo>
                    <a:pt x="161" y="150"/>
                    <a:pt x="160" y="147"/>
                    <a:pt x="159" y="143"/>
                  </a:cubicBezTo>
                  <a:cubicBezTo>
                    <a:pt x="159" y="142"/>
                    <a:pt x="159" y="141"/>
                    <a:pt x="158" y="140"/>
                  </a:cubicBezTo>
                  <a:cubicBezTo>
                    <a:pt x="152" y="115"/>
                    <a:pt x="142" y="83"/>
                    <a:pt x="127" y="56"/>
                  </a:cubicBezTo>
                  <a:cubicBezTo>
                    <a:pt x="127" y="56"/>
                    <a:pt x="127" y="56"/>
                    <a:pt x="127" y="55"/>
                  </a:cubicBezTo>
                  <a:cubicBezTo>
                    <a:pt x="119" y="40"/>
                    <a:pt x="109" y="27"/>
                    <a:pt x="98" y="17"/>
                  </a:cubicBezTo>
                  <a:cubicBezTo>
                    <a:pt x="97" y="16"/>
                    <a:pt x="96" y="16"/>
                    <a:pt x="95" y="15"/>
                  </a:cubicBezTo>
                  <a:cubicBezTo>
                    <a:pt x="94" y="14"/>
                    <a:pt x="93" y="13"/>
                    <a:pt x="92" y="13"/>
                  </a:cubicBezTo>
                  <a:cubicBezTo>
                    <a:pt x="87" y="9"/>
                    <a:pt x="82" y="6"/>
                    <a:pt x="77" y="4"/>
                  </a:cubicBezTo>
                  <a:cubicBezTo>
                    <a:pt x="77" y="4"/>
                    <a:pt x="77" y="4"/>
                    <a:pt x="77" y="4"/>
                  </a:cubicBezTo>
                  <a:cubicBezTo>
                    <a:pt x="71" y="2"/>
                    <a:pt x="65" y="0"/>
                    <a:pt x="59" y="0"/>
                  </a:cubicBezTo>
                  <a:cubicBezTo>
                    <a:pt x="16" y="6"/>
                    <a:pt x="19" y="7"/>
                    <a:pt x="0" y="8"/>
                  </a:cubicBezTo>
                  <a:cubicBezTo>
                    <a:pt x="0" y="10"/>
                    <a:pt x="0" y="10"/>
                    <a:pt x="0" y="10"/>
                  </a:cubicBezTo>
                  <a:cubicBezTo>
                    <a:pt x="108" y="1"/>
                    <a:pt x="138" y="118"/>
                    <a:pt x="145" y="166"/>
                  </a:cubicBezTo>
                  <a:cubicBezTo>
                    <a:pt x="25" y="202"/>
                    <a:pt x="25" y="202"/>
                    <a:pt x="25" y="202"/>
                  </a:cubicBezTo>
                  <a:cubicBezTo>
                    <a:pt x="33" y="213"/>
                    <a:pt x="41" y="216"/>
                    <a:pt x="44" y="217"/>
                  </a:cubicBezTo>
                  <a:cubicBezTo>
                    <a:pt x="135" y="191"/>
                    <a:pt x="135" y="191"/>
                    <a:pt x="135" y="191"/>
                  </a:cubicBezTo>
                  <a:cubicBezTo>
                    <a:pt x="167" y="181"/>
                    <a:pt x="167" y="181"/>
                    <a:pt x="167" y="181"/>
                  </a:cubicBezTo>
                  <a:cubicBezTo>
                    <a:pt x="167" y="181"/>
                    <a:pt x="165" y="170"/>
                    <a:pt x="162" y="153"/>
                  </a:cubicBez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86"/>
            <p:cNvSpPr>
              <a:spLocks/>
            </p:cNvSpPr>
            <p:nvPr/>
          </p:nvSpPr>
          <p:spPr bwMode="auto">
            <a:xfrm>
              <a:off x="6292" y="2467"/>
              <a:ext cx="148" cy="137"/>
            </a:xfrm>
            <a:custGeom>
              <a:avLst/>
              <a:gdLst>
                <a:gd name="T0" fmla="*/ 165 w 176"/>
                <a:gd name="T1" fmla="*/ 148 h 163"/>
                <a:gd name="T2" fmla="*/ 70 w 176"/>
                <a:gd name="T3" fmla="*/ 129 h 163"/>
                <a:gd name="T4" fmla="*/ 16 w 176"/>
                <a:gd name="T5" fmla="*/ 23 h 163"/>
                <a:gd name="T6" fmla="*/ 45 w 176"/>
                <a:gd name="T7" fmla="*/ 9 h 163"/>
                <a:gd name="T8" fmla="*/ 41 w 176"/>
                <a:gd name="T9" fmla="*/ 0 h 163"/>
                <a:gd name="T10" fmla="*/ 0 w 176"/>
                <a:gd name="T11" fmla="*/ 19 h 163"/>
                <a:gd name="T12" fmla="*/ 56 w 176"/>
                <a:gd name="T13" fmla="*/ 130 h 163"/>
                <a:gd name="T14" fmla="*/ 61 w 176"/>
                <a:gd name="T15" fmla="*/ 136 h 163"/>
                <a:gd name="T16" fmla="*/ 72 w 176"/>
                <a:gd name="T17" fmla="*/ 142 h 163"/>
                <a:gd name="T18" fmla="*/ 174 w 176"/>
                <a:gd name="T19" fmla="*/ 163 h 163"/>
                <a:gd name="T20" fmla="*/ 165 w 176"/>
                <a:gd name="T21" fmla="*/ 14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163">
                  <a:moveTo>
                    <a:pt x="165" y="148"/>
                  </a:moveTo>
                  <a:cubicBezTo>
                    <a:pt x="153" y="146"/>
                    <a:pt x="70" y="129"/>
                    <a:pt x="70" y="129"/>
                  </a:cubicBezTo>
                  <a:cubicBezTo>
                    <a:pt x="16" y="23"/>
                    <a:pt x="16" y="23"/>
                    <a:pt x="16" y="23"/>
                  </a:cubicBezTo>
                  <a:cubicBezTo>
                    <a:pt x="45" y="9"/>
                    <a:pt x="45" y="9"/>
                    <a:pt x="45" y="9"/>
                  </a:cubicBezTo>
                  <a:cubicBezTo>
                    <a:pt x="41" y="0"/>
                    <a:pt x="41" y="0"/>
                    <a:pt x="41" y="0"/>
                  </a:cubicBezTo>
                  <a:cubicBezTo>
                    <a:pt x="0" y="19"/>
                    <a:pt x="0" y="19"/>
                    <a:pt x="0" y="19"/>
                  </a:cubicBezTo>
                  <a:cubicBezTo>
                    <a:pt x="56" y="130"/>
                    <a:pt x="56" y="130"/>
                    <a:pt x="56" y="130"/>
                  </a:cubicBezTo>
                  <a:cubicBezTo>
                    <a:pt x="57" y="132"/>
                    <a:pt x="59" y="134"/>
                    <a:pt x="61" y="136"/>
                  </a:cubicBezTo>
                  <a:cubicBezTo>
                    <a:pt x="64" y="139"/>
                    <a:pt x="68" y="141"/>
                    <a:pt x="72" y="142"/>
                  </a:cubicBezTo>
                  <a:cubicBezTo>
                    <a:pt x="174" y="163"/>
                    <a:pt x="174" y="163"/>
                    <a:pt x="174" y="163"/>
                  </a:cubicBezTo>
                  <a:cubicBezTo>
                    <a:pt x="174" y="163"/>
                    <a:pt x="176" y="150"/>
                    <a:pt x="165" y="148"/>
                  </a:cubicBez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87"/>
            <p:cNvSpPr>
              <a:spLocks/>
            </p:cNvSpPr>
            <p:nvPr/>
          </p:nvSpPr>
          <p:spPr bwMode="auto">
            <a:xfrm>
              <a:off x="6530" y="2748"/>
              <a:ext cx="154" cy="132"/>
            </a:xfrm>
            <a:custGeom>
              <a:avLst/>
              <a:gdLst>
                <a:gd name="T0" fmla="*/ 75 w 183"/>
                <a:gd name="T1" fmla="*/ 96 h 158"/>
                <a:gd name="T2" fmla="*/ 59 w 183"/>
                <a:gd name="T3" fmla="*/ 0 h 158"/>
                <a:gd name="T4" fmla="*/ 53 w 183"/>
                <a:gd name="T5" fmla="*/ 4 h 158"/>
                <a:gd name="T6" fmla="*/ 40 w 183"/>
                <a:gd name="T7" fmla="*/ 9 h 158"/>
                <a:gd name="T8" fmla="*/ 0 w 183"/>
                <a:gd name="T9" fmla="*/ 26 h 158"/>
                <a:gd name="T10" fmla="*/ 17 w 183"/>
                <a:gd name="T11" fmla="*/ 132 h 158"/>
                <a:gd name="T12" fmla="*/ 48 w 183"/>
                <a:gd name="T13" fmla="*/ 158 h 158"/>
                <a:gd name="T14" fmla="*/ 182 w 183"/>
                <a:gd name="T15" fmla="*/ 155 h 158"/>
                <a:gd name="T16" fmla="*/ 183 w 183"/>
                <a:gd name="T17" fmla="*/ 117 h 158"/>
                <a:gd name="T18" fmla="*/ 183 w 183"/>
                <a:gd name="T19" fmla="*/ 97 h 158"/>
                <a:gd name="T20" fmla="*/ 75 w 183"/>
                <a:gd name="T21" fmla="*/ 9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58">
                  <a:moveTo>
                    <a:pt x="75" y="96"/>
                  </a:moveTo>
                  <a:cubicBezTo>
                    <a:pt x="59" y="0"/>
                    <a:pt x="59" y="0"/>
                    <a:pt x="59" y="0"/>
                  </a:cubicBezTo>
                  <a:cubicBezTo>
                    <a:pt x="57" y="2"/>
                    <a:pt x="55" y="3"/>
                    <a:pt x="53" y="4"/>
                  </a:cubicBezTo>
                  <a:cubicBezTo>
                    <a:pt x="40" y="9"/>
                    <a:pt x="40" y="9"/>
                    <a:pt x="40" y="9"/>
                  </a:cubicBezTo>
                  <a:cubicBezTo>
                    <a:pt x="0" y="26"/>
                    <a:pt x="0" y="26"/>
                    <a:pt x="0" y="26"/>
                  </a:cubicBezTo>
                  <a:cubicBezTo>
                    <a:pt x="17" y="132"/>
                    <a:pt x="17" y="132"/>
                    <a:pt x="17" y="132"/>
                  </a:cubicBezTo>
                  <a:cubicBezTo>
                    <a:pt x="20" y="147"/>
                    <a:pt x="33" y="158"/>
                    <a:pt x="48" y="158"/>
                  </a:cubicBezTo>
                  <a:cubicBezTo>
                    <a:pt x="182" y="155"/>
                    <a:pt x="182" y="155"/>
                    <a:pt x="182" y="155"/>
                  </a:cubicBezTo>
                  <a:cubicBezTo>
                    <a:pt x="183" y="117"/>
                    <a:pt x="183" y="117"/>
                    <a:pt x="183" y="117"/>
                  </a:cubicBezTo>
                  <a:cubicBezTo>
                    <a:pt x="183" y="97"/>
                    <a:pt x="183" y="97"/>
                    <a:pt x="183" y="97"/>
                  </a:cubicBezTo>
                  <a:lnTo>
                    <a:pt x="75" y="96"/>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88"/>
            <p:cNvSpPr>
              <a:spLocks/>
            </p:cNvSpPr>
            <p:nvPr/>
          </p:nvSpPr>
          <p:spPr bwMode="auto">
            <a:xfrm>
              <a:off x="6564" y="2748"/>
              <a:ext cx="120" cy="98"/>
            </a:xfrm>
            <a:custGeom>
              <a:avLst/>
              <a:gdLst>
                <a:gd name="T0" fmla="*/ 35 w 143"/>
                <a:gd name="T1" fmla="*/ 96 h 117"/>
                <a:gd name="T2" fmla="*/ 19 w 143"/>
                <a:gd name="T3" fmla="*/ 0 h 117"/>
                <a:gd name="T4" fmla="*/ 13 w 143"/>
                <a:gd name="T5" fmla="*/ 4 h 117"/>
                <a:gd name="T6" fmla="*/ 0 w 143"/>
                <a:gd name="T7" fmla="*/ 9 h 117"/>
                <a:gd name="T8" fmla="*/ 13 w 143"/>
                <a:gd name="T9" fmla="*/ 90 h 117"/>
                <a:gd name="T10" fmla="*/ 44 w 143"/>
                <a:gd name="T11" fmla="*/ 116 h 117"/>
                <a:gd name="T12" fmla="*/ 143 w 143"/>
                <a:gd name="T13" fmla="*/ 117 h 117"/>
                <a:gd name="T14" fmla="*/ 143 w 143"/>
                <a:gd name="T15" fmla="*/ 97 h 117"/>
                <a:gd name="T16" fmla="*/ 35 w 143"/>
                <a:gd name="T1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17">
                  <a:moveTo>
                    <a:pt x="35" y="96"/>
                  </a:moveTo>
                  <a:cubicBezTo>
                    <a:pt x="19" y="0"/>
                    <a:pt x="19" y="0"/>
                    <a:pt x="19" y="0"/>
                  </a:cubicBezTo>
                  <a:cubicBezTo>
                    <a:pt x="17" y="2"/>
                    <a:pt x="15" y="3"/>
                    <a:pt x="13" y="4"/>
                  </a:cubicBezTo>
                  <a:cubicBezTo>
                    <a:pt x="0" y="9"/>
                    <a:pt x="0" y="9"/>
                    <a:pt x="0" y="9"/>
                  </a:cubicBezTo>
                  <a:cubicBezTo>
                    <a:pt x="13" y="90"/>
                    <a:pt x="13" y="90"/>
                    <a:pt x="13" y="90"/>
                  </a:cubicBezTo>
                  <a:cubicBezTo>
                    <a:pt x="16" y="105"/>
                    <a:pt x="29" y="116"/>
                    <a:pt x="44" y="116"/>
                  </a:cubicBezTo>
                  <a:cubicBezTo>
                    <a:pt x="143" y="117"/>
                    <a:pt x="143" y="117"/>
                    <a:pt x="143" y="117"/>
                  </a:cubicBezTo>
                  <a:cubicBezTo>
                    <a:pt x="143" y="97"/>
                    <a:pt x="143" y="97"/>
                    <a:pt x="143" y="97"/>
                  </a:cubicBezTo>
                  <a:lnTo>
                    <a:pt x="35" y="96"/>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89"/>
            <p:cNvSpPr>
              <a:spLocks/>
            </p:cNvSpPr>
            <p:nvPr/>
          </p:nvSpPr>
          <p:spPr bwMode="auto">
            <a:xfrm>
              <a:off x="6387" y="2584"/>
              <a:ext cx="133" cy="203"/>
            </a:xfrm>
            <a:custGeom>
              <a:avLst/>
              <a:gdLst>
                <a:gd name="T0" fmla="*/ 153 w 159"/>
                <a:gd name="T1" fmla="*/ 0 h 243"/>
                <a:gd name="T2" fmla="*/ 109 w 159"/>
                <a:gd name="T3" fmla="*/ 33 h 243"/>
                <a:gd name="T4" fmla="*/ 114 w 159"/>
                <a:gd name="T5" fmla="*/ 111 h 243"/>
                <a:gd name="T6" fmla="*/ 47 w 159"/>
                <a:gd name="T7" fmla="*/ 169 h 243"/>
                <a:gd name="T8" fmla="*/ 38 w 159"/>
                <a:gd name="T9" fmla="*/ 169 h 243"/>
                <a:gd name="T10" fmla="*/ 10 w 159"/>
                <a:gd name="T11" fmla="*/ 181 h 243"/>
                <a:gd name="T12" fmla="*/ 5 w 159"/>
                <a:gd name="T13" fmla="*/ 183 h 243"/>
                <a:gd name="T14" fmla="*/ 18 w 159"/>
                <a:gd name="T15" fmla="*/ 188 h 243"/>
                <a:gd name="T16" fmla="*/ 19 w 159"/>
                <a:gd name="T17" fmla="*/ 188 h 243"/>
                <a:gd name="T18" fmla="*/ 19 w 159"/>
                <a:gd name="T19" fmla="*/ 188 h 243"/>
                <a:gd name="T20" fmla="*/ 29 w 159"/>
                <a:gd name="T21" fmla="*/ 184 h 243"/>
                <a:gd name="T22" fmla="*/ 3 w 159"/>
                <a:gd name="T23" fmla="*/ 205 h 243"/>
                <a:gd name="T24" fmla="*/ 3 w 159"/>
                <a:gd name="T25" fmla="*/ 205 h 243"/>
                <a:gd name="T26" fmla="*/ 2 w 159"/>
                <a:gd name="T27" fmla="*/ 215 h 243"/>
                <a:gd name="T28" fmla="*/ 6 w 159"/>
                <a:gd name="T29" fmla="*/ 217 h 243"/>
                <a:gd name="T30" fmla="*/ 7 w 159"/>
                <a:gd name="T31" fmla="*/ 226 h 243"/>
                <a:gd name="T32" fmla="*/ 15 w 159"/>
                <a:gd name="T33" fmla="*/ 228 h 243"/>
                <a:gd name="T34" fmla="*/ 16 w 159"/>
                <a:gd name="T35" fmla="*/ 234 h 243"/>
                <a:gd name="T36" fmla="*/ 24 w 159"/>
                <a:gd name="T37" fmla="*/ 236 h 243"/>
                <a:gd name="T38" fmla="*/ 26 w 159"/>
                <a:gd name="T39" fmla="*/ 240 h 243"/>
                <a:gd name="T40" fmla="*/ 36 w 159"/>
                <a:gd name="T41" fmla="*/ 241 h 243"/>
                <a:gd name="T42" fmla="*/ 36 w 159"/>
                <a:gd name="T43" fmla="*/ 240 h 243"/>
                <a:gd name="T44" fmla="*/ 36 w 159"/>
                <a:gd name="T45" fmla="*/ 240 h 243"/>
                <a:gd name="T46" fmla="*/ 56 w 159"/>
                <a:gd name="T47" fmla="*/ 222 h 243"/>
                <a:gd name="T48" fmla="*/ 152 w 159"/>
                <a:gd name="T49" fmla="*/ 137 h 243"/>
                <a:gd name="T50" fmla="*/ 156 w 159"/>
                <a:gd name="T51" fmla="*/ 132 h 243"/>
                <a:gd name="T52" fmla="*/ 159 w 159"/>
                <a:gd name="T53" fmla="*/ 119 h 243"/>
                <a:gd name="T54" fmla="*/ 153 w 159"/>
                <a:gd name="T5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9" h="243">
                  <a:moveTo>
                    <a:pt x="153" y="0"/>
                  </a:moveTo>
                  <a:cubicBezTo>
                    <a:pt x="109" y="33"/>
                    <a:pt x="109" y="33"/>
                    <a:pt x="109" y="33"/>
                  </a:cubicBezTo>
                  <a:cubicBezTo>
                    <a:pt x="114" y="111"/>
                    <a:pt x="114" y="111"/>
                    <a:pt x="114" y="111"/>
                  </a:cubicBezTo>
                  <a:cubicBezTo>
                    <a:pt x="47" y="169"/>
                    <a:pt x="47" y="169"/>
                    <a:pt x="47" y="169"/>
                  </a:cubicBezTo>
                  <a:cubicBezTo>
                    <a:pt x="43" y="169"/>
                    <a:pt x="40" y="168"/>
                    <a:pt x="38" y="169"/>
                  </a:cubicBezTo>
                  <a:cubicBezTo>
                    <a:pt x="26" y="173"/>
                    <a:pt x="15" y="178"/>
                    <a:pt x="10" y="181"/>
                  </a:cubicBezTo>
                  <a:cubicBezTo>
                    <a:pt x="5" y="183"/>
                    <a:pt x="5" y="183"/>
                    <a:pt x="5" y="183"/>
                  </a:cubicBezTo>
                  <a:cubicBezTo>
                    <a:pt x="7" y="188"/>
                    <a:pt x="13" y="190"/>
                    <a:pt x="18" y="188"/>
                  </a:cubicBezTo>
                  <a:cubicBezTo>
                    <a:pt x="19" y="188"/>
                    <a:pt x="19" y="188"/>
                    <a:pt x="19" y="188"/>
                  </a:cubicBezTo>
                  <a:cubicBezTo>
                    <a:pt x="19" y="188"/>
                    <a:pt x="19" y="188"/>
                    <a:pt x="19" y="188"/>
                  </a:cubicBezTo>
                  <a:cubicBezTo>
                    <a:pt x="29" y="184"/>
                    <a:pt x="29" y="184"/>
                    <a:pt x="29" y="184"/>
                  </a:cubicBezTo>
                  <a:cubicBezTo>
                    <a:pt x="3" y="205"/>
                    <a:pt x="3" y="205"/>
                    <a:pt x="3" y="205"/>
                  </a:cubicBezTo>
                  <a:cubicBezTo>
                    <a:pt x="3" y="205"/>
                    <a:pt x="3" y="205"/>
                    <a:pt x="3" y="205"/>
                  </a:cubicBezTo>
                  <a:cubicBezTo>
                    <a:pt x="0" y="208"/>
                    <a:pt x="0" y="212"/>
                    <a:pt x="2" y="215"/>
                  </a:cubicBezTo>
                  <a:cubicBezTo>
                    <a:pt x="3" y="216"/>
                    <a:pt x="5" y="217"/>
                    <a:pt x="6" y="217"/>
                  </a:cubicBezTo>
                  <a:cubicBezTo>
                    <a:pt x="4" y="220"/>
                    <a:pt x="4" y="224"/>
                    <a:pt x="7" y="226"/>
                  </a:cubicBezTo>
                  <a:cubicBezTo>
                    <a:pt x="9" y="229"/>
                    <a:pt x="12" y="229"/>
                    <a:pt x="15" y="228"/>
                  </a:cubicBezTo>
                  <a:cubicBezTo>
                    <a:pt x="14" y="230"/>
                    <a:pt x="15" y="232"/>
                    <a:pt x="16" y="234"/>
                  </a:cubicBezTo>
                  <a:cubicBezTo>
                    <a:pt x="18" y="237"/>
                    <a:pt x="22" y="237"/>
                    <a:pt x="24" y="236"/>
                  </a:cubicBezTo>
                  <a:cubicBezTo>
                    <a:pt x="24" y="237"/>
                    <a:pt x="25" y="239"/>
                    <a:pt x="26" y="240"/>
                  </a:cubicBezTo>
                  <a:cubicBezTo>
                    <a:pt x="29" y="243"/>
                    <a:pt x="33" y="243"/>
                    <a:pt x="36" y="241"/>
                  </a:cubicBezTo>
                  <a:cubicBezTo>
                    <a:pt x="36" y="241"/>
                    <a:pt x="36" y="240"/>
                    <a:pt x="36" y="240"/>
                  </a:cubicBezTo>
                  <a:cubicBezTo>
                    <a:pt x="36" y="240"/>
                    <a:pt x="36" y="240"/>
                    <a:pt x="36" y="240"/>
                  </a:cubicBezTo>
                  <a:cubicBezTo>
                    <a:pt x="56" y="222"/>
                    <a:pt x="56" y="222"/>
                    <a:pt x="56" y="222"/>
                  </a:cubicBezTo>
                  <a:cubicBezTo>
                    <a:pt x="152" y="137"/>
                    <a:pt x="152" y="137"/>
                    <a:pt x="152" y="137"/>
                  </a:cubicBezTo>
                  <a:cubicBezTo>
                    <a:pt x="153" y="136"/>
                    <a:pt x="155" y="134"/>
                    <a:pt x="156" y="132"/>
                  </a:cubicBezTo>
                  <a:cubicBezTo>
                    <a:pt x="158" y="128"/>
                    <a:pt x="159" y="124"/>
                    <a:pt x="159" y="119"/>
                  </a:cubicBezTo>
                  <a:lnTo>
                    <a:pt x="153"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0"/>
            <p:cNvSpPr>
              <a:spLocks/>
            </p:cNvSpPr>
            <p:nvPr/>
          </p:nvSpPr>
          <p:spPr bwMode="auto">
            <a:xfrm>
              <a:off x="6426" y="2597"/>
              <a:ext cx="94" cy="157"/>
            </a:xfrm>
            <a:custGeom>
              <a:avLst/>
              <a:gdLst>
                <a:gd name="T0" fmla="*/ 107 w 112"/>
                <a:gd name="T1" fmla="*/ 0 h 188"/>
                <a:gd name="T2" fmla="*/ 95 w 112"/>
                <a:gd name="T3" fmla="*/ 13 h 188"/>
                <a:gd name="T4" fmla="*/ 100 w 112"/>
                <a:gd name="T5" fmla="*/ 110 h 188"/>
                <a:gd name="T6" fmla="*/ 32 w 112"/>
                <a:gd name="T7" fmla="*/ 170 h 188"/>
                <a:gd name="T8" fmla="*/ 10 w 112"/>
                <a:gd name="T9" fmla="*/ 145 h 188"/>
                <a:gd name="T10" fmla="*/ 0 w 112"/>
                <a:gd name="T11" fmla="*/ 155 h 188"/>
                <a:gd name="T12" fmla="*/ 30 w 112"/>
                <a:gd name="T13" fmla="*/ 188 h 188"/>
                <a:gd name="T14" fmla="*/ 30 w 112"/>
                <a:gd name="T15" fmla="*/ 188 h 188"/>
                <a:gd name="T16" fmla="*/ 30 w 112"/>
                <a:gd name="T17" fmla="*/ 188 h 188"/>
                <a:gd name="T18" fmla="*/ 105 w 112"/>
                <a:gd name="T19" fmla="*/ 122 h 188"/>
                <a:gd name="T20" fmla="*/ 109 w 112"/>
                <a:gd name="T21" fmla="*/ 117 h 188"/>
                <a:gd name="T22" fmla="*/ 112 w 112"/>
                <a:gd name="T23" fmla="*/ 104 h 188"/>
                <a:gd name="T24" fmla="*/ 107 w 112"/>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88">
                  <a:moveTo>
                    <a:pt x="107" y="0"/>
                  </a:moveTo>
                  <a:cubicBezTo>
                    <a:pt x="107" y="0"/>
                    <a:pt x="94" y="1"/>
                    <a:pt x="95" y="13"/>
                  </a:cubicBezTo>
                  <a:cubicBezTo>
                    <a:pt x="96" y="25"/>
                    <a:pt x="100" y="110"/>
                    <a:pt x="100" y="110"/>
                  </a:cubicBezTo>
                  <a:cubicBezTo>
                    <a:pt x="32" y="170"/>
                    <a:pt x="32" y="170"/>
                    <a:pt x="32" y="170"/>
                  </a:cubicBezTo>
                  <a:cubicBezTo>
                    <a:pt x="10" y="145"/>
                    <a:pt x="10" y="145"/>
                    <a:pt x="10" y="145"/>
                  </a:cubicBezTo>
                  <a:cubicBezTo>
                    <a:pt x="0" y="155"/>
                    <a:pt x="0" y="155"/>
                    <a:pt x="0" y="155"/>
                  </a:cubicBezTo>
                  <a:cubicBezTo>
                    <a:pt x="30" y="188"/>
                    <a:pt x="30" y="188"/>
                    <a:pt x="30" y="188"/>
                  </a:cubicBezTo>
                  <a:cubicBezTo>
                    <a:pt x="30" y="188"/>
                    <a:pt x="30" y="188"/>
                    <a:pt x="30" y="188"/>
                  </a:cubicBezTo>
                  <a:cubicBezTo>
                    <a:pt x="30" y="188"/>
                    <a:pt x="30" y="188"/>
                    <a:pt x="30" y="188"/>
                  </a:cubicBezTo>
                  <a:cubicBezTo>
                    <a:pt x="105" y="122"/>
                    <a:pt x="105" y="122"/>
                    <a:pt x="105" y="122"/>
                  </a:cubicBezTo>
                  <a:cubicBezTo>
                    <a:pt x="106" y="121"/>
                    <a:pt x="108" y="119"/>
                    <a:pt x="109" y="117"/>
                  </a:cubicBezTo>
                  <a:cubicBezTo>
                    <a:pt x="111" y="113"/>
                    <a:pt x="112" y="109"/>
                    <a:pt x="112" y="104"/>
                  </a:cubicBezTo>
                  <a:lnTo>
                    <a:pt x="107" y="0"/>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91"/>
            <p:cNvSpPr>
              <a:spLocks/>
            </p:cNvSpPr>
            <p:nvPr/>
          </p:nvSpPr>
          <p:spPr bwMode="auto">
            <a:xfrm>
              <a:off x="6477" y="2858"/>
              <a:ext cx="16" cy="46"/>
            </a:xfrm>
            <a:custGeom>
              <a:avLst/>
              <a:gdLst>
                <a:gd name="T0" fmla="*/ 19 w 20"/>
                <a:gd name="T1" fmla="*/ 0 h 55"/>
                <a:gd name="T2" fmla="*/ 0 w 20"/>
                <a:gd name="T3" fmla="*/ 11 h 55"/>
                <a:gd name="T4" fmla="*/ 0 w 20"/>
                <a:gd name="T5" fmla="*/ 55 h 55"/>
                <a:gd name="T6" fmla="*/ 10 w 20"/>
                <a:gd name="T7" fmla="*/ 55 h 55"/>
                <a:gd name="T8" fmla="*/ 19 w 20"/>
                <a:gd name="T9" fmla="*/ 46 h 55"/>
                <a:gd name="T10" fmla="*/ 19 w 20"/>
                <a:gd name="T11" fmla="*/ 0 h 55"/>
              </a:gdLst>
              <a:ahLst/>
              <a:cxnLst>
                <a:cxn ang="0">
                  <a:pos x="T0" y="T1"/>
                </a:cxn>
                <a:cxn ang="0">
                  <a:pos x="T2" y="T3"/>
                </a:cxn>
                <a:cxn ang="0">
                  <a:pos x="T4" y="T5"/>
                </a:cxn>
                <a:cxn ang="0">
                  <a:pos x="T6" y="T7"/>
                </a:cxn>
                <a:cxn ang="0">
                  <a:pos x="T8" y="T9"/>
                </a:cxn>
                <a:cxn ang="0">
                  <a:pos x="T10" y="T11"/>
                </a:cxn>
              </a:cxnLst>
              <a:rect l="0" t="0" r="r" b="b"/>
              <a:pathLst>
                <a:path w="20" h="55">
                  <a:moveTo>
                    <a:pt x="19" y="0"/>
                  </a:moveTo>
                  <a:cubicBezTo>
                    <a:pt x="0" y="11"/>
                    <a:pt x="0" y="11"/>
                    <a:pt x="0" y="11"/>
                  </a:cubicBezTo>
                  <a:cubicBezTo>
                    <a:pt x="0" y="55"/>
                    <a:pt x="0" y="55"/>
                    <a:pt x="0" y="55"/>
                  </a:cubicBezTo>
                  <a:cubicBezTo>
                    <a:pt x="10" y="55"/>
                    <a:pt x="10" y="55"/>
                    <a:pt x="10" y="55"/>
                  </a:cubicBezTo>
                  <a:cubicBezTo>
                    <a:pt x="20" y="55"/>
                    <a:pt x="19" y="46"/>
                    <a:pt x="19" y="46"/>
                  </a:cubicBezTo>
                  <a:lnTo>
                    <a:pt x="19"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92"/>
            <p:cNvSpPr>
              <a:spLocks/>
            </p:cNvSpPr>
            <p:nvPr/>
          </p:nvSpPr>
          <p:spPr bwMode="auto">
            <a:xfrm>
              <a:off x="6654" y="2807"/>
              <a:ext cx="111" cy="98"/>
            </a:xfrm>
            <a:custGeom>
              <a:avLst/>
              <a:gdLst>
                <a:gd name="T0" fmla="*/ 100 w 132"/>
                <a:gd name="T1" fmla="*/ 113 h 117"/>
                <a:gd name="T2" fmla="*/ 33 w 132"/>
                <a:gd name="T3" fmla="*/ 86 h 117"/>
                <a:gd name="T4" fmla="*/ 33 w 132"/>
                <a:gd name="T5" fmla="*/ 86 h 117"/>
                <a:gd name="T6" fmla="*/ 30 w 132"/>
                <a:gd name="T7" fmla="*/ 84 h 117"/>
                <a:gd name="T8" fmla="*/ 29 w 132"/>
                <a:gd name="T9" fmla="*/ 75 h 117"/>
                <a:gd name="T10" fmla="*/ 29 w 132"/>
                <a:gd name="T11" fmla="*/ 75 h 117"/>
                <a:gd name="T12" fmla="*/ 25 w 132"/>
                <a:gd name="T13" fmla="*/ 46 h 117"/>
                <a:gd name="T14" fmla="*/ 0 w 132"/>
                <a:gd name="T15" fmla="*/ 39 h 117"/>
                <a:gd name="T16" fmla="*/ 34 w 132"/>
                <a:gd name="T17" fmla="*/ 7 h 117"/>
                <a:gd name="T18" fmla="*/ 47 w 132"/>
                <a:gd name="T19" fmla="*/ 8 h 117"/>
                <a:gd name="T20" fmla="*/ 126 w 132"/>
                <a:gd name="T21" fmla="*/ 91 h 117"/>
                <a:gd name="T22" fmla="*/ 125 w 132"/>
                <a:gd name="T23" fmla="*/ 101 h 117"/>
                <a:gd name="T24" fmla="*/ 115 w 132"/>
                <a:gd name="T25" fmla="*/ 112 h 117"/>
                <a:gd name="T26" fmla="*/ 100 w 132"/>
                <a:gd name="T27" fmla="*/ 11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17">
                  <a:moveTo>
                    <a:pt x="100" y="113"/>
                  </a:moveTo>
                  <a:cubicBezTo>
                    <a:pt x="89" y="109"/>
                    <a:pt x="33" y="86"/>
                    <a:pt x="33" y="86"/>
                  </a:cubicBezTo>
                  <a:cubicBezTo>
                    <a:pt x="33" y="86"/>
                    <a:pt x="33" y="86"/>
                    <a:pt x="33" y="86"/>
                  </a:cubicBezTo>
                  <a:cubicBezTo>
                    <a:pt x="32" y="85"/>
                    <a:pt x="31" y="85"/>
                    <a:pt x="30" y="84"/>
                  </a:cubicBezTo>
                  <a:cubicBezTo>
                    <a:pt x="27" y="82"/>
                    <a:pt x="27" y="78"/>
                    <a:pt x="29" y="75"/>
                  </a:cubicBezTo>
                  <a:cubicBezTo>
                    <a:pt x="29" y="75"/>
                    <a:pt x="29" y="75"/>
                    <a:pt x="29" y="75"/>
                  </a:cubicBezTo>
                  <a:cubicBezTo>
                    <a:pt x="33" y="70"/>
                    <a:pt x="36" y="58"/>
                    <a:pt x="25" y="46"/>
                  </a:cubicBezTo>
                  <a:cubicBezTo>
                    <a:pt x="0" y="39"/>
                    <a:pt x="0" y="39"/>
                    <a:pt x="0" y="39"/>
                  </a:cubicBezTo>
                  <a:cubicBezTo>
                    <a:pt x="34" y="7"/>
                    <a:pt x="34" y="7"/>
                    <a:pt x="34" y="7"/>
                  </a:cubicBezTo>
                  <a:cubicBezTo>
                    <a:pt x="34" y="7"/>
                    <a:pt x="40" y="0"/>
                    <a:pt x="47" y="8"/>
                  </a:cubicBezTo>
                  <a:cubicBezTo>
                    <a:pt x="53" y="15"/>
                    <a:pt x="126" y="91"/>
                    <a:pt x="126" y="91"/>
                  </a:cubicBezTo>
                  <a:cubicBezTo>
                    <a:pt x="126" y="91"/>
                    <a:pt x="132" y="96"/>
                    <a:pt x="125" y="101"/>
                  </a:cubicBezTo>
                  <a:cubicBezTo>
                    <a:pt x="119" y="107"/>
                    <a:pt x="115" y="112"/>
                    <a:pt x="115" y="112"/>
                  </a:cubicBezTo>
                  <a:cubicBezTo>
                    <a:pt x="115" y="112"/>
                    <a:pt x="112" y="117"/>
                    <a:pt x="100" y="1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93"/>
            <p:cNvSpPr>
              <a:spLocks/>
            </p:cNvSpPr>
            <p:nvPr/>
          </p:nvSpPr>
          <p:spPr bwMode="auto">
            <a:xfrm>
              <a:off x="6654" y="2807"/>
              <a:ext cx="46" cy="39"/>
            </a:xfrm>
            <a:custGeom>
              <a:avLst/>
              <a:gdLst>
                <a:gd name="T0" fmla="*/ 55 w 55"/>
                <a:gd name="T1" fmla="*/ 16 h 46"/>
                <a:gd name="T2" fmla="*/ 47 w 55"/>
                <a:gd name="T3" fmla="*/ 8 h 46"/>
                <a:gd name="T4" fmla="*/ 34 w 55"/>
                <a:gd name="T5" fmla="*/ 7 h 46"/>
                <a:gd name="T6" fmla="*/ 0 w 55"/>
                <a:gd name="T7" fmla="*/ 39 h 46"/>
                <a:gd name="T8" fmla="*/ 24 w 55"/>
                <a:gd name="T9" fmla="*/ 46 h 46"/>
                <a:gd name="T10" fmla="*/ 55 w 55"/>
                <a:gd name="T11" fmla="*/ 16 h 46"/>
              </a:gdLst>
              <a:ahLst/>
              <a:cxnLst>
                <a:cxn ang="0">
                  <a:pos x="T0" y="T1"/>
                </a:cxn>
                <a:cxn ang="0">
                  <a:pos x="T2" y="T3"/>
                </a:cxn>
                <a:cxn ang="0">
                  <a:pos x="T4" y="T5"/>
                </a:cxn>
                <a:cxn ang="0">
                  <a:pos x="T6" y="T7"/>
                </a:cxn>
                <a:cxn ang="0">
                  <a:pos x="T8" y="T9"/>
                </a:cxn>
                <a:cxn ang="0">
                  <a:pos x="T10" y="T11"/>
                </a:cxn>
              </a:cxnLst>
              <a:rect l="0" t="0" r="r" b="b"/>
              <a:pathLst>
                <a:path w="55" h="46">
                  <a:moveTo>
                    <a:pt x="55" y="16"/>
                  </a:moveTo>
                  <a:cubicBezTo>
                    <a:pt x="51" y="12"/>
                    <a:pt x="48" y="9"/>
                    <a:pt x="47" y="8"/>
                  </a:cubicBezTo>
                  <a:cubicBezTo>
                    <a:pt x="40" y="0"/>
                    <a:pt x="34" y="7"/>
                    <a:pt x="34" y="7"/>
                  </a:cubicBezTo>
                  <a:cubicBezTo>
                    <a:pt x="0" y="39"/>
                    <a:pt x="0" y="39"/>
                    <a:pt x="0" y="39"/>
                  </a:cubicBezTo>
                  <a:cubicBezTo>
                    <a:pt x="24" y="46"/>
                    <a:pt x="24" y="46"/>
                    <a:pt x="24" y="46"/>
                  </a:cubicBezTo>
                  <a:lnTo>
                    <a:pt x="55" y="1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06" name="Freeform 219"/>
          <p:cNvSpPr>
            <a:spLocks/>
          </p:cNvSpPr>
          <p:nvPr/>
        </p:nvSpPr>
        <p:spPr bwMode="auto">
          <a:xfrm>
            <a:off x="666655" y="4808664"/>
            <a:ext cx="355481" cy="715538"/>
          </a:xfrm>
          <a:custGeom>
            <a:avLst/>
            <a:gdLst>
              <a:gd name="T0" fmla="*/ 389 w 389"/>
              <a:gd name="T1" fmla="*/ 470 h 711"/>
              <a:gd name="T2" fmla="*/ 383 w 389"/>
              <a:gd name="T3" fmla="*/ 503 h 711"/>
              <a:gd name="T4" fmla="*/ 374 w 389"/>
              <a:gd name="T5" fmla="*/ 526 h 711"/>
              <a:gd name="T6" fmla="*/ 361 w 389"/>
              <a:gd name="T7" fmla="*/ 549 h 711"/>
              <a:gd name="T8" fmla="*/ 331 w 389"/>
              <a:gd name="T9" fmla="*/ 580 h 711"/>
              <a:gd name="T10" fmla="*/ 304 w 389"/>
              <a:gd name="T11" fmla="*/ 599 h 711"/>
              <a:gd name="T12" fmla="*/ 249 w 389"/>
              <a:gd name="T13" fmla="*/ 620 h 711"/>
              <a:gd name="T14" fmla="*/ 156 w 389"/>
              <a:gd name="T15" fmla="*/ 631 h 711"/>
              <a:gd name="T16" fmla="*/ 113 w 389"/>
              <a:gd name="T17" fmla="*/ 628 h 711"/>
              <a:gd name="T18" fmla="*/ 69 w 389"/>
              <a:gd name="T19" fmla="*/ 621 h 711"/>
              <a:gd name="T20" fmla="*/ 31 w 389"/>
              <a:gd name="T21" fmla="*/ 609 h 711"/>
              <a:gd name="T22" fmla="*/ 12 w 389"/>
              <a:gd name="T23" fmla="*/ 601 h 711"/>
              <a:gd name="T24" fmla="*/ 7 w 389"/>
              <a:gd name="T25" fmla="*/ 451 h 711"/>
              <a:gd name="T26" fmla="*/ 66 w 389"/>
              <a:gd name="T27" fmla="*/ 485 h 711"/>
              <a:gd name="T28" fmla="*/ 105 w 389"/>
              <a:gd name="T29" fmla="*/ 501 h 711"/>
              <a:gd name="T30" fmla="*/ 166 w 389"/>
              <a:gd name="T31" fmla="*/ 510 h 711"/>
              <a:gd name="T32" fmla="*/ 187 w 389"/>
              <a:gd name="T33" fmla="*/ 507 h 711"/>
              <a:gd name="T34" fmla="*/ 201 w 389"/>
              <a:gd name="T35" fmla="*/ 498 h 711"/>
              <a:gd name="T36" fmla="*/ 209 w 389"/>
              <a:gd name="T37" fmla="*/ 486 h 711"/>
              <a:gd name="T38" fmla="*/ 211 w 389"/>
              <a:gd name="T39" fmla="*/ 472 h 711"/>
              <a:gd name="T40" fmla="*/ 209 w 389"/>
              <a:gd name="T41" fmla="*/ 458 h 711"/>
              <a:gd name="T42" fmla="*/ 205 w 389"/>
              <a:gd name="T43" fmla="*/ 451 h 711"/>
              <a:gd name="T44" fmla="*/ 188 w 389"/>
              <a:gd name="T45" fmla="*/ 435 h 711"/>
              <a:gd name="T46" fmla="*/ 154 w 389"/>
              <a:gd name="T47" fmla="*/ 418 h 711"/>
              <a:gd name="T48" fmla="*/ 112 w 389"/>
              <a:gd name="T49" fmla="*/ 400 h 711"/>
              <a:gd name="T50" fmla="*/ 69 w 389"/>
              <a:gd name="T51" fmla="*/ 375 h 711"/>
              <a:gd name="T52" fmla="*/ 47 w 389"/>
              <a:gd name="T53" fmla="*/ 357 h 711"/>
              <a:gd name="T54" fmla="*/ 29 w 389"/>
              <a:gd name="T55" fmla="*/ 337 h 711"/>
              <a:gd name="T56" fmla="*/ 11 w 389"/>
              <a:gd name="T57" fmla="*/ 304 h 711"/>
              <a:gd name="T58" fmla="*/ 4 w 389"/>
              <a:gd name="T59" fmla="*/ 281 h 711"/>
              <a:gd name="T60" fmla="*/ 0 w 389"/>
              <a:gd name="T61" fmla="*/ 245 h 711"/>
              <a:gd name="T62" fmla="*/ 3 w 389"/>
              <a:gd name="T63" fmla="*/ 213 h 711"/>
              <a:gd name="T64" fmla="*/ 11 w 389"/>
              <a:gd name="T65" fmla="*/ 184 h 711"/>
              <a:gd name="T66" fmla="*/ 33 w 389"/>
              <a:gd name="T67" fmla="*/ 145 h 711"/>
              <a:gd name="T68" fmla="*/ 54 w 389"/>
              <a:gd name="T69" fmla="*/ 124 h 711"/>
              <a:gd name="T70" fmla="*/ 91 w 389"/>
              <a:gd name="T71" fmla="*/ 99 h 711"/>
              <a:gd name="T72" fmla="*/ 122 w 389"/>
              <a:gd name="T73" fmla="*/ 86 h 711"/>
              <a:gd name="T74" fmla="*/ 156 w 389"/>
              <a:gd name="T75" fmla="*/ 0 h 711"/>
              <a:gd name="T76" fmla="*/ 249 w 389"/>
              <a:gd name="T77" fmla="*/ 74 h 711"/>
              <a:gd name="T78" fmla="*/ 314 w 389"/>
              <a:gd name="T79" fmla="*/ 81 h 711"/>
              <a:gd name="T80" fmla="*/ 362 w 389"/>
              <a:gd name="T81" fmla="*/ 236 h 711"/>
              <a:gd name="T82" fmla="*/ 335 w 389"/>
              <a:gd name="T83" fmla="*/ 221 h 711"/>
              <a:gd name="T84" fmla="*/ 300 w 389"/>
              <a:gd name="T85" fmla="*/ 208 h 711"/>
              <a:gd name="T86" fmla="*/ 261 w 389"/>
              <a:gd name="T87" fmla="*/ 198 h 711"/>
              <a:gd name="T88" fmla="*/ 219 w 389"/>
              <a:gd name="T89" fmla="*/ 194 h 711"/>
              <a:gd name="T90" fmla="*/ 198 w 389"/>
              <a:gd name="T91" fmla="*/ 197 h 711"/>
              <a:gd name="T92" fmla="*/ 183 w 389"/>
              <a:gd name="T93" fmla="*/ 205 h 711"/>
              <a:gd name="T94" fmla="*/ 174 w 389"/>
              <a:gd name="T95" fmla="*/ 216 h 711"/>
              <a:gd name="T96" fmla="*/ 171 w 389"/>
              <a:gd name="T97" fmla="*/ 229 h 711"/>
              <a:gd name="T98" fmla="*/ 173 w 389"/>
              <a:gd name="T99" fmla="*/ 242 h 711"/>
              <a:gd name="T100" fmla="*/ 181 w 389"/>
              <a:gd name="T101" fmla="*/ 256 h 711"/>
              <a:gd name="T102" fmla="*/ 201 w 389"/>
              <a:gd name="T103" fmla="*/ 271 h 711"/>
              <a:gd name="T104" fmla="*/ 239 w 389"/>
              <a:gd name="T105" fmla="*/ 289 h 711"/>
              <a:gd name="T106" fmla="*/ 278 w 389"/>
              <a:gd name="T107" fmla="*/ 307 h 711"/>
              <a:gd name="T108" fmla="*/ 310 w 389"/>
              <a:gd name="T109" fmla="*/ 325 h 711"/>
              <a:gd name="T110" fmla="*/ 347 w 389"/>
              <a:gd name="T111" fmla="*/ 355 h 711"/>
              <a:gd name="T112" fmla="*/ 364 w 389"/>
              <a:gd name="T113" fmla="*/ 376 h 711"/>
              <a:gd name="T114" fmla="*/ 381 w 389"/>
              <a:gd name="T115" fmla="*/ 411 h 711"/>
              <a:gd name="T116" fmla="*/ 387 w 389"/>
              <a:gd name="T117" fmla="*/ 435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9" h="711">
                <a:moveTo>
                  <a:pt x="389" y="460"/>
                </a:moveTo>
                <a:lnTo>
                  <a:pt x="389" y="460"/>
                </a:lnTo>
                <a:lnTo>
                  <a:pt x="389" y="470"/>
                </a:lnTo>
                <a:lnTo>
                  <a:pt x="388" y="480"/>
                </a:lnTo>
                <a:lnTo>
                  <a:pt x="386" y="491"/>
                </a:lnTo>
                <a:lnTo>
                  <a:pt x="383" y="503"/>
                </a:lnTo>
                <a:lnTo>
                  <a:pt x="383" y="503"/>
                </a:lnTo>
                <a:lnTo>
                  <a:pt x="379" y="515"/>
                </a:lnTo>
                <a:lnTo>
                  <a:pt x="374" y="526"/>
                </a:lnTo>
                <a:lnTo>
                  <a:pt x="368" y="538"/>
                </a:lnTo>
                <a:lnTo>
                  <a:pt x="361" y="549"/>
                </a:lnTo>
                <a:lnTo>
                  <a:pt x="361" y="549"/>
                </a:lnTo>
                <a:lnTo>
                  <a:pt x="352" y="560"/>
                </a:lnTo>
                <a:lnTo>
                  <a:pt x="342" y="570"/>
                </a:lnTo>
                <a:lnTo>
                  <a:pt x="331" y="580"/>
                </a:lnTo>
                <a:lnTo>
                  <a:pt x="318" y="590"/>
                </a:lnTo>
                <a:lnTo>
                  <a:pt x="318" y="590"/>
                </a:lnTo>
                <a:lnTo>
                  <a:pt x="304" y="599"/>
                </a:lnTo>
                <a:lnTo>
                  <a:pt x="287" y="607"/>
                </a:lnTo>
                <a:lnTo>
                  <a:pt x="269" y="615"/>
                </a:lnTo>
                <a:lnTo>
                  <a:pt x="249" y="620"/>
                </a:lnTo>
                <a:lnTo>
                  <a:pt x="249" y="711"/>
                </a:lnTo>
                <a:lnTo>
                  <a:pt x="156" y="711"/>
                </a:lnTo>
                <a:lnTo>
                  <a:pt x="156" y="631"/>
                </a:lnTo>
                <a:lnTo>
                  <a:pt x="156" y="631"/>
                </a:lnTo>
                <a:lnTo>
                  <a:pt x="135" y="630"/>
                </a:lnTo>
                <a:lnTo>
                  <a:pt x="113" y="628"/>
                </a:lnTo>
                <a:lnTo>
                  <a:pt x="113" y="628"/>
                </a:lnTo>
                <a:lnTo>
                  <a:pt x="90" y="625"/>
                </a:lnTo>
                <a:lnTo>
                  <a:pt x="69" y="621"/>
                </a:lnTo>
                <a:lnTo>
                  <a:pt x="69" y="621"/>
                </a:lnTo>
                <a:lnTo>
                  <a:pt x="48" y="616"/>
                </a:lnTo>
                <a:lnTo>
                  <a:pt x="31" y="609"/>
                </a:lnTo>
                <a:lnTo>
                  <a:pt x="31" y="609"/>
                </a:lnTo>
                <a:lnTo>
                  <a:pt x="17" y="604"/>
                </a:lnTo>
                <a:lnTo>
                  <a:pt x="12" y="601"/>
                </a:lnTo>
                <a:lnTo>
                  <a:pt x="7" y="598"/>
                </a:lnTo>
                <a:lnTo>
                  <a:pt x="7" y="451"/>
                </a:lnTo>
                <a:lnTo>
                  <a:pt x="7" y="451"/>
                </a:lnTo>
                <a:lnTo>
                  <a:pt x="26" y="464"/>
                </a:lnTo>
                <a:lnTo>
                  <a:pt x="45" y="475"/>
                </a:lnTo>
                <a:lnTo>
                  <a:pt x="66" y="485"/>
                </a:lnTo>
                <a:lnTo>
                  <a:pt x="85" y="494"/>
                </a:lnTo>
                <a:lnTo>
                  <a:pt x="85" y="494"/>
                </a:lnTo>
                <a:lnTo>
                  <a:pt x="105" y="501"/>
                </a:lnTo>
                <a:lnTo>
                  <a:pt x="126" y="506"/>
                </a:lnTo>
                <a:lnTo>
                  <a:pt x="146" y="509"/>
                </a:lnTo>
                <a:lnTo>
                  <a:pt x="166" y="510"/>
                </a:lnTo>
                <a:lnTo>
                  <a:pt x="166" y="510"/>
                </a:lnTo>
                <a:lnTo>
                  <a:pt x="178" y="509"/>
                </a:lnTo>
                <a:lnTo>
                  <a:pt x="187" y="507"/>
                </a:lnTo>
                <a:lnTo>
                  <a:pt x="187" y="507"/>
                </a:lnTo>
                <a:lnTo>
                  <a:pt x="195" y="503"/>
                </a:lnTo>
                <a:lnTo>
                  <a:pt x="201" y="498"/>
                </a:lnTo>
                <a:lnTo>
                  <a:pt x="201" y="498"/>
                </a:lnTo>
                <a:lnTo>
                  <a:pt x="206" y="493"/>
                </a:lnTo>
                <a:lnTo>
                  <a:pt x="209" y="486"/>
                </a:lnTo>
                <a:lnTo>
                  <a:pt x="209" y="486"/>
                </a:lnTo>
                <a:lnTo>
                  <a:pt x="210" y="479"/>
                </a:lnTo>
                <a:lnTo>
                  <a:pt x="211" y="472"/>
                </a:lnTo>
                <a:lnTo>
                  <a:pt x="211" y="472"/>
                </a:lnTo>
                <a:lnTo>
                  <a:pt x="211" y="465"/>
                </a:lnTo>
                <a:lnTo>
                  <a:pt x="209" y="458"/>
                </a:lnTo>
                <a:lnTo>
                  <a:pt x="209" y="458"/>
                </a:lnTo>
                <a:lnTo>
                  <a:pt x="207" y="454"/>
                </a:lnTo>
                <a:lnTo>
                  <a:pt x="205" y="451"/>
                </a:lnTo>
                <a:lnTo>
                  <a:pt x="198" y="443"/>
                </a:lnTo>
                <a:lnTo>
                  <a:pt x="198" y="443"/>
                </a:lnTo>
                <a:lnTo>
                  <a:pt x="188" y="435"/>
                </a:lnTo>
                <a:lnTo>
                  <a:pt x="173" y="427"/>
                </a:lnTo>
                <a:lnTo>
                  <a:pt x="173" y="427"/>
                </a:lnTo>
                <a:lnTo>
                  <a:pt x="154" y="418"/>
                </a:lnTo>
                <a:lnTo>
                  <a:pt x="128" y="407"/>
                </a:lnTo>
                <a:lnTo>
                  <a:pt x="128" y="407"/>
                </a:lnTo>
                <a:lnTo>
                  <a:pt x="112" y="400"/>
                </a:lnTo>
                <a:lnTo>
                  <a:pt x="96" y="392"/>
                </a:lnTo>
                <a:lnTo>
                  <a:pt x="82" y="384"/>
                </a:lnTo>
                <a:lnTo>
                  <a:pt x="69" y="375"/>
                </a:lnTo>
                <a:lnTo>
                  <a:pt x="69" y="375"/>
                </a:lnTo>
                <a:lnTo>
                  <a:pt x="58" y="366"/>
                </a:lnTo>
                <a:lnTo>
                  <a:pt x="47" y="357"/>
                </a:lnTo>
                <a:lnTo>
                  <a:pt x="37" y="347"/>
                </a:lnTo>
                <a:lnTo>
                  <a:pt x="29" y="337"/>
                </a:lnTo>
                <a:lnTo>
                  <a:pt x="29" y="337"/>
                </a:lnTo>
                <a:lnTo>
                  <a:pt x="22" y="326"/>
                </a:lnTo>
                <a:lnTo>
                  <a:pt x="16" y="316"/>
                </a:lnTo>
                <a:lnTo>
                  <a:pt x="11" y="304"/>
                </a:lnTo>
                <a:lnTo>
                  <a:pt x="7" y="293"/>
                </a:lnTo>
                <a:lnTo>
                  <a:pt x="7" y="293"/>
                </a:lnTo>
                <a:lnTo>
                  <a:pt x="4" y="281"/>
                </a:lnTo>
                <a:lnTo>
                  <a:pt x="2" y="269"/>
                </a:lnTo>
                <a:lnTo>
                  <a:pt x="1" y="257"/>
                </a:lnTo>
                <a:lnTo>
                  <a:pt x="0" y="245"/>
                </a:lnTo>
                <a:lnTo>
                  <a:pt x="0" y="245"/>
                </a:lnTo>
                <a:lnTo>
                  <a:pt x="1" y="229"/>
                </a:lnTo>
                <a:lnTo>
                  <a:pt x="3" y="213"/>
                </a:lnTo>
                <a:lnTo>
                  <a:pt x="6" y="198"/>
                </a:lnTo>
                <a:lnTo>
                  <a:pt x="11" y="184"/>
                </a:lnTo>
                <a:lnTo>
                  <a:pt x="11" y="184"/>
                </a:lnTo>
                <a:lnTo>
                  <a:pt x="17" y="170"/>
                </a:lnTo>
                <a:lnTo>
                  <a:pt x="24" y="157"/>
                </a:lnTo>
                <a:lnTo>
                  <a:pt x="33" y="145"/>
                </a:lnTo>
                <a:lnTo>
                  <a:pt x="42" y="134"/>
                </a:lnTo>
                <a:lnTo>
                  <a:pt x="42" y="134"/>
                </a:lnTo>
                <a:lnTo>
                  <a:pt x="54" y="124"/>
                </a:lnTo>
                <a:lnTo>
                  <a:pt x="65" y="115"/>
                </a:lnTo>
                <a:lnTo>
                  <a:pt x="78" y="106"/>
                </a:lnTo>
                <a:lnTo>
                  <a:pt x="91" y="99"/>
                </a:lnTo>
                <a:lnTo>
                  <a:pt x="91" y="99"/>
                </a:lnTo>
                <a:lnTo>
                  <a:pt x="106" y="92"/>
                </a:lnTo>
                <a:lnTo>
                  <a:pt x="122" y="86"/>
                </a:lnTo>
                <a:lnTo>
                  <a:pt x="138" y="82"/>
                </a:lnTo>
                <a:lnTo>
                  <a:pt x="156" y="78"/>
                </a:lnTo>
                <a:lnTo>
                  <a:pt x="156" y="0"/>
                </a:lnTo>
                <a:lnTo>
                  <a:pt x="249" y="0"/>
                </a:lnTo>
                <a:lnTo>
                  <a:pt x="249" y="74"/>
                </a:lnTo>
                <a:lnTo>
                  <a:pt x="249" y="74"/>
                </a:lnTo>
                <a:lnTo>
                  <a:pt x="283" y="77"/>
                </a:lnTo>
                <a:lnTo>
                  <a:pt x="314" y="81"/>
                </a:lnTo>
                <a:lnTo>
                  <a:pt x="314" y="81"/>
                </a:lnTo>
                <a:lnTo>
                  <a:pt x="340" y="86"/>
                </a:lnTo>
                <a:lnTo>
                  <a:pt x="362" y="92"/>
                </a:lnTo>
                <a:lnTo>
                  <a:pt x="362" y="236"/>
                </a:lnTo>
                <a:lnTo>
                  <a:pt x="362" y="236"/>
                </a:lnTo>
                <a:lnTo>
                  <a:pt x="349" y="229"/>
                </a:lnTo>
                <a:lnTo>
                  <a:pt x="335" y="221"/>
                </a:lnTo>
                <a:lnTo>
                  <a:pt x="335" y="221"/>
                </a:lnTo>
                <a:lnTo>
                  <a:pt x="318" y="214"/>
                </a:lnTo>
                <a:lnTo>
                  <a:pt x="300" y="208"/>
                </a:lnTo>
                <a:lnTo>
                  <a:pt x="300" y="208"/>
                </a:lnTo>
                <a:lnTo>
                  <a:pt x="281" y="202"/>
                </a:lnTo>
                <a:lnTo>
                  <a:pt x="261" y="198"/>
                </a:lnTo>
                <a:lnTo>
                  <a:pt x="261" y="198"/>
                </a:lnTo>
                <a:lnTo>
                  <a:pt x="240" y="195"/>
                </a:lnTo>
                <a:lnTo>
                  <a:pt x="219" y="194"/>
                </a:lnTo>
                <a:lnTo>
                  <a:pt x="219" y="194"/>
                </a:lnTo>
                <a:lnTo>
                  <a:pt x="208" y="195"/>
                </a:lnTo>
                <a:lnTo>
                  <a:pt x="198" y="197"/>
                </a:lnTo>
                <a:lnTo>
                  <a:pt x="198" y="197"/>
                </a:lnTo>
                <a:lnTo>
                  <a:pt x="190" y="200"/>
                </a:lnTo>
                <a:lnTo>
                  <a:pt x="183" y="205"/>
                </a:lnTo>
                <a:lnTo>
                  <a:pt x="183" y="205"/>
                </a:lnTo>
                <a:lnTo>
                  <a:pt x="178" y="210"/>
                </a:lnTo>
                <a:lnTo>
                  <a:pt x="174" y="216"/>
                </a:lnTo>
                <a:lnTo>
                  <a:pt x="174" y="216"/>
                </a:lnTo>
                <a:lnTo>
                  <a:pt x="172" y="223"/>
                </a:lnTo>
                <a:lnTo>
                  <a:pt x="171" y="229"/>
                </a:lnTo>
                <a:lnTo>
                  <a:pt x="171" y="229"/>
                </a:lnTo>
                <a:lnTo>
                  <a:pt x="171" y="236"/>
                </a:lnTo>
                <a:lnTo>
                  <a:pt x="173" y="242"/>
                </a:lnTo>
                <a:lnTo>
                  <a:pt x="173" y="242"/>
                </a:lnTo>
                <a:lnTo>
                  <a:pt x="176" y="249"/>
                </a:lnTo>
                <a:lnTo>
                  <a:pt x="181" y="256"/>
                </a:lnTo>
                <a:lnTo>
                  <a:pt x="181" y="256"/>
                </a:lnTo>
                <a:lnTo>
                  <a:pt x="190" y="263"/>
                </a:lnTo>
                <a:lnTo>
                  <a:pt x="201" y="271"/>
                </a:lnTo>
                <a:lnTo>
                  <a:pt x="201" y="271"/>
                </a:lnTo>
                <a:lnTo>
                  <a:pt x="217" y="280"/>
                </a:lnTo>
                <a:lnTo>
                  <a:pt x="239" y="289"/>
                </a:lnTo>
                <a:lnTo>
                  <a:pt x="239" y="289"/>
                </a:lnTo>
                <a:lnTo>
                  <a:pt x="259" y="298"/>
                </a:lnTo>
                <a:lnTo>
                  <a:pt x="278" y="307"/>
                </a:lnTo>
                <a:lnTo>
                  <a:pt x="295" y="316"/>
                </a:lnTo>
                <a:lnTo>
                  <a:pt x="310" y="325"/>
                </a:lnTo>
                <a:lnTo>
                  <a:pt x="310" y="325"/>
                </a:lnTo>
                <a:lnTo>
                  <a:pt x="324" y="335"/>
                </a:lnTo>
                <a:lnTo>
                  <a:pt x="336" y="345"/>
                </a:lnTo>
                <a:lnTo>
                  <a:pt x="347" y="355"/>
                </a:lnTo>
                <a:lnTo>
                  <a:pt x="356" y="366"/>
                </a:lnTo>
                <a:lnTo>
                  <a:pt x="356" y="366"/>
                </a:lnTo>
                <a:lnTo>
                  <a:pt x="364" y="376"/>
                </a:lnTo>
                <a:lnTo>
                  <a:pt x="371" y="387"/>
                </a:lnTo>
                <a:lnTo>
                  <a:pt x="377" y="400"/>
                </a:lnTo>
                <a:lnTo>
                  <a:pt x="381" y="411"/>
                </a:lnTo>
                <a:lnTo>
                  <a:pt x="381" y="411"/>
                </a:lnTo>
                <a:lnTo>
                  <a:pt x="385" y="423"/>
                </a:lnTo>
                <a:lnTo>
                  <a:pt x="387" y="435"/>
                </a:lnTo>
                <a:lnTo>
                  <a:pt x="389" y="447"/>
                </a:lnTo>
                <a:lnTo>
                  <a:pt x="389" y="460"/>
                </a:lnTo>
              </a:path>
            </a:pathLst>
          </a:custGeom>
          <a:solidFill>
            <a:srgbClr val="96C414"/>
          </a:solidFill>
          <a:ln>
            <a:noFill/>
          </a:ln>
        </p:spPr>
        <p:txBody>
          <a:bodyPr vert="horz" wrap="square" lIns="93260" tIns="46630" rIns="93260" bIns="46630" numCol="1" anchor="t" anchorCtr="0" compatLnSpc="1">
            <a:prstTxWarp prst="textNoShape">
              <a:avLst/>
            </a:prstTxWarp>
          </a:bodyPr>
          <a:lstStyle/>
          <a:p>
            <a:pPr defTabSz="932597"/>
            <a:endParaRPr lang="en-US" sz="3200" kern="0">
              <a:solidFill>
                <a:sysClr val="windowText" lastClr="000000"/>
              </a:solidFill>
            </a:endParaRPr>
          </a:p>
        </p:txBody>
      </p:sp>
      <p:grpSp>
        <p:nvGrpSpPr>
          <p:cNvPr id="147" name="Group 146"/>
          <p:cNvGrpSpPr>
            <a:grpSpLocks noChangeAspect="1"/>
          </p:cNvGrpSpPr>
          <p:nvPr/>
        </p:nvGrpSpPr>
        <p:grpSpPr>
          <a:xfrm>
            <a:off x="10273444" y="4745483"/>
            <a:ext cx="962987" cy="740484"/>
            <a:chOff x="3145058" y="2472773"/>
            <a:chExt cx="6623555" cy="5093156"/>
          </a:xfrm>
        </p:grpSpPr>
        <p:sp>
          <p:nvSpPr>
            <p:cNvPr id="148" name="Freeform 79"/>
            <p:cNvSpPr/>
            <p:nvPr/>
          </p:nvSpPr>
          <p:spPr bwMode="auto">
            <a:xfrm>
              <a:off x="3145058" y="5893413"/>
              <a:ext cx="4112250" cy="1672516"/>
            </a:xfrm>
            <a:custGeom>
              <a:avLst/>
              <a:gdLst>
                <a:gd name="connsiteX0" fmla="*/ 0 w 1468550"/>
                <a:gd name="connsiteY0" fmla="*/ 448125 h 597283"/>
                <a:gd name="connsiteX1" fmla="*/ 0 w 1468550"/>
                <a:gd name="connsiteY1" fmla="*/ 448126 h 597283"/>
                <a:gd name="connsiteX2" fmla="*/ 0 w 1468550"/>
                <a:gd name="connsiteY2" fmla="*/ 448126 h 597283"/>
                <a:gd name="connsiteX3" fmla="*/ 773481 w 1468550"/>
                <a:gd name="connsiteY3" fmla="*/ 0 h 597283"/>
                <a:gd name="connsiteX4" fmla="*/ 1003030 w 1468550"/>
                <a:gd name="connsiteY4" fmla="*/ 138208 h 597283"/>
                <a:gd name="connsiteX5" fmla="*/ 1017781 w 1468550"/>
                <a:gd name="connsiteY5" fmla="*/ 204571 h 597283"/>
                <a:gd name="connsiteX6" fmla="*/ 1029832 w 1468550"/>
                <a:gd name="connsiteY6" fmla="*/ 188335 h 597283"/>
                <a:gd name="connsiteX7" fmla="*/ 1175952 w 1468550"/>
                <a:gd name="connsiteY7" fmla="*/ 133358 h 597283"/>
                <a:gd name="connsiteX8" fmla="*/ 1382597 w 1468550"/>
                <a:gd name="connsiteY8" fmla="*/ 321061 h 597283"/>
                <a:gd name="connsiteX9" fmla="*/ 1369815 w 1468550"/>
                <a:gd name="connsiteY9" fmla="*/ 378570 h 597283"/>
                <a:gd name="connsiteX10" fmla="*/ 1401032 w 1468550"/>
                <a:gd name="connsiteY10" fmla="*/ 384873 h 597283"/>
                <a:gd name="connsiteX11" fmla="*/ 1468550 w 1468550"/>
                <a:gd name="connsiteY11" fmla="*/ 486734 h 597283"/>
                <a:gd name="connsiteX12" fmla="*/ 1468549 w 1468550"/>
                <a:gd name="connsiteY12" fmla="*/ 486734 h 597283"/>
                <a:gd name="connsiteX13" fmla="*/ 1358000 w 1468550"/>
                <a:gd name="connsiteY13" fmla="*/ 597283 h 597283"/>
                <a:gd name="connsiteX14" fmla="*/ 905132 w 1468550"/>
                <a:gd name="connsiteY14" fmla="*/ 597283 h 597283"/>
                <a:gd name="connsiteX15" fmla="*/ 905130 w 1468550"/>
                <a:gd name="connsiteY15" fmla="*/ 597283 h 597283"/>
                <a:gd name="connsiteX16" fmla="*/ 149157 w 1468550"/>
                <a:gd name="connsiteY16" fmla="*/ 597282 h 597283"/>
                <a:gd name="connsiteX17" fmla="*/ 11722 w 1468550"/>
                <a:gd name="connsiteY17" fmla="*/ 506184 h 597283"/>
                <a:gd name="connsiteX18" fmla="*/ 0 w 1468550"/>
                <a:gd name="connsiteY18" fmla="*/ 448126 h 597283"/>
                <a:gd name="connsiteX19" fmla="*/ 11722 w 1468550"/>
                <a:gd name="connsiteY19" fmla="*/ 390068 h 597283"/>
                <a:gd name="connsiteX20" fmla="*/ 149157 w 1468550"/>
                <a:gd name="connsiteY20" fmla="*/ 298969 h 597283"/>
                <a:gd name="connsiteX21" fmla="*/ 201670 w 1468550"/>
                <a:gd name="connsiteY21" fmla="*/ 298969 h 597283"/>
                <a:gd name="connsiteX22" fmla="*/ 210775 w 1468550"/>
                <a:gd name="connsiteY22" fmla="*/ 258005 h 597283"/>
                <a:gd name="connsiteX23" fmla="*/ 383494 w 1468550"/>
                <a:gd name="connsiteY23" fmla="*/ 154013 h 597283"/>
                <a:gd name="connsiteX24" fmla="*/ 516041 w 1468550"/>
                <a:gd name="connsiteY24" fmla="*/ 203883 h 597283"/>
                <a:gd name="connsiteX25" fmla="*/ 526271 w 1468550"/>
                <a:gd name="connsiteY25" fmla="*/ 217665 h 597283"/>
                <a:gd name="connsiteX26" fmla="*/ 543932 w 1468550"/>
                <a:gd name="connsiteY26" fmla="*/ 138208 h 597283"/>
                <a:gd name="connsiteX27" fmla="*/ 773481 w 1468550"/>
                <a:gd name="connsiteY27" fmla="*/ 0 h 59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68550" h="597283">
                  <a:moveTo>
                    <a:pt x="0" y="448125"/>
                  </a:moveTo>
                  <a:lnTo>
                    <a:pt x="0" y="448126"/>
                  </a:lnTo>
                  <a:lnTo>
                    <a:pt x="0" y="448126"/>
                  </a:lnTo>
                  <a:close/>
                  <a:moveTo>
                    <a:pt x="773481" y="0"/>
                  </a:moveTo>
                  <a:cubicBezTo>
                    <a:pt x="876673" y="0"/>
                    <a:pt x="965211" y="56988"/>
                    <a:pt x="1003030" y="138208"/>
                  </a:cubicBezTo>
                  <a:lnTo>
                    <a:pt x="1017781" y="204571"/>
                  </a:lnTo>
                  <a:lnTo>
                    <a:pt x="1029832" y="188335"/>
                  </a:lnTo>
                  <a:cubicBezTo>
                    <a:pt x="1067227" y="154368"/>
                    <a:pt x="1118888" y="133358"/>
                    <a:pt x="1175952" y="133358"/>
                  </a:cubicBezTo>
                  <a:cubicBezTo>
                    <a:pt x="1290079" y="133358"/>
                    <a:pt x="1382597" y="217395"/>
                    <a:pt x="1382597" y="321061"/>
                  </a:cubicBezTo>
                  <a:lnTo>
                    <a:pt x="1369815" y="378570"/>
                  </a:lnTo>
                  <a:lnTo>
                    <a:pt x="1401032" y="384873"/>
                  </a:lnTo>
                  <a:cubicBezTo>
                    <a:pt x="1440710" y="401655"/>
                    <a:pt x="1468550" y="440943"/>
                    <a:pt x="1468550" y="486734"/>
                  </a:cubicBezTo>
                  <a:lnTo>
                    <a:pt x="1468549" y="486734"/>
                  </a:lnTo>
                  <a:cubicBezTo>
                    <a:pt x="1468549" y="547789"/>
                    <a:pt x="1419055" y="597283"/>
                    <a:pt x="1358000" y="597283"/>
                  </a:cubicBezTo>
                  <a:lnTo>
                    <a:pt x="905132" y="597283"/>
                  </a:lnTo>
                  <a:lnTo>
                    <a:pt x="905130" y="597283"/>
                  </a:lnTo>
                  <a:lnTo>
                    <a:pt x="149157" y="597282"/>
                  </a:lnTo>
                  <a:cubicBezTo>
                    <a:pt x="87374" y="597282"/>
                    <a:pt x="34365" y="559719"/>
                    <a:pt x="11722" y="506184"/>
                  </a:cubicBezTo>
                  <a:lnTo>
                    <a:pt x="0" y="448126"/>
                  </a:lnTo>
                  <a:lnTo>
                    <a:pt x="11722" y="390068"/>
                  </a:lnTo>
                  <a:cubicBezTo>
                    <a:pt x="34365" y="336533"/>
                    <a:pt x="87374" y="298969"/>
                    <a:pt x="149157" y="298969"/>
                  </a:cubicBezTo>
                  <a:lnTo>
                    <a:pt x="201670" y="298969"/>
                  </a:lnTo>
                  <a:lnTo>
                    <a:pt x="210775" y="258005"/>
                  </a:lnTo>
                  <a:cubicBezTo>
                    <a:pt x="239231" y="196893"/>
                    <a:pt x="305850" y="154013"/>
                    <a:pt x="383494" y="154013"/>
                  </a:cubicBezTo>
                  <a:cubicBezTo>
                    <a:pt x="435257" y="154013"/>
                    <a:pt x="482120" y="173071"/>
                    <a:pt x="516041" y="203883"/>
                  </a:cubicBezTo>
                  <a:lnTo>
                    <a:pt x="526271" y="217665"/>
                  </a:lnTo>
                  <a:lnTo>
                    <a:pt x="543932" y="138208"/>
                  </a:lnTo>
                  <a:cubicBezTo>
                    <a:pt x="581751" y="56988"/>
                    <a:pt x="670289" y="0"/>
                    <a:pt x="773481" y="0"/>
                  </a:cubicBezTo>
                  <a:close/>
                </a:path>
              </a:pathLst>
            </a:custGeom>
            <a:solidFill>
              <a:srgbClr val="B9E1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49" name="Group 148"/>
            <p:cNvGrpSpPr/>
            <p:nvPr/>
          </p:nvGrpSpPr>
          <p:grpSpPr>
            <a:xfrm>
              <a:off x="5444037" y="2872599"/>
              <a:ext cx="3352943" cy="4599211"/>
              <a:chOff x="3272545" y="1925655"/>
              <a:chExt cx="1867915" cy="2562207"/>
            </a:xfrm>
          </p:grpSpPr>
          <p:grpSp>
            <p:nvGrpSpPr>
              <p:cNvPr id="152" name="Group 151"/>
              <p:cNvGrpSpPr/>
              <p:nvPr/>
            </p:nvGrpSpPr>
            <p:grpSpPr>
              <a:xfrm>
                <a:off x="3272545" y="1925655"/>
                <a:ext cx="1867915" cy="2562207"/>
                <a:chOff x="5476964" y="2122039"/>
                <a:chExt cx="892555" cy="1224312"/>
              </a:xfrm>
            </p:grpSpPr>
            <p:sp>
              <p:nvSpPr>
                <p:cNvPr id="159" name="Freeform 90"/>
                <p:cNvSpPr/>
                <p:nvPr/>
              </p:nvSpPr>
              <p:spPr bwMode="auto">
                <a:xfrm>
                  <a:off x="5476964" y="2122039"/>
                  <a:ext cx="892555" cy="1224312"/>
                </a:xfrm>
                <a:custGeom>
                  <a:avLst/>
                  <a:gdLst>
                    <a:gd name="connsiteX0" fmla="*/ 0 w 257175"/>
                    <a:gd name="connsiteY0" fmla="*/ 46038 h 361950"/>
                    <a:gd name="connsiteX1" fmla="*/ 0 w 257175"/>
                    <a:gd name="connsiteY1" fmla="*/ 225425 h 361950"/>
                    <a:gd name="connsiteX2" fmla="*/ 120650 w 257175"/>
                    <a:gd name="connsiteY2" fmla="*/ 361950 h 361950"/>
                    <a:gd name="connsiteX3" fmla="*/ 257175 w 257175"/>
                    <a:gd name="connsiteY3" fmla="*/ 225425 h 361950"/>
                    <a:gd name="connsiteX4" fmla="*/ 257175 w 257175"/>
                    <a:gd name="connsiteY4" fmla="*/ 44450 h 361950"/>
                    <a:gd name="connsiteX5" fmla="*/ 127000 w 257175"/>
                    <a:gd name="connsiteY5" fmla="*/ 0 h 361950"/>
                    <a:gd name="connsiteX6" fmla="*/ 0 w 257175"/>
                    <a:gd name="connsiteY6" fmla="*/ 46038 h 361950"/>
                    <a:gd name="connsiteX0" fmla="*/ 0 w 257175"/>
                    <a:gd name="connsiteY0" fmla="*/ 46038 h 361950"/>
                    <a:gd name="connsiteX1" fmla="*/ 0 w 257175"/>
                    <a:gd name="connsiteY1" fmla="*/ 225425 h 361950"/>
                    <a:gd name="connsiteX2" fmla="*/ 120650 w 257175"/>
                    <a:gd name="connsiteY2" fmla="*/ 361950 h 361950"/>
                    <a:gd name="connsiteX3" fmla="*/ 257175 w 257175"/>
                    <a:gd name="connsiteY3" fmla="*/ 225425 h 361950"/>
                    <a:gd name="connsiteX4" fmla="*/ 257175 w 257175"/>
                    <a:gd name="connsiteY4" fmla="*/ 44450 h 361950"/>
                    <a:gd name="connsiteX5" fmla="*/ 129442 w 257175"/>
                    <a:gd name="connsiteY5" fmla="*/ 0 h 361950"/>
                    <a:gd name="connsiteX6" fmla="*/ 0 w 257175"/>
                    <a:gd name="connsiteY6" fmla="*/ 46038 h 361950"/>
                    <a:gd name="connsiteX0" fmla="*/ 0 w 261570"/>
                    <a:gd name="connsiteY0" fmla="*/ 46038 h 361950"/>
                    <a:gd name="connsiteX1" fmla="*/ 0 w 261570"/>
                    <a:gd name="connsiteY1" fmla="*/ 225425 h 361950"/>
                    <a:gd name="connsiteX2" fmla="*/ 120650 w 261570"/>
                    <a:gd name="connsiteY2" fmla="*/ 361950 h 361950"/>
                    <a:gd name="connsiteX3" fmla="*/ 257175 w 261570"/>
                    <a:gd name="connsiteY3" fmla="*/ 225425 h 361950"/>
                    <a:gd name="connsiteX4" fmla="*/ 261570 w 261570"/>
                    <a:gd name="connsiteY4" fmla="*/ 50799 h 361950"/>
                    <a:gd name="connsiteX5" fmla="*/ 129442 w 261570"/>
                    <a:gd name="connsiteY5" fmla="*/ 0 h 361950"/>
                    <a:gd name="connsiteX6" fmla="*/ 0 w 261570"/>
                    <a:gd name="connsiteY6" fmla="*/ 46038 h 361950"/>
                    <a:gd name="connsiteX0" fmla="*/ 0 w 263035"/>
                    <a:gd name="connsiteY0" fmla="*/ 49945 h 361950"/>
                    <a:gd name="connsiteX1" fmla="*/ 1465 w 263035"/>
                    <a:gd name="connsiteY1" fmla="*/ 225425 h 361950"/>
                    <a:gd name="connsiteX2" fmla="*/ 122115 w 263035"/>
                    <a:gd name="connsiteY2" fmla="*/ 361950 h 361950"/>
                    <a:gd name="connsiteX3" fmla="*/ 258640 w 263035"/>
                    <a:gd name="connsiteY3" fmla="*/ 225425 h 361950"/>
                    <a:gd name="connsiteX4" fmla="*/ 263035 w 263035"/>
                    <a:gd name="connsiteY4" fmla="*/ 50799 h 361950"/>
                    <a:gd name="connsiteX5" fmla="*/ 130907 w 263035"/>
                    <a:gd name="connsiteY5" fmla="*/ 0 h 361950"/>
                    <a:gd name="connsiteX6" fmla="*/ 0 w 263035"/>
                    <a:gd name="connsiteY6" fmla="*/ 49945 h 361950"/>
                    <a:gd name="connsiteX0" fmla="*/ 140 w 263175"/>
                    <a:gd name="connsiteY0" fmla="*/ 49945 h 361950"/>
                    <a:gd name="connsiteX1" fmla="*/ 140 w 263175"/>
                    <a:gd name="connsiteY1" fmla="*/ 231774 h 361950"/>
                    <a:gd name="connsiteX2" fmla="*/ 122255 w 263175"/>
                    <a:gd name="connsiteY2" fmla="*/ 361950 h 361950"/>
                    <a:gd name="connsiteX3" fmla="*/ 258780 w 263175"/>
                    <a:gd name="connsiteY3" fmla="*/ 225425 h 361950"/>
                    <a:gd name="connsiteX4" fmla="*/ 263175 w 263175"/>
                    <a:gd name="connsiteY4" fmla="*/ 50799 h 361950"/>
                    <a:gd name="connsiteX5" fmla="*/ 131047 w 263175"/>
                    <a:gd name="connsiteY5" fmla="*/ 0 h 361950"/>
                    <a:gd name="connsiteX6" fmla="*/ 140 w 263175"/>
                    <a:gd name="connsiteY6" fmla="*/ 49945 h 361950"/>
                    <a:gd name="connsiteX0" fmla="*/ 140 w 263175"/>
                    <a:gd name="connsiteY0" fmla="*/ 49945 h 361950"/>
                    <a:gd name="connsiteX1" fmla="*/ 140 w 263175"/>
                    <a:gd name="connsiteY1" fmla="*/ 231774 h 361950"/>
                    <a:gd name="connsiteX2" fmla="*/ 122255 w 263175"/>
                    <a:gd name="connsiteY2" fmla="*/ 361950 h 361950"/>
                    <a:gd name="connsiteX3" fmla="*/ 263175 w 263175"/>
                    <a:gd name="connsiteY3" fmla="*/ 231774 h 361950"/>
                    <a:gd name="connsiteX4" fmla="*/ 263175 w 263175"/>
                    <a:gd name="connsiteY4" fmla="*/ 50799 h 361950"/>
                    <a:gd name="connsiteX5" fmla="*/ 131047 w 263175"/>
                    <a:gd name="connsiteY5" fmla="*/ 0 h 361950"/>
                    <a:gd name="connsiteX6" fmla="*/ 140 w 263175"/>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4880"/>
                    <a:gd name="connsiteX1" fmla="*/ 42 w 266007"/>
                    <a:gd name="connsiteY1" fmla="*/ 231774 h 364880"/>
                    <a:gd name="connsiteX2" fmla="*/ 132413 w 266007"/>
                    <a:gd name="connsiteY2" fmla="*/ 364880 h 364880"/>
                    <a:gd name="connsiteX3" fmla="*/ 266007 w 266007"/>
                    <a:gd name="connsiteY3" fmla="*/ 231774 h 364880"/>
                    <a:gd name="connsiteX4" fmla="*/ 266007 w 266007"/>
                    <a:gd name="connsiteY4" fmla="*/ 50799 h 364880"/>
                    <a:gd name="connsiteX5" fmla="*/ 133879 w 266007"/>
                    <a:gd name="connsiteY5" fmla="*/ 0 h 364880"/>
                    <a:gd name="connsiteX6" fmla="*/ 2972 w 266007"/>
                    <a:gd name="connsiteY6" fmla="*/ 49945 h 364880"/>
                    <a:gd name="connsiteX0" fmla="*/ 2972 w 266007"/>
                    <a:gd name="connsiteY0" fmla="*/ 49945 h 364880"/>
                    <a:gd name="connsiteX1" fmla="*/ 42 w 266007"/>
                    <a:gd name="connsiteY1" fmla="*/ 231774 h 364880"/>
                    <a:gd name="connsiteX2" fmla="*/ 132413 w 266007"/>
                    <a:gd name="connsiteY2" fmla="*/ 364880 h 364880"/>
                    <a:gd name="connsiteX3" fmla="*/ 266007 w 266007"/>
                    <a:gd name="connsiteY3" fmla="*/ 231774 h 364880"/>
                    <a:gd name="connsiteX4" fmla="*/ 266007 w 266007"/>
                    <a:gd name="connsiteY4" fmla="*/ 50799 h 364880"/>
                    <a:gd name="connsiteX5" fmla="*/ 133879 w 266007"/>
                    <a:gd name="connsiteY5" fmla="*/ 0 h 364880"/>
                    <a:gd name="connsiteX6" fmla="*/ 2972 w 266007"/>
                    <a:gd name="connsiteY6" fmla="*/ 49945 h 364880"/>
                    <a:gd name="connsiteX0" fmla="*/ 2972 w 266007"/>
                    <a:gd name="connsiteY0" fmla="*/ 49945 h 364880"/>
                    <a:gd name="connsiteX1" fmla="*/ 42 w 266007"/>
                    <a:gd name="connsiteY1" fmla="*/ 231774 h 364880"/>
                    <a:gd name="connsiteX2" fmla="*/ 132413 w 266007"/>
                    <a:gd name="connsiteY2" fmla="*/ 364880 h 364880"/>
                    <a:gd name="connsiteX3" fmla="*/ 266007 w 266007"/>
                    <a:gd name="connsiteY3" fmla="*/ 231774 h 364880"/>
                    <a:gd name="connsiteX4" fmla="*/ 266007 w 266007"/>
                    <a:gd name="connsiteY4" fmla="*/ 50799 h 364880"/>
                    <a:gd name="connsiteX5" fmla="*/ 133879 w 266007"/>
                    <a:gd name="connsiteY5" fmla="*/ 0 h 364880"/>
                    <a:gd name="connsiteX6" fmla="*/ 2972 w 266007"/>
                    <a:gd name="connsiteY6" fmla="*/ 49945 h 364880"/>
                    <a:gd name="connsiteX0" fmla="*/ 2972 w 266007"/>
                    <a:gd name="connsiteY0" fmla="*/ 49945 h 364880"/>
                    <a:gd name="connsiteX1" fmla="*/ 42 w 266007"/>
                    <a:gd name="connsiteY1" fmla="*/ 231774 h 364880"/>
                    <a:gd name="connsiteX2" fmla="*/ 132413 w 266007"/>
                    <a:gd name="connsiteY2" fmla="*/ 364880 h 364880"/>
                    <a:gd name="connsiteX3" fmla="*/ 266007 w 266007"/>
                    <a:gd name="connsiteY3" fmla="*/ 231774 h 364880"/>
                    <a:gd name="connsiteX4" fmla="*/ 266007 w 266007"/>
                    <a:gd name="connsiteY4" fmla="*/ 50799 h 364880"/>
                    <a:gd name="connsiteX5" fmla="*/ 133879 w 266007"/>
                    <a:gd name="connsiteY5" fmla="*/ 0 h 364880"/>
                    <a:gd name="connsiteX6" fmla="*/ 2972 w 266007"/>
                    <a:gd name="connsiteY6" fmla="*/ 49945 h 364880"/>
                    <a:gd name="connsiteX0" fmla="*/ 2972 w 266007"/>
                    <a:gd name="connsiteY0" fmla="*/ 49945 h 364880"/>
                    <a:gd name="connsiteX1" fmla="*/ 42 w 266007"/>
                    <a:gd name="connsiteY1" fmla="*/ 231774 h 364880"/>
                    <a:gd name="connsiteX2" fmla="*/ 132413 w 266007"/>
                    <a:gd name="connsiteY2" fmla="*/ 364880 h 364880"/>
                    <a:gd name="connsiteX3" fmla="*/ 266007 w 266007"/>
                    <a:gd name="connsiteY3" fmla="*/ 231774 h 364880"/>
                    <a:gd name="connsiteX4" fmla="*/ 266007 w 266007"/>
                    <a:gd name="connsiteY4" fmla="*/ 50799 h 364880"/>
                    <a:gd name="connsiteX5" fmla="*/ 133879 w 266007"/>
                    <a:gd name="connsiteY5" fmla="*/ 0 h 364880"/>
                    <a:gd name="connsiteX6" fmla="*/ 2972 w 266007"/>
                    <a:gd name="connsiteY6" fmla="*/ 49945 h 36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007" h="364880">
                      <a:moveTo>
                        <a:pt x="2972" y="49945"/>
                      </a:moveTo>
                      <a:cubicBezTo>
                        <a:pt x="3460" y="108438"/>
                        <a:pt x="-446" y="173281"/>
                        <a:pt x="42" y="231774"/>
                      </a:cubicBezTo>
                      <a:cubicBezTo>
                        <a:pt x="12421" y="304957"/>
                        <a:pt x="83893" y="334674"/>
                        <a:pt x="132413" y="364880"/>
                      </a:cubicBezTo>
                      <a:cubicBezTo>
                        <a:pt x="182316" y="338581"/>
                        <a:pt x="262500" y="303004"/>
                        <a:pt x="266007" y="231774"/>
                      </a:cubicBezTo>
                      <a:lnTo>
                        <a:pt x="266007" y="50799"/>
                      </a:lnTo>
                      <a:cubicBezTo>
                        <a:pt x="216104" y="48029"/>
                        <a:pt x="152038" y="39399"/>
                        <a:pt x="133879" y="0"/>
                      </a:cubicBezTo>
                      <a:cubicBezTo>
                        <a:pt x="108802" y="53276"/>
                        <a:pt x="46608" y="45995"/>
                        <a:pt x="2972" y="49945"/>
                      </a:cubicBezTo>
                      <a:close/>
                    </a:path>
                  </a:pathLst>
                </a:custGeom>
                <a:solidFill>
                  <a:srgbClr val="96C41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0" name="Freeform 91"/>
                <p:cNvSpPr/>
                <p:nvPr/>
              </p:nvSpPr>
              <p:spPr bwMode="auto">
                <a:xfrm>
                  <a:off x="5578731" y="2282569"/>
                  <a:ext cx="790786" cy="1063782"/>
                </a:xfrm>
                <a:custGeom>
                  <a:avLst/>
                  <a:gdLst>
                    <a:gd name="connsiteX0" fmla="*/ 681875 w 790786"/>
                    <a:gd name="connsiteY0" fmla="*/ 0 h 1063782"/>
                    <a:gd name="connsiteX1" fmla="*/ 790786 w 790786"/>
                    <a:gd name="connsiteY1" fmla="*/ 9920 h 1063782"/>
                    <a:gd name="connsiteX2" fmla="*/ 790786 w 790786"/>
                    <a:gd name="connsiteY2" fmla="*/ 617161 h 1063782"/>
                    <a:gd name="connsiteX3" fmla="*/ 342527 w 790786"/>
                    <a:gd name="connsiteY3" fmla="*/ 1063782 h 1063782"/>
                    <a:gd name="connsiteX4" fmla="*/ 14232 w 790786"/>
                    <a:gd name="connsiteY4" fmla="*/ 839661 h 1063782"/>
                    <a:gd name="connsiteX5" fmla="*/ 0 w 790786"/>
                    <a:gd name="connsiteY5" fmla="*/ 822260 h 106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0786" h="1063782">
                      <a:moveTo>
                        <a:pt x="681875" y="0"/>
                      </a:moveTo>
                      <a:lnTo>
                        <a:pt x="790786" y="9920"/>
                      </a:lnTo>
                      <a:lnTo>
                        <a:pt x="790786" y="617161"/>
                      </a:lnTo>
                      <a:cubicBezTo>
                        <a:pt x="779019" y="856165"/>
                        <a:pt x="509971" y="975539"/>
                        <a:pt x="342527" y="1063782"/>
                      </a:cubicBezTo>
                      <a:cubicBezTo>
                        <a:pt x="240775" y="1000437"/>
                        <a:pt x="108940" y="937732"/>
                        <a:pt x="14232" y="839661"/>
                      </a:cubicBezTo>
                      <a:lnTo>
                        <a:pt x="0" y="82226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3" name="Group 152"/>
              <p:cNvGrpSpPr/>
              <p:nvPr/>
            </p:nvGrpSpPr>
            <p:grpSpPr>
              <a:xfrm>
                <a:off x="3723378" y="2524395"/>
                <a:ext cx="908772" cy="1458428"/>
                <a:chOff x="3723378" y="2524395"/>
                <a:chExt cx="908772" cy="1458428"/>
              </a:xfrm>
            </p:grpSpPr>
            <p:grpSp>
              <p:nvGrpSpPr>
                <p:cNvPr id="154" name="Group 153"/>
                <p:cNvGrpSpPr/>
                <p:nvPr/>
              </p:nvGrpSpPr>
              <p:grpSpPr>
                <a:xfrm>
                  <a:off x="3723378" y="2524395"/>
                  <a:ext cx="908772" cy="1458428"/>
                  <a:chOff x="3723378" y="2524395"/>
                  <a:chExt cx="908772" cy="1458428"/>
                </a:xfrm>
              </p:grpSpPr>
              <p:sp>
                <p:nvSpPr>
                  <p:cNvPr id="156" name="Freeform 87"/>
                  <p:cNvSpPr/>
                  <p:nvPr/>
                </p:nvSpPr>
                <p:spPr bwMode="auto">
                  <a:xfrm>
                    <a:off x="3723378" y="2524395"/>
                    <a:ext cx="908772" cy="1458428"/>
                  </a:xfrm>
                  <a:custGeom>
                    <a:avLst/>
                    <a:gdLst>
                      <a:gd name="connsiteX0" fmla="*/ 654375 w 1548658"/>
                      <a:gd name="connsiteY0" fmla="*/ 1509032 h 2485337"/>
                      <a:gd name="connsiteX1" fmla="*/ 654375 w 1548658"/>
                      <a:gd name="connsiteY1" fmla="*/ 2261085 h 2485337"/>
                      <a:gd name="connsiteX2" fmla="*/ 725974 w 1548658"/>
                      <a:gd name="connsiteY2" fmla="*/ 2291038 h 2485337"/>
                      <a:gd name="connsiteX3" fmla="*/ 725974 w 1548658"/>
                      <a:gd name="connsiteY3" fmla="*/ 1538985 h 2485337"/>
                      <a:gd name="connsiteX4" fmla="*/ 339969 w 1548658"/>
                      <a:gd name="connsiteY4" fmla="*/ 873861 h 2485337"/>
                      <a:gd name="connsiteX5" fmla="*/ 267378 w 1548658"/>
                      <a:gd name="connsiteY5" fmla="*/ 946452 h 2485337"/>
                      <a:gd name="connsiteX6" fmla="*/ 339969 w 1548658"/>
                      <a:gd name="connsiteY6" fmla="*/ 1019043 h 2485337"/>
                      <a:gd name="connsiteX7" fmla="*/ 1169800 w 1548658"/>
                      <a:gd name="connsiteY7" fmla="*/ 1019043 h 2485337"/>
                      <a:gd name="connsiteX8" fmla="*/ 1242391 w 1548658"/>
                      <a:gd name="connsiteY8" fmla="*/ 946452 h 2485337"/>
                      <a:gd name="connsiteX9" fmla="*/ 1169800 w 1548658"/>
                      <a:gd name="connsiteY9" fmla="*/ 873861 h 2485337"/>
                      <a:gd name="connsiteX10" fmla="*/ 339969 w 1548658"/>
                      <a:gd name="connsiteY10" fmla="*/ 639653 h 2485337"/>
                      <a:gd name="connsiteX11" fmla="*/ 267378 w 1548658"/>
                      <a:gd name="connsiteY11" fmla="*/ 712244 h 2485337"/>
                      <a:gd name="connsiteX12" fmla="*/ 339969 w 1548658"/>
                      <a:gd name="connsiteY12" fmla="*/ 784835 h 2485337"/>
                      <a:gd name="connsiteX13" fmla="*/ 1169800 w 1548658"/>
                      <a:gd name="connsiteY13" fmla="*/ 784835 h 2485337"/>
                      <a:gd name="connsiteX14" fmla="*/ 1242391 w 1548658"/>
                      <a:gd name="connsiteY14" fmla="*/ 712244 h 2485337"/>
                      <a:gd name="connsiteX15" fmla="*/ 1169800 w 1548658"/>
                      <a:gd name="connsiteY15" fmla="*/ 639653 h 2485337"/>
                      <a:gd name="connsiteX16" fmla="*/ 754884 w 1548658"/>
                      <a:gd name="connsiteY16" fmla="*/ 141066 h 2485337"/>
                      <a:gd name="connsiteX17" fmla="*/ 561176 w 1548658"/>
                      <a:gd name="connsiteY17" fmla="*/ 334774 h 2485337"/>
                      <a:gd name="connsiteX18" fmla="*/ 754884 w 1548658"/>
                      <a:gd name="connsiteY18" fmla="*/ 528482 h 2485337"/>
                      <a:gd name="connsiteX19" fmla="*/ 948592 w 1548658"/>
                      <a:gd name="connsiteY19" fmla="*/ 334774 h 2485337"/>
                      <a:gd name="connsiteX20" fmla="*/ 754884 w 1548658"/>
                      <a:gd name="connsiteY20" fmla="*/ 141066 h 2485337"/>
                      <a:gd name="connsiteX21" fmla="*/ 778429 w 1548658"/>
                      <a:gd name="connsiteY21" fmla="*/ 759 h 2485337"/>
                      <a:gd name="connsiteX22" fmla="*/ 971943 w 1548658"/>
                      <a:gd name="connsiteY22" fmla="*/ 86484 h 2485337"/>
                      <a:gd name="connsiteX23" fmla="*/ 1489910 w 1548658"/>
                      <a:gd name="connsiteY23" fmla="*/ 572621 h 2485337"/>
                      <a:gd name="connsiteX24" fmla="*/ 1466761 w 1548658"/>
                      <a:gd name="connsiteY24" fmla="*/ 983521 h 2485337"/>
                      <a:gd name="connsiteX25" fmla="*/ 1029815 w 1548658"/>
                      <a:gd name="connsiteY25" fmla="*/ 1443616 h 2485337"/>
                      <a:gd name="connsiteX26" fmla="*/ 1174500 w 1548658"/>
                      <a:gd name="connsiteY26" fmla="*/ 1588301 h 2485337"/>
                      <a:gd name="connsiteX27" fmla="*/ 1021136 w 1548658"/>
                      <a:gd name="connsiteY27" fmla="*/ 1741665 h 2485337"/>
                      <a:gd name="connsiteX28" fmla="*/ 1160032 w 1548658"/>
                      <a:gd name="connsiteY28" fmla="*/ 1880561 h 2485337"/>
                      <a:gd name="connsiteX29" fmla="*/ 1018242 w 1548658"/>
                      <a:gd name="connsiteY29" fmla="*/ 2022351 h 2485337"/>
                      <a:gd name="connsiteX30" fmla="*/ 1116626 w 1548658"/>
                      <a:gd name="connsiteY30" fmla="*/ 2120735 h 2485337"/>
                      <a:gd name="connsiteX31" fmla="*/ 752024 w 1548658"/>
                      <a:gd name="connsiteY31" fmla="*/ 2485337 h 2485337"/>
                      <a:gd name="connsiteX32" fmla="*/ 520530 w 1548658"/>
                      <a:gd name="connsiteY32" fmla="*/ 2253843 h 2485337"/>
                      <a:gd name="connsiteX33" fmla="*/ 520530 w 1548658"/>
                      <a:gd name="connsiteY33" fmla="*/ 1397317 h 2485337"/>
                      <a:gd name="connsiteX34" fmla="*/ 83586 w 1548658"/>
                      <a:gd name="connsiteY34" fmla="*/ 960373 h 2485337"/>
                      <a:gd name="connsiteX35" fmla="*/ 83586 w 1548658"/>
                      <a:gd name="connsiteY35" fmla="*/ 555259 h 2485337"/>
                      <a:gd name="connsiteX36" fmla="*/ 552361 w 1548658"/>
                      <a:gd name="connsiteY36" fmla="*/ 86484 h 2485337"/>
                      <a:gd name="connsiteX37" fmla="*/ 778429 w 1548658"/>
                      <a:gd name="connsiteY37" fmla="*/ 759 h 2485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48658" h="2485337">
                        <a:moveTo>
                          <a:pt x="654375" y="1509032"/>
                        </a:moveTo>
                        <a:lnTo>
                          <a:pt x="654375" y="2261085"/>
                        </a:lnTo>
                        <a:lnTo>
                          <a:pt x="725974" y="2291038"/>
                        </a:lnTo>
                        <a:lnTo>
                          <a:pt x="725974" y="1538985"/>
                        </a:lnTo>
                        <a:close/>
                        <a:moveTo>
                          <a:pt x="339969" y="873861"/>
                        </a:moveTo>
                        <a:cubicBezTo>
                          <a:pt x="299878" y="873861"/>
                          <a:pt x="267378" y="906361"/>
                          <a:pt x="267378" y="946452"/>
                        </a:cubicBezTo>
                        <a:cubicBezTo>
                          <a:pt x="267378" y="986543"/>
                          <a:pt x="299878" y="1019043"/>
                          <a:pt x="339969" y="1019043"/>
                        </a:cubicBezTo>
                        <a:lnTo>
                          <a:pt x="1169800" y="1019043"/>
                        </a:lnTo>
                        <a:cubicBezTo>
                          <a:pt x="1209891" y="1019043"/>
                          <a:pt x="1242391" y="986543"/>
                          <a:pt x="1242391" y="946452"/>
                        </a:cubicBezTo>
                        <a:cubicBezTo>
                          <a:pt x="1242391" y="906361"/>
                          <a:pt x="1209891" y="873861"/>
                          <a:pt x="1169800" y="873861"/>
                        </a:cubicBezTo>
                        <a:close/>
                        <a:moveTo>
                          <a:pt x="339969" y="639653"/>
                        </a:moveTo>
                        <a:cubicBezTo>
                          <a:pt x="299878" y="639653"/>
                          <a:pt x="267378" y="672153"/>
                          <a:pt x="267378" y="712244"/>
                        </a:cubicBezTo>
                        <a:cubicBezTo>
                          <a:pt x="267378" y="752335"/>
                          <a:pt x="299878" y="784835"/>
                          <a:pt x="339969" y="784835"/>
                        </a:cubicBezTo>
                        <a:lnTo>
                          <a:pt x="1169800" y="784835"/>
                        </a:lnTo>
                        <a:cubicBezTo>
                          <a:pt x="1209891" y="784835"/>
                          <a:pt x="1242391" y="752335"/>
                          <a:pt x="1242391" y="712244"/>
                        </a:cubicBezTo>
                        <a:cubicBezTo>
                          <a:pt x="1242391" y="672153"/>
                          <a:pt x="1209891" y="639653"/>
                          <a:pt x="1169800" y="639653"/>
                        </a:cubicBezTo>
                        <a:close/>
                        <a:moveTo>
                          <a:pt x="754884" y="141066"/>
                        </a:moveTo>
                        <a:cubicBezTo>
                          <a:pt x="647902" y="141066"/>
                          <a:pt x="561176" y="227792"/>
                          <a:pt x="561176" y="334774"/>
                        </a:cubicBezTo>
                        <a:cubicBezTo>
                          <a:pt x="561176" y="441756"/>
                          <a:pt x="647902" y="528482"/>
                          <a:pt x="754884" y="528482"/>
                        </a:cubicBezTo>
                        <a:cubicBezTo>
                          <a:pt x="861866" y="528482"/>
                          <a:pt x="948592" y="441756"/>
                          <a:pt x="948592" y="334774"/>
                        </a:cubicBezTo>
                        <a:cubicBezTo>
                          <a:pt x="948592" y="227792"/>
                          <a:pt x="861866" y="141066"/>
                          <a:pt x="754884" y="141066"/>
                        </a:cubicBezTo>
                        <a:close/>
                        <a:moveTo>
                          <a:pt x="778429" y="759"/>
                        </a:moveTo>
                        <a:cubicBezTo>
                          <a:pt x="850168" y="6185"/>
                          <a:pt x="916481" y="40186"/>
                          <a:pt x="971943" y="86484"/>
                        </a:cubicBezTo>
                        <a:cubicBezTo>
                          <a:pt x="1082868" y="179081"/>
                          <a:pt x="1387185" y="460732"/>
                          <a:pt x="1489910" y="572621"/>
                        </a:cubicBezTo>
                        <a:cubicBezTo>
                          <a:pt x="1592635" y="684510"/>
                          <a:pt x="1544891" y="907321"/>
                          <a:pt x="1466761" y="983521"/>
                        </a:cubicBezTo>
                        <a:cubicBezTo>
                          <a:pt x="1388631" y="1059721"/>
                          <a:pt x="1183180" y="1290251"/>
                          <a:pt x="1029815" y="1443616"/>
                        </a:cubicBezTo>
                        <a:lnTo>
                          <a:pt x="1174500" y="1588301"/>
                        </a:lnTo>
                        <a:lnTo>
                          <a:pt x="1021136" y="1741665"/>
                        </a:lnTo>
                        <a:lnTo>
                          <a:pt x="1160032" y="1880561"/>
                        </a:lnTo>
                        <a:lnTo>
                          <a:pt x="1018242" y="2022351"/>
                        </a:lnTo>
                        <a:lnTo>
                          <a:pt x="1116626" y="2120735"/>
                        </a:lnTo>
                        <a:lnTo>
                          <a:pt x="752024" y="2485337"/>
                        </a:lnTo>
                        <a:lnTo>
                          <a:pt x="520530" y="2253843"/>
                        </a:lnTo>
                        <a:lnTo>
                          <a:pt x="520530" y="1397317"/>
                        </a:lnTo>
                        <a:cubicBezTo>
                          <a:pt x="374882" y="1251669"/>
                          <a:pt x="190652" y="1054900"/>
                          <a:pt x="83586" y="960373"/>
                        </a:cubicBezTo>
                        <a:cubicBezTo>
                          <a:pt x="-23480" y="865846"/>
                          <a:pt x="-32160" y="661361"/>
                          <a:pt x="83586" y="555259"/>
                        </a:cubicBezTo>
                        <a:cubicBezTo>
                          <a:pt x="199332" y="449157"/>
                          <a:pt x="398031" y="222487"/>
                          <a:pt x="552361" y="86484"/>
                        </a:cubicBezTo>
                        <a:cubicBezTo>
                          <a:pt x="629526" y="18483"/>
                          <a:pt x="706690" y="-4667"/>
                          <a:pt x="778429" y="759"/>
                        </a:cubicBezTo>
                        <a:close/>
                      </a:path>
                    </a:pathLst>
                  </a:custGeom>
                  <a:solidFill>
                    <a:srgbClr val="FCD1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7" name="Rounded Rectangle 88"/>
                  <p:cNvSpPr/>
                  <p:nvPr/>
                </p:nvSpPr>
                <p:spPr bwMode="auto">
                  <a:xfrm>
                    <a:off x="3879512" y="2893182"/>
                    <a:ext cx="596504" cy="92906"/>
                  </a:xfrm>
                  <a:prstGeom prst="roundRect">
                    <a:avLst>
                      <a:gd name="adj" fmla="val 50000"/>
                    </a:avLst>
                  </a:prstGeom>
                  <a:solidFill>
                    <a:srgbClr val="FEE8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8" name="Rounded Rectangle 89"/>
                  <p:cNvSpPr/>
                  <p:nvPr/>
                </p:nvSpPr>
                <p:spPr bwMode="auto">
                  <a:xfrm>
                    <a:off x="3879512" y="3028583"/>
                    <a:ext cx="596504" cy="92906"/>
                  </a:xfrm>
                  <a:prstGeom prst="roundRect">
                    <a:avLst>
                      <a:gd name="adj" fmla="val 50000"/>
                    </a:avLst>
                  </a:prstGeom>
                  <a:solidFill>
                    <a:srgbClr val="FEE8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5" name="Trapezoid 154"/>
                <p:cNvSpPr/>
                <p:nvPr/>
              </p:nvSpPr>
              <p:spPr bwMode="auto">
                <a:xfrm rot="5400000">
                  <a:off x="3884473" y="3601900"/>
                  <a:ext cx="493987" cy="58739"/>
                </a:xfrm>
                <a:prstGeom prst="trapezoid">
                  <a:avLst/>
                </a:prstGeom>
                <a:solidFill>
                  <a:srgbClr val="FCB50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50" name="Freeform 81"/>
            <p:cNvSpPr/>
            <p:nvPr/>
          </p:nvSpPr>
          <p:spPr>
            <a:xfrm>
              <a:off x="3418846" y="2472773"/>
              <a:ext cx="2858692" cy="1762806"/>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rgbClr val="E2F2F6">
                <a:alpha val="69000"/>
              </a:srgb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1" name="Freeform 82"/>
            <p:cNvSpPr/>
            <p:nvPr/>
          </p:nvSpPr>
          <p:spPr>
            <a:xfrm>
              <a:off x="7834001" y="4919480"/>
              <a:ext cx="1934612" cy="1192974"/>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rgbClr val="E2F2F6"/>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7" name="Rectangle 6"/>
          <p:cNvSpPr/>
          <p:nvPr/>
        </p:nvSpPr>
        <p:spPr>
          <a:xfrm>
            <a:off x="7853597" y="5630001"/>
            <a:ext cx="1311256" cy="646331"/>
          </a:xfrm>
          <a:prstGeom prst="rect">
            <a:avLst/>
          </a:prstGeom>
          <a:no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none" lIns="0" tIns="91440" rIns="0" bIns="0" numCol="1" spcCol="1270" anchor="t" anchorCtr="0">
            <a:spAutoFit/>
          </a:bodyPr>
          <a:lstStyle/>
          <a:p>
            <a:pPr algn="ctr" defTabSz="2400300">
              <a:lnSpc>
                <a:spcPct val="90000"/>
              </a:lnSpc>
              <a:spcBef>
                <a:spcPct val="0"/>
              </a:spcBef>
              <a:spcAft>
                <a:spcPct val="35000"/>
              </a:spcAft>
            </a:pPr>
            <a:r>
              <a:rPr lang="en-US" sz="4000">
                <a:solidFill>
                  <a:srgbClr val="44B0FF"/>
                </a:solidFill>
                <a:latin typeface="Segoe UI Light"/>
              </a:rPr>
              <a:t>Agility</a:t>
            </a:r>
          </a:p>
        </p:txBody>
      </p:sp>
      <p:sp>
        <p:nvSpPr>
          <p:cNvPr id="10" name="Rectangle 9"/>
          <p:cNvSpPr/>
          <p:nvPr/>
        </p:nvSpPr>
        <p:spPr bwMode="auto">
          <a:xfrm>
            <a:off x="4937858" y="5433787"/>
            <a:ext cx="1455770" cy="5361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11" name="Rectangle 10"/>
          <p:cNvSpPr/>
          <p:nvPr/>
        </p:nvSpPr>
        <p:spPr bwMode="auto">
          <a:xfrm flipH="1">
            <a:off x="5431099" y="5344254"/>
            <a:ext cx="74444" cy="213642"/>
          </a:xfrm>
          <a:prstGeom prst="rect">
            <a:avLst/>
          </a:prstGeom>
          <a:solidFill>
            <a:srgbClr val="B2DB1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12" name="Plus Sign 11"/>
          <p:cNvSpPr/>
          <p:nvPr/>
        </p:nvSpPr>
        <p:spPr bwMode="auto">
          <a:xfrm>
            <a:off x="6474255" y="5385682"/>
            <a:ext cx="138530" cy="130785"/>
          </a:xfrm>
          <a:prstGeom prst="mathPlus">
            <a:avLst/>
          </a:prstGeom>
          <a:solidFill>
            <a:srgbClr val="2AA6E0"/>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164" name="Freeform: Shape 163"/>
          <p:cNvSpPr/>
          <p:nvPr/>
        </p:nvSpPr>
        <p:spPr bwMode="auto">
          <a:xfrm>
            <a:off x="5158655" y="4553726"/>
            <a:ext cx="675516" cy="770422"/>
          </a:xfrm>
          <a:custGeom>
            <a:avLst/>
            <a:gdLst>
              <a:gd name="connsiteX0" fmla="*/ 337758 w 675516"/>
              <a:gd name="connsiteY0" fmla="*/ 0 h 770422"/>
              <a:gd name="connsiteX1" fmla="*/ 675516 w 675516"/>
              <a:gd name="connsiteY1" fmla="*/ 337758 h 770422"/>
              <a:gd name="connsiteX2" fmla="*/ 469229 w 675516"/>
              <a:gd name="connsiteY2" fmla="*/ 648974 h 770422"/>
              <a:gd name="connsiteX3" fmla="*/ 442964 w 675516"/>
              <a:gd name="connsiteY3" fmla="*/ 657127 h 770422"/>
              <a:gd name="connsiteX4" fmla="*/ 313933 w 675516"/>
              <a:gd name="connsiteY4" fmla="*/ 770422 h 770422"/>
              <a:gd name="connsiteX5" fmla="*/ 310818 w 675516"/>
              <a:gd name="connsiteY5" fmla="*/ 672800 h 770422"/>
              <a:gd name="connsiteX6" fmla="*/ 269688 w 675516"/>
              <a:gd name="connsiteY6" fmla="*/ 668654 h 770422"/>
              <a:gd name="connsiteX7" fmla="*/ 0 w 675516"/>
              <a:gd name="connsiteY7" fmla="*/ 337758 h 770422"/>
              <a:gd name="connsiteX8" fmla="*/ 337758 w 675516"/>
              <a:gd name="connsiteY8" fmla="*/ 0 h 770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5516" h="770422">
                <a:moveTo>
                  <a:pt x="337758" y="0"/>
                </a:moveTo>
                <a:cubicBezTo>
                  <a:pt x="524297" y="0"/>
                  <a:pt x="675516" y="151219"/>
                  <a:pt x="675516" y="337758"/>
                </a:cubicBezTo>
                <a:cubicBezTo>
                  <a:pt x="675516" y="477662"/>
                  <a:pt x="590456" y="597699"/>
                  <a:pt x="469229" y="648974"/>
                </a:cubicBezTo>
                <a:lnTo>
                  <a:pt x="442964" y="657127"/>
                </a:lnTo>
                <a:lnTo>
                  <a:pt x="313933" y="770422"/>
                </a:lnTo>
                <a:lnTo>
                  <a:pt x="310818" y="672800"/>
                </a:lnTo>
                <a:lnTo>
                  <a:pt x="269688" y="668654"/>
                </a:lnTo>
                <a:cubicBezTo>
                  <a:pt x="115777" y="637160"/>
                  <a:pt x="0" y="500979"/>
                  <a:pt x="0" y="337758"/>
                </a:cubicBezTo>
                <a:cubicBezTo>
                  <a:pt x="0" y="151219"/>
                  <a:pt x="151219" y="0"/>
                  <a:pt x="337758" y="0"/>
                </a:cubicBezTo>
                <a:close/>
              </a:path>
            </a:pathLst>
          </a:custGeom>
          <a:solidFill>
            <a:srgbClr val="186CA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161" name="Oval 160"/>
          <p:cNvSpPr/>
          <p:nvPr/>
        </p:nvSpPr>
        <p:spPr bwMode="auto">
          <a:xfrm>
            <a:off x="5206692" y="4606593"/>
            <a:ext cx="580754" cy="580752"/>
          </a:xfrm>
          <a:prstGeom prst="ellipse">
            <a:avLst/>
          </a:prstGeom>
          <a:solidFill>
            <a:srgbClr val="289FD7"/>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166" name="Freeform: Shape 165"/>
          <p:cNvSpPr/>
          <p:nvPr/>
        </p:nvSpPr>
        <p:spPr bwMode="auto">
          <a:xfrm>
            <a:off x="5382386" y="4773603"/>
            <a:ext cx="228384" cy="237241"/>
          </a:xfrm>
          <a:custGeom>
            <a:avLst/>
            <a:gdLst>
              <a:gd name="connsiteX0" fmla="*/ 137186 w 228384"/>
              <a:gd name="connsiteY0" fmla="*/ 45599 h 237241"/>
              <a:gd name="connsiteX1" fmla="*/ 91586 w 228384"/>
              <a:gd name="connsiteY1" fmla="*/ 91199 h 237241"/>
              <a:gd name="connsiteX2" fmla="*/ 137186 w 228384"/>
              <a:gd name="connsiteY2" fmla="*/ 136799 h 237241"/>
              <a:gd name="connsiteX3" fmla="*/ 182786 w 228384"/>
              <a:gd name="connsiteY3" fmla="*/ 91199 h 237241"/>
              <a:gd name="connsiteX4" fmla="*/ 137186 w 228384"/>
              <a:gd name="connsiteY4" fmla="*/ 45599 h 237241"/>
              <a:gd name="connsiteX5" fmla="*/ 137185 w 228384"/>
              <a:gd name="connsiteY5" fmla="*/ 0 h 237241"/>
              <a:gd name="connsiteX6" fmla="*/ 228384 w 228384"/>
              <a:gd name="connsiteY6" fmla="*/ 91199 h 237241"/>
              <a:gd name="connsiteX7" fmla="*/ 137185 w 228384"/>
              <a:gd name="connsiteY7" fmla="*/ 182398 h 237241"/>
              <a:gd name="connsiteX8" fmla="*/ 101686 w 228384"/>
              <a:gd name="connsiteY8" fmla="*/ 175231 h 237241"/>
              <a:gd name="connsiteX9" fmla="*/ 95409 w 228384"/>
              <a:gd name="connsiteY9" fmla="*/ 170999 h 237241"/>
              <a:gd name="connsiteX10" fmla="*/ 39460 w 228384"/>
              <a:gd name="connsiteY10" fmla="*/ 230098 h 237241"/>
              <a:gd name="connsiteX11" fmla="*/ 7143 w 228384"/>
              <a:gd name="connsiteY11" fmla="*/ 230982 h 237241"/>
              <a:gd name="connsiteX12" fmla="*/ 6258 w 228384"/>
              <a:gd name="connsiteY12" fmla="*/ 198665 h 237241"/>
              <a:gd name="connsiteX13" fmla="*/ 61987 w 228384"/>
              <a:gd name="connsiteY13" fmla="*/ 139801 h 237241"/>
              <a:gd name="connsiteX14" fmla="*/ 53153 w 228384"/>
              <a:gd name="connsiteY14" fmla="*/ 126698 h 237241"/>
              <a:gd name="connsiteX15" fmla="*/ 45986 w 228384"/>
              <a:gd name="connsiteY15" fmla="*/ 91199 h 237241"/>
              <a:gd name="connsiteX16" fmla="*/ 137185 w 228384"/>
              <a:gd name="connsiteY16" fmla="*/ 0 h 23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8384" h="237241">
                <a:moveTo>
                  <a:pt x="137186" y="45599"/>
                </a:moveTo>
                <a:cubicBezTo>
                  <a:pt x="112002" y="45599"/>
                  <a:pt x="91586" y="66015"/>
                  <a:pt x="91586" y="91199"/>
                </a:cubicBezTo>
                <a:cubicBezTo>
                  <a:pt x="91586" y="116383"/>
                  <a:pt x="112002" y="136799"/>
                  <a:pt x="137186" y="136799"/>
                </a:cubicBezTo>
                <a:cubicBezTo>
                  <a:pt x="162370" y="136799"/>
                  <a:pt x="182786" y="116383"/>
                  <a:pt x="182786" y="91199"/>
                </a:cubicBezTo>
                <a:cubicBezTo>
                  <a:pt x="182786" y="66015"/>
                  <a:pt x="162370" y="45599"/>
                  <a:pt x="137186" y="45599"/>
                </a:cubicBezTo>
                <a:close/>
                <a:moveTo>
                  <a:pt x="137185" y="0"/>
                </a:moveTo>
                <a:cubicBezTo>
                  <a:pt x="187553" y="0"/>
                  <a:pt x="228384" y="40831"/>
                  <a:pt x="228384" y="91199"/>
                </a:cubicBezTo>
                <a:cubicBezTo>
                  <a:pt x="228384" y="141567"/>
                  <a:pt x="187553" y="182398"/>
                  <a:pt x="137185" y="182398"/>
                </a:cubicBezTo>
                <a:cubicBezTo>
                  <a:pt x="124593" y="182398"/>
                  <a:pt x="112597" y="179846"/>
                  <a:pt x="101686" y="175231"/>
                </a:cubicBezTo>
                <a:lnTo>
                  <a:pt x="95409" y="170999"/>
                </a:lnTo>
                <a:lnTo>
                  <a:pt x="39460" y="230098"/>
                </a:lnTo>
                <a:cubicBezTo>
                  <a:pt x="30780" y="239266"/>
                  <a:pt x="16311" y="239662"/>
                  <a:pt x="7143" y="230982"/>
                </a:cubicBezTo>
                <a:cubicBezTo>
                  <a:pt x="-2025" y="222303"/>
                  <a:pt x="-2421" y="207834"/>
                  <a:pt x="6258" y="198665"/>
                </a:cubicBezTo>
                <a:lnTo>
                  <a:pt x="61987" y="139801"/>
                </a:lnTo>
                <a:lnTo>
                  <a:pt x="53153" y="126698"/>
                </a:lnTo>
                <a:cubicBezTo>
                  <a:pt x="48538" y="115787"/>
                  <a:pt x="45986" y="103791"/>
                  <a:pt x="45986" y="91199"/>
                </a:cubicBezTo>
                <a:cubicBezTo>
                  <a:pt x="45986" y="40831"/>
                  <a:pt x="86817" y="0"/>
                  <a:pt x="137185" y="0"/>
                </a:cubicBezTo>
                <a:close/>
              </a:path>
            </a:pathLst>
          </a:cu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grpSp>
        <p:nvGrpSpPr>
          <p:cNvPr id="178" name="Group 177"/>
          <p:cNvGrpSpPr/>
          <p:nvPr/>
        </p:nvGrpSpPr>
        <p:grpSpPr>
          <a:xfrm>
            <a:off x="7811417" y="4664738"/>
            <a:ext cx="1515540" cy="893158"/>
            <a:chOff x="7375991" y="4664738"/>
            <a:chExt cx="1515540" cy="893158"/>
          </a:xfrm>
        </p:grpSpPr>
        <p:grpSp>
          <p:nvGrpSpPr>
            <p:cNvPr id="122" name="Group 121"/>
            <p:cNvGrpSpPr/>
            <p:nvPr/>
          </p:nvGrpSpPr>
          <p:grpSpPr>
            <a:xfrm>
              <a:off x="7606008" y="4664738"/>
              <a:ext cx="372265" cy="519001"/>
              <a:chOff x="6117910" y="5312532"/>
              <a:chExt cx="212972" cy="282005"/>
            </a:xfrm>
          </p:grpSpPr>
          <p:sp>
            <p:nvSpPr>
              <p:cNvPr id="142" name="Freeform 6"/>
              <p:cNvSpPr>
                <a:spLocks/>
              </p:cNvSpPr>
              <p:nvPr/>
            </p:nvSpPr>
            <p:spPr bwMode="auto">
              <a:xfrm>
                <a:off x="6117910" y="5350720"/>
                <a:ext cx="212971" cy="243817"/>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0072C6"/>
              </a:solidFill>
              <a:ln w="0">
                <a:solidFill>
                  <a:srgbClr val="3999C6"/>
                </a:solid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prstClr val="black"/>
                  </a:solidFill>
                </a:endParaRPr>
              </a:p>
            </p:txBody>
          </p:sp>
          <p:sp>
            <p:nvSpPr>
              <p:cNvPr id="143" name="Freeform 7"/>
              <p:cNvSpPr>
                <a:spLocks/>
              </p:cNvSpPr>
              <p:nvPr/>
            </p:nvSpPr>
            <p:spPr bwMode="auto">
              <a:xfrm>
                <a:off x="6222928" y="5350720"/>
                <a:ext cx="107954" cy="243817"/>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2687CE"/>
              </a:solidFill>
              <a:ln w="0">
                <a:solidFill>
                  <a:srgbClr val="3999C6"/>
                </a:solid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prstClr val="black"/>
                  </a:solidFill>
                </a:endParaRPr>
              </a:p>
            </p:txBody>
          </p:sp>
          <p:sp>
            <p:nvSpPr>
              <p:cNvPr id="144" name="Freeform 8"/>
              <p:cNvSpPr>
                <a:spLocks/>
              </p:cNvSpPr>
              <p:nvPr/>
            </p:nvSpPr>
            <p:spPr bwMode="auto">
              <a:xfrm>
                <a:off x="6117911" y="5312532"/>
                <a:ext cx="212971" cy="77111"/>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prstClr val="black"/>
                  </a:solidFill>
                </a:endParaRPr>
              </a:p>
            </p:txBody>
          </p:sp>
          <p:sp>
            <p:nvSpPr>
              <p:cNvPr id="145" name="Freeform 9"/>
              <p:cNvSpPr>
                <a:spLocks/>
              </p:cNvSpPr>
              <p:nvPr/>
            </p:nvSpPr>
            <p:spPr bwMode="auto">
              <a:xfrm>
                <a:off x="6139942" y="5323548"/>
                <a:ext cx="168908" cy="5067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8BBF0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prstClr val="black"/>
                  </a:solidFill>
                </a:endParaRPr>
              </a:p>
            </p:txBody>
          </p:sp>
          <p:sp>
            <p:nvSpPr>
              <p:cNvPr id="146" name="Freeform 10"/>
              <p:cNvSpPr>
                <a:spLocks/>
              </p:cNvSpPr>
              <p:nvPr/>
            </p:nvSpPr>
            <p:spPr bwMode="auto">
              <a:xfrm>
                <a:off x="6139942" y="5323548"/>
                <a:ext cx="168908" cy="41126"/>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2D12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prstClr val="black"/>
                  </a:solidFill>
                </a:endParaRPr>
              </a:p>
            </p:txBody>
          </p:sp>
        </p:grpSp>
        <p:sp>
          <p:nvSpPr>
            <p:cNvPr id="128" name="Freeform 971"/>
            <p:cNvSpPr/>
            <p:nvPr/>
          </p:nvSpPr>
          <p:spPr bwMode="auto">
            <a:xfrm>
              <a:off x="7857719" y="5147012"/>
              <a:ext cx="167511" cy="286775"/>
            </a:xfrm>
            <a:custGeom>
              <a:avLst/>
              <a:gdLst>
                <a:gd name="connsiteX0" fmla="*/ 0 w 101783"/>
                <a:gd name="connsiteY0" fmla="*/ 211773 h 211773"/>
                <a:gd name="connsiteX1" fmla="*/ 0 w 101783"/>
                <a:gd name="connsiteY1" fmla="*/ 137899 h 211773"/>
                <a:gd name="connsiteX2" fmla="*/ 65667 w 101783"/>
                <a:gd name="connsiteY2" fmla="*/ 82082 h 211773"/>
                <a:gd name="connsiteX3" fmla="*/ 101783 w 101783"/>
                <a:gd name="connsiteY3" fmla="*/ 0 h 211773"/>
                <a:gd name="connsiteX0" fmla="*/ 0 w 101783"/>
                <a:gd name="connsiteY0" fmla="*/ 211773 h 211773"/>
                <a:gd name="connsiteX1" fmla="*/ 0 w 101783"/>
                <a:gd name="connsiteY1" fmla="*/ 137899 h 211773"/>
                <a:gd name="connsiteX2" fmla="*/ 65667 w 101783"/>
                <a:gd name="connsiteY2" fmla="*/ 82082 h 211773"/>
                <a:gd name="connsiteX3" fmla="*/ 101783 w 101783"/>
                <a:gd name="connsiteY3" fmla="*/ 0 h 211773"/>
                <a:gd name="connsiteX0" fmla="*/ 0 w 101783"/>
                <a:gd name="connsiteY0" fmla="*/ 211773 h 211773"/>
                <a:gd name="connsiteX1" fmla="*/ 0 w 101783"/>
                <a:gd name="connsiteY1" fmla="*/ 137899 h 211773"/>
                <a:gd name="connsiteX2" fmla="*/ 65667 w 101783"/>
                <a:gd name="connsiteY2" fmla="*/ 82082 h 211773"/>
                <a:gd name="connsiteX3" fmla="*/ 101783 w 101783"/>
                <a:gd name="connsiteY3" fmla="*/ 0 h 211773"/>
                <a:gd name="connsiteX0" fmla="*/ 0 w 101783"/>
                <a:gd name="connsiteY0" fmla="*/ 211773 h 211773"/>
                <a:gd name="connsiteX1" fmla="*/ 0 w 101783"/>
                <a:gd name="connsiteY1" fmla="*/ 137899 h 211773"/>
                <a:gd name="connsiteX2" fmla="*/ 65667 w 101783"/>
                <a:gd name="connsiteY2" fmla="*/ 82082 h 211773"/>
                <a:gd name="connsiteX3" fmla="*/ 101783 w 101783"/>
                <a:gd name="connsiteY3" fmla="*/ 0 h 211773"/>
                <a:gd name="connsiteX0" fmla="*/ 0 w 101783"/>
                <a:gd name="connsiteY0" fmla="*/ 211773 h 211773"/>
                <a:gd name="connsiteX1" fmla="*/ 0 w 101783"/>
                <a:gd name="connsiteY1" fmla="*/ 137899 h 211773"/>
                <a:gd name="connsiteX2" fmla="*/ 65667 w 101783"/>
                <a:gd name="connsiteY2" fmla="*/ 82082 h 211773"/>
                <a:gd name="connsiteX3" fmla="*/ 101783 w 101783"/>
                <a:gd name="connsiteY3" fmla="*/ 0 h 211773"/>
              </a:gdLst>
              <a:ahLst/>
              <a:cxnLst>
                <a:cxn ang="0">
                  <a:pos x="connsiteX0" y="connsiteY0"/>
                </a:cxn>
                <a:cxn ang="0">
                  <a:pos x="connsiteX1" y="connsiteY1"/>
                </a:cxn>
                <a:cxn ang="0">
                  <a:pos x="connsiteX2" y="connsiteY2"/>
                </a:cxn>
                <a:cxn ang="0">
                  <a:pos x="connsiteX3" y="connsiteY3"/>
                </a:cxn>
              </a:cxnLst>
              <a:rect l="l" t="t" r="r" b="b"/>
              <a:pathLst>
                <a:path w="101783" h="211773">
                  <a:moveTo>
                    <a:pt x="0" y="211773"/>
                  </a:moveTo>
                  <a:lnTo>
                    <a:pt x="0" y="137899"/>
                  </a:lnTo>
                  <a:cubicBezTo>
                    <a:pt x="8755" y="91385"/>
                    <a:pt x="37350" y="77239"/>
                    <a:pt x="65667" y="82082"/>
                  </a:cubicBezTo>
                  <a:cubicBezTo>
                    <a:pt x="107256" y="89195"/>
                    <a:pt x="99269" y="43236"/>
                    <a:pt x="101783" y="0"/>
                  </a:cubicBezTo>
                </a:path>
              </a:pathLst>
            </a:custGeom>
            <a:noFill/>
            <a:ln w="19050">
              <a:solidFill>
                <a:srgbClr val="3999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rgbClr val="FFFFFF"/>
                </a:solidFill>
              </a:endParaRPr>
            </a:p>
          </p:txBody>
        </p:sp>
        <p:sp>
          <p:nvSpPr>
            <p:cNvPr id="123" name="Freeform 962"/>
            <p:cNvSpPr/>
            <p:nvPr/>
          </p:nvSpPr>
          <p:spPr bwMode="auto">
            <a:xfrm>
              <a:off x="7930985" y="4832142"/>
              <a:ext cx="571626" cy="3598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58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4" name="Group 123"/>
            <p:cNvGrpSpPr>
              <a:grpSpLocks noChangeAspect="1"/>
            </p:cNvGrpSpPr>
            <p:nvPr/>
          </p:nvGrpSpPr>
          <p:grpSpPr>
            <a:xfrm>
              <a:off x="8123850" y="4922760"/>
              <a:ext cx="250740" cy="250740"/>
              <a:chOff x="5652683" y="1636246"/>
              <a:chExt cx="3791758" cy="3791758"/>
            </a:xfrm>
          </p:grpSpPr>
          <p:sp>
            <p:nvSpPr>
              <p:cNvPr id="137" name="Oval 136"/>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8" name="Oval 137"/>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9" name="Freeform 966"/>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0" name="Rounded Rectangle 967"/>
              <p:cNvSpPr/>
              <p:nvPr/>
            </p:nvSpPr>
            <p:spPr>
              <a:xfrm>
                <a:off x="7498946" y="3360193"/>
                <a:ext cx="1447800" cy="290870"/>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1" name="Oval 140"/>
              <p:cNvSpPr/>
              <p:nvPr/>
            </p:nvSpPr>
            <p:spPr>
              <a:xfrm>
                <a:off x="7294564" y="3236912"/>
                <a:ext cx="546099" cy="54609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175" name="Rectangle 174"/>
            <p:cNvSpPr/>
            <p:nvPr/>
          </p:nvSpPr>
          <p:spPr bwMode="auto">
            <a:xfrm>
              <a:off x="7435761" y="5433787"/>
              <a:ext cx="1455770" cy="5361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176" name="Rectangle 175"/>
            <p:cNvSpPr/>
            <p:nvPr/>
          </p:nvSpPr>
          <p:spPr bwMode="auto">
            <a:xfrm flipH="1">
              <a:off x="8261252" y="5344254"/>
              <a:ext cx="74444" cy="213642"/>
            </a:xfrm>
            <a:prstGeom prst="rect">
              <a:avLst/>
            </a:prstGeom>
            <a:solidFill>
              <a:srgbClr val="B2DB1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177" name="Rectangle 176"/>
            <p:cNvSpPr/>
            <p:nvPr/>
          </p:nvSpPr>
          <p:spPr bwMode="auto">
            <a:xfrm>
              <a:off x="7375991" y="5433787"/>
              <a:ext cx="914400" cy="53610"/>
            </a:xfrm>
            <a:prstGeom prst="rect">
              <a:avLst/>
            </a:prstGeom>
            <a:solidFill>
              <a:srgbClr val="58B4D9"/>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err="1">
                <a:solidFill>
                  <a:schemeClr val="tx1"/>
                </a:solidFill>
                <a:effectLst/>
                <a:latin typeface="+mn-lt"/>
                <a:cs typeface="+mn-cs"/>
              </a:endParaRPr>
            </a:p>
          </p:txBody>
        </p:sp>
      </p:grpSp>
      <p:grpSp>
        <p:nvGrpSpPr>
          <p:cNvPr id="182" name="Group 181"/>
          <p:cNvGrpSpPr/>
          <p:nvPr/>
        </p:nvGrpSpPr>
        <p:grpSpPr>
          <a:xfrm>
            <a:off x="2461040" y="4722856"/>
            <a:ext cx="1120483" cy="882807"/>
            <a:chOff x="2461040" y="4722856"/>
            <a:chExt cx="1120483" cy="882807"/>
          </a:xfrm>
        </p:grpSpPr>
        <p:sp>
          <p:nvSpPr>
            <p:cNvPr id="179" name="Freeform 79"/>
            <p:cNvSpPr/>
            <p:nvPr/>
          </p:nvSpPr>
          <p:spPr bwMode="auto">
            <a:xfrm>
              <a:off x="2610117" y="5362499"/>
              <a:ext cx="517051" cy="243164"/>
            </a:xfrm>
            <a:custGeom>
              <a:avLst/>
              <a:gdLst>
                <a:gd name="connsiteX0" fmla="*/ 0 w 1468550"/>
                <a:gd name="connsiteY0" fmla="*/ 448125 h 597283"/>
                <a:gd name="connsiteX1" fmla="*/ 0 w 1468550"/>
                <a:gd name="connsiteY1" fmla="*/ 448126 h 597283"/>
                <a:gd name="connsiteX2" fmla="*/ 0 w 1468550"/>
                <a:gd name="connsiteY2" fmla="*/ 448126 h 597283"/>
                <a:gd name="connsiteX3" fmla="*/ 773481 w 1468550"/>
                <a:gd name="connsiteY3" fmla="*/ 0 h 597283"/>
                <a:gd name="connsiteX4" fmla="*/ 1003030 w 1468550"/>
                <a:gd name="connsiteY4" fmla="*/ 138208 h 597283"/>
                <a:gd name="connsiteX5" fmla="*/ 1017781 w 1468550"/>
                <a:gd name="connsiteY5" fmla="*/ 204571 h 597283"/>
                <a:gd name="connsiteX6" fmla="*/ 1029832 w 1468550"/>
                <a:gd name="connsiteY6" fmla="*/ 188335 h 597283"/>
                <a:gd name="connsiteX7" fmla="*/ 1175952 w 1468550"/>
                <a:gd name="connsiteY7" fmla="*/ 133358 h 597283"/>
                <a:gd name="connsiteX8" fmla="*/ 1382597 w 1468550"/>
                <a:gd name="connsiteY8" fmla="*/ 321061 h 597283"/>
                <a:gd name="connsiteX9" fmla="*/ 1369815 w 1468550"/>
                <a:gd name="connsiteY9" fmla="*/ 378570 h 597283"/>
                <a:gd name="connsiteX10" fmla="*/ 1401032 w 1468550"/>
                <a:gd name="connsiteY10" fmla="*/ 384873 h 597283"/>
                <a:gd name="connsiteX11" fmla="*/ 1468550 w 1468550"/>
                <a:gd name="connsiteY11" fmla="*/ 486734 h 597283"/>
                <a:gd name="connsiteX12" fmla="*/ 1468549 w 1468550"/>
                <a:gd name="connsiteY12" fmla="*/ 486734 h 597283"/>
                <a:gd name="connsiteX13" fmla="*/ 1358000 w 1468550"/>
                <a:gd name="connsiteY13" fmla="*/ 597283 h 597283"/>
                <a:gd name="connsiteX14" fmla="*/ 905132 w 1468550"/>
                <a:gd name="connsiteY14" fmla="*/ 597283 h 597283"/>
                <a:gd name="connsiteX15" fmla="*/ 905130 w 1468550"/>
                <a:gd name="connsiteY15" fmla="*/ 597283 h 597283"/>
                <a:gd name="connsiteX16" fmla="*/ 149157 w 1468550"/>
                <a:gd name="connsiteY16" fmla="*/ 597282 h 597283"/>
                <a:gd name="connsiteX17" fmla="*/ 11722 w 1468550"/>
                <a:gd name="connsiteY17" fmla="*/ 506184 h 597283"/>
                <a:gd name="connsiteX18" fmla="*/ 0 w 1468550"/>
                <a:gd name="connsiteY18" fmla="*/ 448126 h 597283"/>
                <a:gd name="connsiteX19" fmla="*/ 11722 w 1468550"/>
                <a:gd name="connsiteY19" fmla="*/ 390068 h 597283"/>
                <a:gd name="connsiteX20" fmla="*/ 149157 w 1468550"/>
                <a:gd name="connsiteY20" fmla="*/ 298969 h 597283"/>
                <a:gd name="connsiteX21" fmla="*/ 201670 w 1468550"/>
                <a:gd name="connsiteY21" fmla="*/ 298969 h 597283"/>
                <a:gd name="connsiteX22" fmla="*/ 210775 w 1468550"/>
                <a:gd name="connsiteY22" fmla="*/ 258005 h 597283"/>
                <a:gd name="connsiteX23" fmla="*/ 383494 w 1468550"/>
                <a:gd name="connsiteY23" fmla="*/ 154013 h 597283"/>
                <a:gd name="connsiteX24" fmla="*/ 516041 w 1468550"/>
                <a:gd name="connsiteY24" fmla="*/ 203883 h 597283"/>
                <a:gd name="connsiteX25" fmla="*/ 526271 w 1468550"/>
                <a:gd name="connsiteY25" fmla="*/ 217665 h 597283"/>
                <a:gd name="connsiteX26" fmla="*/ 543932 w 1468550"/>
                <a:gd name="connsiteY26" fmla="*/ 138208 h 597283"/>
                <a:gd name="connsiteX27" fmla="*/ 773481 w 1468550"/>
                <a:gd name="connsiteY27" fmla="*/ 0 h 59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68550" h="597283">
                  <a:moveTo>
                    <a:pt x="0" y="448125"/>
                  </a:moveTo>
                  <a:lnTo>
                    <a:pt x="0" y="448126"/>
                  </a:lnTo>
                  <a:lnTo>
                    <a:pt x="0" y="448126"/>
                  </a:lnTo>
                  <a:close/>
                  <a:moveTo>
                    <a:pt x="773481" y="0"/>
                  </a:moveTo>
                  <a:cubicBezTo>
                    <a:pt x="876673" y="0"/>
                    <a:pt x="965211" y="56988"/>
                    <a:pt x="1003030" y="138208"/>
                  </a:cubicBezTo>
                  <a:lnTo>
                    <a:pt x="1017781" y="204571"/>
                  </a:lnTo>
                  <a:lnTo>
                    <a:pt x="1029832" y="188335"/>
                  </a:lnTo>
                  <a:cubicBezTo>
                    <a:pt x="1067227" y="154368"/>
                    <a:pt x="1118888" y="133358"/>
                    <a:pt x="1175952" y="133358"/>
                  </a:cubicBezTo>
                  <a:cubicBezTo>
                    <a:pt x="1290079" y="133358"/>
                    <a:pt x="1382597" y="217395"/>
                    <a:pt x="1382597" y="321061"/>
                  </a:cubicBezTo>
                  <a:lnTo>
                    <a:pt x="1369815" y="378570"/>
                  </a:lnTo>
                  <a:lnTo>
                    <a:pt x="1401032" y="384873"/>
                  </a:lnTo>
                  <a:cubicBezTo>
                    <a:pt x="1440710" y="401655"/>
                    <a:pt x="1468550" y="440943"/>
                    <a:pt x="1468550" y="486734"/>
                  </a:cubicBezTo>
                  <a:lnTo>
                    <a:pt x="1468549" y="486734"/>
                  </a:lnTo>
                  <a:cubicBezTo>
                    <a:pt x="1468549" y="547789"/>
                    <a:pt x="1419055" y="597283"/>
                    <a:pt x="1358000" y="597283"/>
                  </a:cubicBezTo>
                  <a:lnTo>
                    <a:pt x="905132" y="597283"/>
                  </a:lnTo>
                  <a:lnTo>
                    <a:pt x="905130" y="597283"/>
                  </a:lnTo>
                  <a:lnTo>
                    <a:pt x="149157" y="597282"/>
                  </a:lnTo>
                  <a:cubicBezTo>
                    <a:pt x="87374" y="597282"/>
                    <a:pt x="34365" y="559719"/>
                    <a:pt x="11722" y="506184"/>
                  </a:cubicBezTo>
                  <a:lnTo>
                    <a:pt x="0" y="448126"/>
                  </a:lnTo>
                  <a:lnTo>
                    <a:pt x="11722" y="390068"/>
                  </a:lnTo>
                  <a:cubicBezTo>
                    <a:pt x="34365" y="336533"/>
                    <a:pt x="87374" y="298969"/>
                    <a:pt x="149157" y="298969"/>
                  </a:cubicBezTo>
                  <a:lnTo>
                    <a:pt x="201670" y="298969"/>
                  </a:lnTo>
                  <a:lnTo>
                    <a:pt x="210775" y="258005"/>
                  </a:lnTo>
                  <a:cubicBezTo>
                    <a:pt x="239231" y="196893"/>
                    <a:pt x="305850" y="154013"/>
                    <a:pt x="383494" y="154013"/>
                  </a:cubicBezTo>
                  <a:cubicBezTo>
                    <a:pt x="435257" y="154013"/>
                    <a:pt x="482120" y="173071"/>
                    <a:pt x="516041" y="203883"/>
                  </a:cubicBezTo>
                  <a:lnTo>
                    <a:pt x="526271" y="217665"/>
                  </a:lnTo>
                  <a:lnTo>
                    <a:pt x="543932" y="138208"/>
                  </a:lnTo>
                  <a:cubicBezTo>
                    <a:pt x="581751" y="56988"/>
                    <a:pt x="670289" y="0"/>
                    <a:pt x="773481" y="0"/>
                  </a:cubicBezTo>
                  <a:close/>
                </a:path>
              </a:pathLst>
            </a:custGeom>
            <a:solidFill>
              <a:srgbClr val="B9E1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0" name="Freeform 81"/>
            <p:cNvSpPr/>
            <p:nvPr/>
          </p:nvSpPr>
          <p:spPr>
            <a:xfrm>
              <a:off x="2461040" y="4722856"/>
              <a:ext cx="415620" cy="256291"/>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chemeClr val="bg1">
                <a:lumMod val="95000"/>
                <a:alpha val="69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1" name="Freeform 82"/>
            <p:cNvSpPr/>
            <p:nvPr/>
          </p:nvSpPr>
          <p:spPr>
            <a:xfrm>
              <a:off x="3300253" y="4985467"/>
              <a:ext cx="281270" cy="173444"/>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rgbClr val="E2F2F6"/>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71" name="Group 170"/>
            <p:cNvGrpSpPr/>
            <p:nvPr/>
          </p:nvGrpSpPr>
          <p:grpSpPr>
            <a:xfrm>
              <a:off x="2763290" y="4835186"/>
              <a:ext cx="692815" cy="634314"/>
              <a:chOff x="6606985" y="5025542"/>
              <a:chExt cx="969745" cy="887860"/>
            </a:xfrm>
          </p:grpSpPr>
          <p:sp>
            <p:nvSpPr>
              <p:cNvPr id="172" name="Freeform: Shape 171"/>
              <p:cNvSpPr/>
              <p:nvPr/>
            </p:nvSpPr>
            <p:spPr bwMode="auto">
              <a:xfrm>
                <a:off x="6606985" y="5025542"/>
                <a:ext cx="887860" cy="887860"/>
              </a:xfrm>
              <a:custGeom>
                <a:avLst/>
                <a:gdLst>
                  <a:gd name="connsiteX0" fmla="*/ 555153 w 887860"/>
                  <a:gd name="connsiteY0" fmla="*/ 795060 h 887860"/>
                  <a:gd name="connsiteX1" fmla="*/ 681620 w 887860"/>
                  <a:gd name="connsiteY1" fmla="*/ 795060 h 887860"/>
                  <a:gd name="connsiteX2" fmla="*/ 681620 w 887860"/>
                  <a:gd name="connsiteY2" fmla="*/ 887860 h 887860"/>
                  <a:gd name="connsiteX3" fmla="*/ 555153 w 887860"/>
                  <a:gd name="connsiteY3" fmla="*/ 887860 h 887860"/>
                  <a:gd name="connsiteX4" fmla="*/ 382967 w 887860"/>
                  <a:gd name="connsiteY4" fmla="*/ 795060 h 887860"/>
                  <a:gd name="connsiteX5" fmla="*/ 509434 w 887860"/>
                  <a:gd name="connsiteY5" fmla="*/ 795060 h 887860"/>
                  <a:gd name="connsiteX6" fmla="*/ 509434 w 887860"/>
                  <a:gd name="connsiteY6" fmla="*/ 887860 h 887860"/>
                  <a:gd name="connsiteX7" fmla="*/ 382967 w 887860"/>
                  <a:gd name="connsiteY7" fmla="*/ 887860 h 887860"/>
                  <a:gd name="connsiteX8" fmla="*/ 210781 w 887860"/>
                  <a:gd name="connsiteY8" fmla="*/ 795060 h 887860"/>
                  <a:gd name="connsiteX9" fmla="*/ 337248 w 887860"/>
                  <a:gd name="connsiteY9" fmla="*/ 795060 h 887860"/>
                  <a:gd name="connsiteX10" fmla="*/ 337248 w 887860"/>
                  <a:gd name="connsiteY10" fmla="*/ 887860 h 887860"/>
                  <a:gd name="connsiteX11" fmla="*/ 210781 w 887860"/>
                  <a:gd name="connsiteY11" fmla="*/ 887860 h 887860"/>
                  <a:gd name="connsiteX12" fmla="*/ 795060 w 887860"/>
                  <a:gd name="connsiteY12" fmla="*/ 719679 h 887860"/>
                  <a:gd name="connsiteX13" fmla="*/ 887860 w 887860"/>
                  <a:gd name="connsiteY13" fmla="*/ 719679 h 887860"/>
                  <a:gd name="connsiteX14" fmla="*/ 887860 w 887860"/>
                  <a:gd name="connsiteY14" fmla="*/ 803282 h 887860"/>
                  <a:gd name="connsiteX15" fmla="*/ 803282 w 887860"/>
                  <a:gd name="connsiteY15" fmla="*/ 887860 h 887860"/>
                  <a:gd name="connsiteX16" fmla="*/ 727339 w 887860"/>
                  <a:gd name="connsiteY16" fmla="*/ 887860 h 887860"/>
                  <a:gd name="connsiteX17" fmla="*/ 727339 w 887860"/>
                  <a:gd name="connsiteY17" fmla="*/ 795060 h 887860"/>
                  <a:gd name="connsiteX18" fmla="*/ 754982 w 887860"/>
                  <a:gd name="connsiteY18" fmla="*/ 795060 h 887860"/>
                  <a:gd name="connsiteX19" fmla="*/ 795060 w 887860"/>
                  <a:gd name="connsiteY19" fmla="*/ 754982 h 887860"/>
                  <a:gd name="connsiteX20" fmla="*/ 0 w 887860"/>
                  <a:gd name="connsiteY20" fmla="*/ 719679 h 887860"/>
                  <a:gd name="connsiteX21" fmla="*/ 92800 w 887860"/>
                  <a:gd name="connsiteY21" fmla="*/ 719679 h 887860"/>
                  <a:gd name="connsiteX22" fmla="*/ 92800 w 887860"/>
                  <a:gd name="connsiteY22" fmla="*/ 754982 h 887860"/>
                  <a:gd name="connsiteX23" fmla="*/ 132878 w 887860"/>
                  <a:gd name="connsiteY23" fmla="*/ 795060 h 887860"/>
                  <a:gd name="connsiteX24" fmla="*/ 165062 w 887860"/>
                  <a:gd name="connsiteY24" fmla="*/ 795060 h 887860"/>
                  <a:gd name="connsiteX25" fmla="*/ 165062 w 887860"/>
                  <a:gd name="connsiteY25" fmla="*/ 887860 h 887860"/>
                  <a:gd name="connsiteX26" fmla="*/ 84578 w 887860"/>
                  <a:gd name="connsiteY26" fmla="*/ 887860 h 887860"/>
                  <a:gd name="connsiteX27" fmla="*/ 0 w 887860"/>
                  <a:gd name="connsiteY27" fmla="*/ 803282 h 887860"/>
                  <a:gd name="connsiteX28" fmla="*/ 795060 w 887860"/>
                  <a:gd name="connsiteY28" fmla="*/ 547493 h 887860"/>
                  <a:gd name="connsiteX29" fmla="*/ 887860 w 887860"/>
                  <a:gd name="connsiteY29" fmla="*/ 547493 h 887860"/>
                  <a:gd name="connsiteX30" fmla="*/ 887860 w 887860"/>
                  <a:gd name="connsiteY30" fmla="*/ 673960 h 887860"/>
                  <a:gd name="connsiteX31" fmla="*/ 795060 w 887860"/>
                  <a:gd name="connsiteY31" fmla="*/ 673960 h 887860"/>
                  <a:gd name="connsiteX32" fmla="*/ 0 w 887860"/>
                  <a:gd name="connsiteY32" fmla="*/ 547493 h 887860"/>
                  <a:gd name="connsiteX33" fmla="*/ 92800 w 887860"/>
                  <a:gd name="connsiteY33" fmla="*/ 547493 h 887860"/>
                  <a:gd name="connsiteX34" fmla="*/ 92800 w 887860"/>
                  <a:gd name="connsiteY34" fmla="*/ 673960 h 887860"/>
                  <a:gd name="connsiteX35" fmla="*/ 0 w 887860"/>
                  <a:gd name="connsiteY35" fmla="*/ 673960 h 887860"/>
                  <a:gd name="connsiteX36" fmla="*/ 795060 w 887860"/>
                  <a:gd name="connsiteY36" fmla="*/ 375307 h 887860"/>
                  <a:gd name="connsiteX37" fmla="*/ 887860 w 887860"/>
                  <a:gd name="connsiteY37" fmla="*/ 375307 h 887860"/>
                  <a:gd name="connsiteX38" fmla="*/ 887860 w 887860"/>
                  <a:gd name="connsiteY38" fmla="*/ 501774 h 887860"/>
                  <a:gd name="connsiteX39" fmla="*/ 795060 w 887860"/>
                  <a:gd name="connsiteY39" fmla="*/ 501774 h 887860"/>
                  <a:gd name="connsiteX40" fmla="*/ 0 w 887860"/>
                  <a:gd name="connsiteY40" fmla="*/ 375307 h 887860"/>
                  <a:gd name="connsiteX41" fmla="*/ 92800 w 887860"/>
                  <a:gd name="connsiteY41" fmla="*/ 375307 h 887860"/>
                  <a:gd name="connsiteX42" fmla="*/ 92800 w 887860"/>
                  <a:gd name="connsiteY42" fmla="*/ 501774 h 887860"/>
                  <a:gd name="connsiteX43" fmla="*/ 0 w 887860"/>
                  <a:gd name="connsiteY43" fmla="*/ 501774 h 887860"/>
                  <a:gd name="connsiteX44" fmla="*/ 0 w 887860"/>
                  <a:gd name="connsiteY44" fmla="*/ 203121 h 887860"/>
                  <a:gd name="connsiteX45" fmla="*/ 92800 w 887860"/>
                  <a:gd name="connsiteY45" fmla="*/ 203121 h 887860"/>
                  <a:gd name="connsiteX46" fmla="*/ 92800 w 887860"/>
                  <a:gd name="connsiteY46" fmla="*/ 329588 h 887860"/>
                  <a:gd name="connsiteX47" fmla="*/ 0 w 887860"/>
                  <a:gd name="connsiteY47" fmla="*/ 329588 h 887860"/>
                  <a:gd name="connsiteX48" fmla="*/ 382967 w 887860"/>
                  <a:gd name="connsiteY48" fmla="*/ 0 h 887860"/>
                  <a:gd name="connsiteX49" fmla="*/ 509434 w 887860"/>
                  <a:gd name="connsiteY49" fmla="*/ 0 h 887860"/>
                  <a:gd name="connsiteX50" fmla="*/ 509434 w 887860"/>
                  <a:gd name="connsiteY50" fmla="*/ 92800 h 887860"/>
                  <a:gd name="connsiteX51" fmla="*/ 382967 w 887860"/>
                  <a:gd name="connsiteY51" fmla="*/ 92800 h 887860"/>
                  <a:gd name="connsiteX52" fmla="*/ 210781 w 887860"/>
                  <a:gd name="connsiteY52" fmla="*/ 0 h 887860"/>
                  <a:gd name="connsiteX53" fmla="*/ 337248 w 887860"/>
                  <a:gd name="connsiteY53" fmla="*/ 0 h 887860"/>
                  <a:gd name="connsiteX54" fmla="*/ 337248 w 887860"/>
                  <a:gd name="connsiteY54" fmla="*/ 92800 h 887860"/>
                  <a:gd name="connsiteX55" fmla="*/ 210781 w 887860"/>
                  <a:gd name="connsiteY55" fmla="*/ 92800 h 887860"/>
                  <a:gd name="connsiteX56" fmla="*/ 84578 w 887860"/>
                  <a:gd name="connsiteY56" fmla="*/ 0 h 887860"/>
                  <a:gd name="connsiteX57" fmla="*/ 165062 w 887860"/>
                  <a:gd name="connsiteY57" fmla="*/ 0 h 887860"/>
                  <a:gd name="connsiteX58" fmla="*/ 165062 w 887860"/>
                  <a:gd name="connsiteY58" fmla="*/ 92800 h 887860"/>
                  <a:gd name="connsiteX59" fmla="*/ 132878 w 887860"/>
                  <a:gd name="connsiteY59" fmla="*/ 92800 h 887860"/>
                  <a:gd name="connsiteX60" fmla="*/ 92800 w 887860"/>
                  <a:gd name="connsiteY60" fmla="*/ 132878 h 887860"/>
                  <a:gd name="connsiteX61" fmla="*/ 92800 w 887860"/>
                  <a:gd name="connsiteY61" fmla="*/ 157402 h 887860"/>
                  <a:gd name="connsiteX62" fmla="*/ 0 w 887860"/>
                  <a:gd name="connsiteY62" fmla="*/ 157402 h 887860"/>
                  <a:gd name="connsiteX63" fmla="*/ 0 w 887860"/>
                  <a:gd name="connsiteY63" fmla="*/ 84578 h 887860"/>
                  <a:gd name="connsiteX64" fmla="*/ 84578 w 887860"/>
                  <a:gd name="connsiteY64" fmla="*/ 0 h 88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87860" h="887860">
                    <a:moveTo>
                      <a:pt x="555153" y="795060"/>
                    </a:moveTo>
                    <a:lnTo>
                      <a:pt x="681620" y="795060"/>
                    </a:lnTo>
                    <a:lnTo>
                      <a:pt x="681620" y="887860"/>
                    </a:lnTo>
                    <a:lnTo>
                      <a:pt x="555153" y="887860"/>
                    </a:lnTo>
                    <a:close/>
                    <a:moveTo>
                      <a:pt x="382967" y="795060"/>
                    </a:moveTo>
                    <a:lnTo>
                      <a:pt x="509434" y="795060"/>
                    </a:lnTo>
                    <a:lnTo>
                      <a:pt x="509434" y="887860"/>
                    </a:lnTo>
                    <a:lnTo>
                      <a:pt x="382967" y="887860"/>
                    </a:lnTo>
                    <a:close/>
                    <a:moveTo>
                      <a:pt x="210781" y="795060"/>
                    </a:moveTo>
                    <a:lnTo>
                      <a:pt x="337248" y="795060"/>
                    </a:lnTo>
                    <a:lnTo>
                      <a:pt x="337248" y="887860"/>
                    </a:lnTo>
                    <a:lnTo>
                      <a:pt x="210781" y="887860"/>
                    </a:lnTo>
                    <a:close/>
                    <a:moveTo>
                      <a:pt x="795060" y="719679"/>
                    </a:moveTo>
                    <a:lnTo>
                      <a:pt x="887860" y="719679"/>
                    </a:lnTo>
                    <a:lnTo>
                      <a:pt x="887860" y="803282"/>
                    </a:lnTo>
                    <a:cubicBezTo>
                      <a:pt x="887860" y="849993"/>
                      <a:pt x="849993" y="887860"/>
                      <a:pt x="803282" y="887860"/>
                    </a:cubicBezTo>
                    <a:lnTo>
                      <a:pt x="727339" y="887860"/>
                    </a:lnTo>
                    <a:lnTo>
                      <a:pt x="727339" y="795060"/>
                    </a:lnTo>
                    <a:lnTo>
                      <a:pt x="754982" y="795060"/>
                    </a:lnTo>
                    <a:cubicBezTo>
                      <a:pt x="777116" y="795060"/>
                      <a:pt x="795060" y="777116"/>
                      <a:pt x="795060" y="754982"/>
                    </a:cubicBezTo>
                    <a:close/>
                    <a:moveTo>
                      <a:pt x="0" y="719679"/>
                    </a:moveTo>
                    <a:lnTo>
                      <a:pt x="92800" y="719679"/>
                    </a:lnTo>
                    <a:lnTo>
                      <a:pt x="92800" y="754982"/>
                    </a:lnTo>
                    <a:cubicBezTo>
                      <a:pt x="92800" y="777116"/>
                      <a:pt x="110744" y="795060"/>
                      <a:pt x="132878" y="795060"/>
                    </a:cubicBezTo>
                    <a:lnTo>
                      <a:pt x="165062" y="795060"/>
                    </a:lnTo>
                    <a:lnTo>
                      <a:pt x="165062" y="887860"/>
                    </a:lnTo>
                    <a:lnTo>
                      <a:pt x="84578" y="887860"/>
                    </a:lnTo>
                    <a:cubicBezTo>
                      <a:pt x="37867" y="887860"/>
                      <a:pt x="0" y="849993"/>
                      <a:pt x="0" y="803282"/>
                    </a:cubicBezTo>
                    <a:close/>
                    <a:moveTo>
                      <a:pt x="795060" y="547493"/>
                    </a:moveTo>
                    <a:lnTo>
                      <a:pt x="887860" y="547493"/>
                    </a:lnTo>
                    <a:lnTo>
                      <a:pt x="887860" y="673960"/>
                    </a:lnTo>
                    <a:lnTo>
                      <a:pt x="795060" y="673960"/>
                    </a:lnTo>
                    <a:close/>
                    <a:moveTo>
                      <a:pt x="0" y="547493"/>
                    </a:moveTo>
                    <a:lnTo>
                      <a:pt x="92800" y="547493"/>
                    </a:lnTo>
                    <a:lnTo>
                      <a:pt x="92800" y="673960"/>
                    </a:lnTo>
                    <a:lnTo>
                      <a:pt x="0" y="673960"/>
                    </a:lnTo>
                    <a:close/>
                    <a:moveTo>
                      <a:pt x="795060" y="375307"/>
                    </a:moveTo>
                    <a:lnTo>
                      <a:pt x="887860" y="375307"/>
                    </a:lnTo>
                    <a:lnTo>
                      <a:pt x="887860" y="501774"/>
                    </a:lnTo>
                    <a:lnTo>
                      <a:pt x="795060" y="501774"/>
                    </a:lnTo>
                    <a:close/>
                    <a:moveTo>
                      <a:pt x="0" y="375307"/>
                    </a:moveTo>
                    <a:lnTo>
                      <a:pt x="92800" y="375307"/>
                    </a:lnTo>
                    <a:lnTo>
                      <a:pt x="92800" y="501774"/>
                    </a:lnTo>
                    <a:lnTo>
                      <a:pt x="0" y="501774"/>
                    </a:lnTo>
                    <a:close/>
                    <a:moveTo>
                      <a:pt x="0" y="203121"/>
                    </a:moveTo>
                    <a:lnTo>
                      <a:pt x="92800" y="203121"/>
                    </a:lnTo>
                    <a:lnTo>
                      <a:pt x="92800" y="329588"/>
                    </a:lnTo>
                    <a:lnTo>
                      <a:pt x="0" y="329588"/>
                    </a:lnTo>
                    <a:close/>
                    <a:moveTo>
                      <a:pt x="382967" y="0"/>
                    </a:moveTo>
                    <a:lnTo>
                      <a:pt x="509434" y="0"/>
                    </a:lnTo>
                    <a:lnTo>
                      <a:pt x="509434" y="92800"/>
                    </a:lnTo>
                    <a:lnTo>
                      <a:pt x="382967" y="92800"/>
                    </a:lnTo>
                    <a:close/>
                    <a:moveTo>
                      <a:pt x="210781" y="0"/>
                    </a:moveTo>
                    <a:lnTo>
                      <a:pt x="337248" y="0"/>
                    </a:lnTo>
                    <a:lnTo>
                      <a:pt x="337248" y="92800"/>
                    </a:lnTo>
                    <a:lnTo>
                      <a:pt x="210781" y="92800"/>
                    </a:lnTo>
                    <a:close/>
                    <a:moveTo>
                      <a:pt x="84578" y="0"/>
                    </a:moveTo>
                    <a:lnTo>
                      <a:pt x="165062" y="0"/>
                    </a:lnTo>
                    <a:lnTo>
                      <a:pt x="165062" y="92800"/>
                    </a:lnTo>
                    <a:lnTo>
                      <a:pt x="132878" y="92800"/>
                    </a:lnTo>
                    <a:cubicBezTo>
                      <a:pt x="110744" y="92800"/>
                      <a:pt x="92800" y="110744"/>
                      <a:pt x="92800" y="132878"/>
                    </a:cubicBezTo>
                    <a:lnTo>
                      <a:pt x="92800" y="157402"/>
                    </a:lnTo>
                    <a:lnTo>
                      <a:pt x="0" y="157402"/>
                    </a:lnTo>
                    <a:lnTo>
                      <a:pt x="0" y="84578"/>
                    </a:lnTo>
                    <a:cubicBezTo>
                      <a:pt x="0" y="37867"/>
                      <a:pt x="37867" y="0"/>
                      <a:pt x="84578" y="0"/>
                    </a:cubicBez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3" name="Freeform: Shape 172"/>
              <p:cNvSpPr/>
              <p:nvPr/>
            </p:nvSpPr>
            <p:spPr bwMode="auto">
              <a:xfrm>
                <a:off x="6773875" y="5181600"/>
                <a:ext cx="563271" cy="565709"/>
              </a:xfrm>
              <a:custGeom>
                <a:avLst/>
                <a:gdLst>
                  <a:gd name="connsiteX0" fmla="*/ 52429 w 563271"/>
                  <a:gd name="connsiteY0" fmla="*/ 0 h 565709"/>
                  <a:gd name="connsiteX1" fmla="*/ 251155 w 563271"/>
                  <a:gd name="connsiteY1" fmla="*/ 0 h 565709"/>
                  <a:gd name="connsiteX2" fmla="*/ 251155 w 563271"/>
                  <a:gd name="connsiteY2" fmla="*/ 67056 h 565709"/>
                  <a:gd name="connsiteX3" fmla="*/ 79947 w 563271"/>
                  <a:gd name="connsiteY3" fmla="*/ 67056 h 565709"/>
                  <a:gd name="connsiteX4" fmla="*/ 66767 w 563271"/>
                  <a:gd name="connsiteY4" fmla="*/ 80236 h 565709"/>
                  <a:gd name="connsiteX5" fmla="*/ 66767 w 563271"/>
                  <a:gd name="connsiteY5" fmla="*/ 485473 h 565709"/>
                  <a:gd name="connsiteX6" fmla="*/ 79947 w 563271"/>
                  <a:gd name="connsiteY6" fmla="*/ 498653 h 565709"/>
                  <a:gd name="connsiteX7" fmla="*/ 483324 w 563271"/>
                  <a:gd name="connsiteY7" fmla="*/ 498653 h 565709"/>
                  <a:gd name="connsiteX8" fmla="*/ 496504 w 563271"/>
                  <a:gd name="connsiteY8" fmla="*/ 485473 h 565709"/>
                  <a:gd name="connsiteX9" fmla="*/ 496504 w 563271"/>
                  <a:gd name="connsiteY9" fmla="*/ 312115 h 565709"/>
                  <a:gd name="connsiteX10" fmla="*/ 563271 w 563271"/>
                  <a:gd name="connsiteY10" fmla="*/ 312115 h 565709"/>
                  <a:gd name="connsiteX11" fmla="*/ 563271 w 563271"/>
                  <a:gd name="connsiteY11" fmla="*/ 513280 h 565709"/>
                  <a:gd name="connsiteX12" fmla="*/ 510842 w 563271"/>
                  <a:gd name="connsiteY12" fmla="*/ 565709 h 565709"/>
                  <a:gd name="connsiteX13" fmla="*/ 52429 w 563271"/>
                  <a:gd name="connsiteY13" fmla="*/ 565709 h 565709"/>
                  <a:gd name="connsiteX14" fmla="*/ 0 w 563271"/>
                  <a:gd name="connsiteY14" fmla="*/ 513280 h 565709"/>
                  <a:gd name="connsiteX15" fmla="*/ 0 w 563271"/>
                  <a:gd name="connsiteY15" fmla="*/ 52429 h 565709"/>
                  <a:gd name="connsiteX16" fmla="*/ 52429 w 563271"/>
                  <a:gd name="connsiteY16" fmla="*/ 0 h 56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3271" h="565709">
                    <a:moveTo>
                      <a:pt x="52429" y="0"/>
                    </a:moveTo>
                    <a:lnTo>
                      <a:pt x="251155" y="0"/>
                    </a:lnTo>
                    <a:lnTo>
                      <a:pt x="251155" y="67056"/>
                    </a:lnTo>
                    <a:lnTo>
                      <a:pt x="79947" y="67056"/>
                    </a:lnTo>
                    <a:cubicBezTo>
                      <a:pt x="72668" y="67056"/>
                      <a:pt x="66767" y="72957"/>
                      <a:pt x="66767" y="80236"/>
                    </a:cubicBezTo>
                    <a:lnTo>
                      <a:pt x="66767" y="485473"/>
                    </a:lnTo>
                    <a:cubicBezTo>
                      <a:pt x="66767" y="492752"/>
                      <a:pt x="72668" y="498653"/>
                      <a:pt x="79947" y="498653"/>
                    </a:cubicBezTo>
                    <a:lnTo>
                      <a:pt x="483324" y="498653"/>
                    </a:lnTo>
                    <a:cubicBezTo>
                      <a:pt x="490603" y="498653"/>
                      <a:pt x="496504" y="492752"/>
                      <a:pt x="496504" y="485473"/>
                    </a:cubicBezTo>
                    <a:lnTo>
                      <a:pt x="496504" y="312115"/>
                    </a:lnTo>
                    <a:lnTo>
                      <a:pt x="563271" y="312115"/>
                    </a:lnTo>
                    <a:lnTo>
                      <a:pt x="563271" y="513280"/>
                    </a:lnTo>
                    <a:cubicBezTo>
                      <a:pt x="563271" y="542236"/>
                      <a:pt x="539798" y="565709"/>
                      <a:pt x="510842" y="565709"/>
                    </a:cubicBezTo>
                    <a:lnTo>
                      <a:pt x="52429" y="565709"/>
                    </a:lnTo>
                    <a:cubicBezTo>
                      <a:pt x="23473" y="565709"/>
                      <a:pt x="0" y="542236"/>
                      <a:pt x="0" y="513280"/>
                    </a:cubicBezTo>
                    <a:lnTo>
                      <a:pt x="0" y="52429"/>
                    </a:lnTo>
                    <a:cubicBezTo>
                      <a:pt x="0" y="23473"/>
                      <a:pt x="23473" y="0"/>
                      <a:pt x="52429" y="0"/>
                    </a:cubicBezTo>
                    <a:close/>
                  </a:path>
                </a:pathLst>
              </a:custGeom>
              <a:solidFill>
                <a:srgbClr val="A0A1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4" name="Freeform: Shape 173"/>
              <p:cNvSpPr/>
              <p:nvPr/>
            </p:nvSpPr>
            <p:spPr bwMode="auto">
              <a:xfrm rot="2700000">
                <a:off x="7050058" y="4922161"/>
                <a:ext cx="343011" cy="710332"/>
              </a:xfrm>
              <a:custGeom>
                <a:avLst/>
                <a:gdLst>
                  <a:gd name="connsiteX0" fmla="*/ 171506 w 343011"/>
                  <a:gd name="connsiteY0" fmla="*/ 0 h 710332"/>
                  <a:gd name="connsiteX1" fmla="*/ 343011 w 343011"/>
                  <a:gd name="connsiteY1" fmla="*/ 186709 h 710332"/>
                  <a:gd name="connsiteX2" fmla="*/ 232099 w 343011"/>
                  <a:gd name="connsiteY2" fmla="*/ 186709 h 710332"/>
                  <a:gd name="connsiteX3" fmla="*/ 232099 w 343011"/>
                  <a:gd name="connsiteY3" fmla="*/ 710332 h 710332"/>
                  <a:gd name="connsiteX4" fmla="*/ 123944 w 343011"/>
                  <a:gd name="connsiteY4" fmla="*/ 710332 h 710332"/>
                  <a:gd name="connsiteX5" fmla="*/ 123944 w 343011"/>
                  <a:gd name="connsiteY5" fmla="*/ 186709 h 710332"/>
                  <a:gd name="connsiteX6" fmla="*/ 0 w 343011"/>
                  <a:gd name="connsiteY6" fmla="*/ 186709 h 71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011" h="710332">
                    <a:moveTo>
                      <a:pt x="171506" y="0"/>
                    </a:moveTo>
                    <a:lnTo>
                      <a:pt x="343011" y="186709"/>
                    </a:lnTo>
                    <a:lnTo>
                      <a:pt x="232099" y="186709"/>
                    </a:lnTo>
                    <a:lnTo>
                      <a:pt x="232099" y="710332"/>
                    </a:lnTo>
                    <a:lnTo>
                      <a:pt x="123944" y="710332"/>
                    </a:lnTo>
                    <a:lnTo>
                      <a:pt x="123944" y="186709"/>
                    </a:lnTo>
                    <a:lnTo>
                      <a:pt x="0" y="186709"/>
                    </a:lnTo>
                    <a:close/>
                  </a:path>
                </a:pathLst>
              </a:custGeom>
              <a:solidFill>
                <a:srgbClr val="58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35958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0" y="3908850"/>
            <a:ext cx="12268200" cy="2949149"/>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49" name="TextBox 48"/>
          <p:cNvSpPr txBox="1"/>
          <p:nvPr/>
        </p:nvSpPr>
        <p:spPr>
          <a:xfrm>
            <a:off x="78440" y="6527816"/>
            <a:ext cx="4093634" cy="217849"/>
          </a:xfrm>
          <a:prstGeom prst="rect">
            <a:avLst/>
          </a:prstGeom>
          <a:noFill/>
        </p:spPr>
        <p:txBody>
          <a:bodyPr wrap="square" rtlCol="0">
            <a:spAutoFit/>
          </a:bodyPr>
          <a:lstStyle/>
          <a:p>
            <a:pPr defTabSz="896214">
              <a:spcAft>
                <a:spcPts val="600"/>
              </a:spcAft>
              <a:defRPr/>
            </a:pPr>
            <a:r>
              <a:rPr lang="en-US" sz="800" kern="0">
                <a:solidFill>
                  <a:srgbClr val="FFFFFF"/>
                </a:solidFill>
                <a:cs typeface="Segoe UI Semibold" panose="020B0702040204020203" pitchFamily="34" charset="0"/>
              </a:rPr>
              <a:t>Sources: McKinsey; Accenture; Corp Strat analysis</a:t>
            </a:r>
            <a:endParaRPr lang="en-US" sz="500" kern="0">
              <a:solidFill>
                <a:srgbClr val="FFFFFF"/>
              </a:solidFill>
            </a:endParaRPr>
          </a:p>
        </p:txBody>
      </p:sp>
      <p:sp>
        <p:nvSpPr>
          <p:cNvPr id="71" name="Title 3"/>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3921" kern="0">
              <a:solidFill>
                <a:srgbClr val="0072C6"/>
              </a:solidFill>
              <a:cs typeface="Segoe UI Light" panose="020B0502040204020203" pitchFamily="34" charset="0"/>
            </a:endParaRPr>
          </a:p>
        </p:txBody>
      </p:sp>
      <p:sp>
        <p:nvSpPr>
          <p:cNvPr id="3" name="Title 2"/>
          <p:cNvSpPr>
            <a:spLocks noGrp="1"/>
          </p:cNvSpPr>
          <p:nvPr>
            <p:ph type="title"/>
          </p:nvPr>
        </p:nvSpPr>
        <p:spPr/>
        <p:txBody>
          <a:bodyPr/>
          <a:lstStyle/>
          <a:p>
            <a:r>
              <a:rPr lang="en-US"/>
              <a:t>To build connected cars, OEMs, suppliers and partners need</a:t>
            </a:r>
            <a:r>
              <a:rPr lang="is-IS"/>
              <a:t>…</a:t>
            </a:r>
            <a:endParaRPr lang="en-US"/>
          </a:p>
        </p:txBody>
      </p:sp>
      <p:grpSp>
        <p:nvGrpSpPr>
          <p:cNvPr id="64" name="Group 63"/>
          <p:cNvGrpSpPr/>
          <p:nvPr/>
        </p:nvGrpSpPr>
        <p:grpSpPr>
          <a:xfrm>
            <a:off x="5112582" y="2014907"/>
            <a:ext cx="1595085" cy="1595085"/>
            <a:chOff x="3132801" y="3482856"/>
            <a:chExt cx="822960" cy="822960"/>
          </a:xfrm>
        </p:grpSpPr>
        <p:sp>
          <p:nvSpPr>
            <p:cNvPr id="65" name="Oval 64"/>
            <p:cNvSpPr/>
            <p:nvPr/>
          </p:nvSpPr>
          <p:spPr bwMode="auto">
            <a:xfrm>
              <a:off x="3132801" y="3482856"/>
              <a:ext cx="822960" cy="822960"/>
            </a:xfrm>
            <a:prstGeom prst="ellipse">
              <a:avLst/>
            </a:prstGeom>
            <a:solidFill>
              <a:schemeClr val="tx2"/>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800">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213"/>
            <p:cNvSpPr>
              <a:spLocks noChangeAspect="1"/>
            </p:cNvSpPr>
            <p:nvPr/>
          </p:nvSpPr>
          <p:spPr bwMode="auto">
            <a:xfrm>
              <a:off x="3281936" y="3723105"/>
              <a:ext cx="524200" cy="339290"/>
            </a:xfrm>
            <a:custGeom>
              <a:avLst/>
              <a:gdLst/>
              <a:ahLst/>
              <a:cxnLst/>
              <a:rect l="l" t="t" r="r" b="b"/>
              <a:pathLst>
                <a:path w="5073508" h="2985296">
                  <a:moveTo>
                    <a:pt x="1891430" y="1569855"/>
                  </a:moveTo>
                  <a:lnTo>
                    <a:pt x="2401866" y="1923715"/>
                  </a:lnTo>
                  <a:cubicBezTo>
                    <a:pt x="2186836" y="2066720"/>
                    <a:pt x="1264085" y="2738950"/>
                    <a:pt x="676406" y="2615778"/>
                  </a:cubicBezTo>
                  <a:lnTo>
                    <a:pt x="670143" y="2985296"/>
                  </a:lnTo>
                  <a:lnTo>
                    <a:pt x="0" y="2280707"/>
                  </a:lnTo>
                  <a:lnTo>
                    <a:pt x="673274" y="1576118"/>
                  </a:lnTo>
                  <a:lnTo>
                    <a:pt x="676406" y="1948767"/>
                  </a:lnTo>
                  <a:cubicBezTo>
                    <a:pt x="1072019" y="1972775"/>
                    <a:pt x="1520870" y="1780710"/>
                    <a:pt x="1891430" y="1569855"/>
                  </a:cubicBezTo>
                  <a:close/>
                  <a:moveTo>
                    <a:pt x="692255" y="20924"/>
                  </a:moveTo>
                  <a:lnTo>
                    <a:pt x="698193" y="365309"/>
                  </a:lnTo>
                  <a:cubicBezTo>
                    <a:pt x="2093544" y="340570"/>
                    <a:pt x="3064352" y="1935821"/>
                    <a:pt x="4397357" y="1974415"/>
                  </a:cubicBezTo>
                  <a:cubicBezTo>
                    <a:pt x="4395378" y="1845766"/>
                    <a:pt x="4393398" y="1717117"/>
                    <a:pt x="4391419" y="1588468"/>
                  </a:cubicBezTo>
                  <a:lnTo>
                    <a:pt x="5068313" y="2259423"/>
                  </a:lnTo>
                  <a:lnTo>
                    <a:pt x="4385481" y="2948192"/>
                  </a:lnTo>
                  <a:lnTo>
                    <a:pt x="4379544" y="2621620"/>
                  </a:lnTo>
                  <a:cubicBezTo>
                    <a:pt x="2817939" y="2651309"/>
                    <a:pt x="2016353" y="1006575"/>
                    <a:pt x="674442" y="1000638"/>
                  </a:cubicBezTo>
                  <a:cubicBezTo>
                    <a:pt x="676421" y="1131267"/>
                    <a:pt x="678401" y="1261895"/>
                    <a:pt x="680380" y="1392524"/>
                  </a:cubicBezTo>
                  <a:lnTo>
                    <a:pt x="3487" y="674067"/>
                  </a:lnTo>
                  <a:close/>
                  <a:moveTo>
                    <a:pt x="4403365" y="0"/>
                  </a:moveTo>
                  <a:lnTo>
                    <a:pt x="5073508" y="704589"/>
                  </a:lnTo>
                  <a:lnTo>
                    <a:pt x="4400234" y="1409178"/>
                  </a:lnTo>
                  <a:lnTo>
                    <a:pt x="4397102" y="1036529"/>
                  </a:lnTo>
                  <a:cubicBezTo>
                    <a:pt x="4001489" y="1012521"/>
                    <a:pt x="3552638" y="1204586"/>
                    <a:pt x="3182078" y="1415441"/>
                  </a:cubicBezTo>
                  <a:lnTo>
                    <a:pt x="2671642" y="1061581"/>
                  </a:lnTo>
                  <a:cubicBezTo>
                    <a:pt x="2886672" y="918576"/>
                    <a:pt x="3809423" y="246346"/>
                    <a:pt x="4397102" y="369518"/>
                  </a:cubicBez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3600" spc="-5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1955639" y="2014907"/>
            <a:ext cx="1595085" cy="1595085"/>
            <a:chOff x="1842185" y="3482856"/>
            <a:chExt cx="822960" cy="822960"/>
          </a:xfrm>
        </p:grpSpPr>
        <p:sp>
          <p:nvSpPr>
            <p:cNvPr id="70" name="Oval 69"/>
            <p:cNvSpPr/>
            <p:nvPr/>
          </p:nvSpPr>
          <p:spPr bwMode="auto">
            <a:xfrm>
              <a:off x="1842185" y="3482856"/>
              <a:ext cx="822960" cy="822960"/>
            </a:xfrm>
            <a:prstGeom prst="ellipse">
              <a:avLst/>
            </a:prstGeom>
            <a:solidFill>
              <a:schemeClr val="tx2"/>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800">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47"/>
            <p:cNvSpPr/>
            <p:nvPr/>
          </p:nvSpPr>
          <p:spPr>
            <a:xfrm>
              <a:off x="1962135" y="3689706"/>
              <a:ext cx="576268" cy="337930"/>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FFFFF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a:solidFill>
                  <a:srgbClr val="0072C6"/>
                </a:solidFill>
              </a:endParaRPr>
            </a:p>
          </p:txBody>
        </p:sp>
      </p:grpSp>
      <p:sp>
        <p:nvSpPr>
          <p:cNvPr id="67" name="Rectangle 66"/>
          <p:cNvSpPr/>
          <p:nvPr/>
        </p:nvSpPr>
        <p:spPr>
          <a:xfrm>
            <a:off x="1432987" y="4075650"/>
            <a:ext cx="3200400" cy="954107"/>
          </a:xfrm>
          <a:prstGeom prst="rect">
            <a:avLst/>
          </a:prstGeom>
        </p:spPr>
        <p:txBody>
          <a:bodyPr wrap="square" lIns="0" rIns="0">
            <a:spAutoFit/>
          </a:bodyPr>
          <a:lstStyle/>
          <a:p>
            <a:pPr algn="ctr">
              <a:spcAft>
                <a:spcPts val="300"/>
              </a:spcAft>
            </a:pPr>
            <a:r>
              <a:rPr lang="en-US" sz="2800">
                <a:solidFill>
                  <a:srgbClr val="FFFFFF"/>
                </a:solidFill>
                <a:latin typeface="Segoe UI Light"/>
              </a:rPr>
              <a:t>Global Scale &amp; Reliability</a:t>
            </a:r>
          </a:p>
        </p:txBody>
      </p:sp>
      <p:sp>
        <p:nvSpPr>
          <p:cNvPr id="68" name="Rectangle 67"/>
          <p:cNvSpPr/>
          <p:nvPr/>
        </p:nvSpPr>
        <p:spPr>
          <a:xfrm>
            <a:off x="4533900" y="4075650"/>
            <a:ext cx="3200400" cy="954107"/>
          </a:xfrm>
          <a:prstGeom prst="rect">
            <a:avLst/>
          </a:prstGeom>
        </p:spPr>
        <p:txBody>
          <a:bodyPr wrap="square" lIns="0" rIns="0">
            <a:spAutoFit/>
          </a:bodyPr>
          <a:lstStyle/>
          <a:p>
            <a:pPr algn="ctr">
              <a:spcAft>
                <a:spcPts val="300"/>
              </a:spcAft>
            </a:pPr>
            <a:r>
              <a:rPr lang="en-US" sz="2800">
                <a:solidFill>
                  <a:srgbClr val="FFFFFF"/>
                </a:solidFill>
                <a:latin typeface="Segoe UI Light"/>
              </a:rPr>
              <a:t>Flexibility &amp; Openness </a:t>
            </a:r>
          </a:p>
        </p:txBody>
      </p:sp>
      <p:sp>
        <p:nvSpPr>
          <p:cNvPr id="73" name="Rectangle 72"/>
          <p:cNvSpPr/>
          <p:nvPr/>
        </p:nvSpPr>
        <p:spPr>
          <a:xfrm>
            <a:off x="7634813" y="4075650"/>
            <a:ext cx="3200400" cy="954107"/>
          </a:xfrm>
          <a:prstGeom prst="rect">
            <a:avLst/>
          </a:prstGeom>
        </p:spPr>
        <p:txBody>
          <a:bodyPr wrap="square" lIns="0" rIns="0">
            <a:spAutoFit/>
          </a:bodyPr>
          <a:lstStyle/>
          <a:p>
            <a:pPr algn="ctr">
              <a:spcAft>
                <a:spcPts val="300"/>
              </a:spcAft>
            </a:pPr>
            <a:r>
              <a:rPr lang="en-US" sz="2800">
                <a:solidFill>
                  <a:srgbClr val="FFFFFF"/>
                </a:solidFill>
                <a:latin typeface="Segoe UI Light"/>
              </a:rPr>
              <a:t>Security &amp; Compliance</a:t>
            </a:r>
          </a:p>
        </p:txBody>
      </p:sp>
      <p:grpSp>
        <p:nvGrpSpPr>
          <p:cNvPr id="74" name="Group 73"/>
          <p:cNvGrpSpPr/>
          <p:nvPr/>
        </p:nvGrpSpPr>
        <p:grpSpPr>
          <a:xfrm>
            <a:off x="8172484" y="2014907"/>
            <a:ext cx="1595085" cy="1595085"/>
            <a:chOff x="4383745" y="3482856"/>
            <a:chExt cx="822960" cy="822960"/>
          </a:xfrm>
        </p:grpSpPr>
        <p:sp>
          <p:nvSpPr>
            <p:cNvPr id="75" name="Oval 74"/>
            <p:cNvSpPr/>
            <p:nvPr/>
          </p:nvSpPr>
          <p:spPr bwMode="auto">
            <a:xfrm>
              <a:off x="4383745" y="3482856"/>
              <a:ext cx="822960" cy="822960"/>
            </a:xfrm>
            <a:prstGeom prst="ellipse">
              <a:avLst/>
            </a:prstGeom>
            <a:solidFill>
              <a:schemeClr val="tx2"/>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0058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800">
                <a:gradFill>
                  <a:gsLst>
                    <a:gs pos="0">
                      <a:srgbClr val="FFFFFF"/>
                    </a:gs>
                    <a:gs pos="100000">
                      <a:srgbClr val="FFFFFF"/>
                    </a:gs>
                  </a:gsLst>
                  <a:lin ang="5400000" scaled="0"/>
                </a:gradFill>
                <a:ea typeface="Segoe UI" pitchFamily="34" charset="0"/>
                <a:cs typeface="Segoe UI" pitchFamily="34" charset="0"/>
              </a:endParaRPr>
            </a:p>
          </p:txBody>
        </p:sp>
        <p:grpSp>
          <p:nvGrpSpPr>
            <p:cNvPr id="76" name="Group 75"/>
            <p:cNvGrpSpPr/>
            <p:nvPr/>
          </p:nvGrpSpPr>
          <p:grpSpPr>
            <a:xfrm>
              <a:off x="4546915" y="3639491"/>
              <a:ext cx="496620" cy="509691"/>
              <a:chOff x="9352519" y="2464344"/>
              <a:chExt cx="1906588" cy="1889125"/>
            </a:xfrm>
          </p:grpSpPr>
          <p:sp>
            <p:nvSpPr>
              <p:cNvPr id="77" name="Freeform 5"/>
              <p:cNvSpPr>
                <a:spLocks/>
              </p:cNvSpPr>
              <p:nvPr/>
            </p:nvSpPr>
            <p:spPr bwMode="auto">
              <a:xfrm>
                <a:off x="9352519" y="2464344"/>
                <a:ext cx="1906588" cy="1889125"/>
              </a:xfrm>
              <a:custGeom>
                <a:avLst/>
                <a:gdLst>
                  <a:gd name="T0" fmla="*/ 303 w 984"/>
                  <a:gd name="T1" fmla="*/ 0 h 980"/>
                  <a:gd name="T2" fmla="*/ 319 w 984"/>
                  <a:gd name="T3" fmla="*/ 51 h 980"/>
                  <a:gd name="T4" fmla="*/ 307 w 984"/>
                  <a:gd name="T5" fmla="*/ 78 h 980"/>
                  <a:gd name="T6" fmla="*/ 42 w 984"/>
                  <a:gd name="T7" fmla="*/ 594 h 980"/>
                  <a:gd name="T8" fmla="*/ 499 w 984"/>
                  <a:gd name="T9" fmla="*/ 978 h 980"/>
                  <a:gd name="T10" fmla="*/ 737 w 984"/>
                  <a:gd name="T11" fmla="*/ 916 h 980"/>
                  <a:gd name="T12" fmla="*/ 972 w 984"/>
                  <a:gd name="T13" fmla="*/ 567 h 980"/>
                  <a:gd name="T14" fmla="*/ 938 w 984"/>
                  <a:gd name="T15" fmla="*/ 319 h 980"/>
                  <a:gd name="T16" fmla="*/ 928 w 984"/>
                  <a:gd name="T17" fmla="*/ 300 h 980"/>
                  <a:gd name="T18" fmla="*/ 856 w 984"/>
                  <a:gd name="T19" fmla="*/ 338 h 980"/>
                  <a:gd name="T20" fmla="*/ 590 w 984"/>
                  <a:gd name="T21" fmla="*/ 885 h 980"/>
                  <a:gd name="T22" fmla="*/ 121 w 984"/>
                  <a:gd name="T23" fmla="*/ 558 h 980"/>
                  <a:gd name="T24" fmla="*/ 351 w 984"/>
                  <a:gd name="T25" fmla="*/ 155 h 980"/>
                  <a:gd name="T26" fmla="*/ 371 w 984"/>
                  <a:gd name="T27" fmla="*/ 217 h 980"/>
                  <a:gd name="T28" fmla="*/ 446 w 984"/>
                  <a:gd name="T29" fmla="*/ 75 h 980"/>
                  <a:gd name="T30" fmla="*/ 303 w 984"/>
                  <a:gd name="T31" fmla="*/ 0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4" h="980">
                    <a:moveTo>
                      <a:pt x="303" y="0"/>
                    </a:moveTo>
                    <a:cubicBezTo>
                      <a:pt x="309" y="20"/>
                      <a:pt x="313" y="36"/>
                      <a:pt x="319" y="51"/>
                    </a:cubicBezTo>
                    <a:cubicBezTo>
                      <a:pt x="325" y="66"/>
                      <a:pt x="320" y="72"/>
                      <a:pt x="307" y="78"/>
                    </a:cubicBezTo>
                    <a:cubicBezTo>
                      <a:pt x="118" y="164"/>
                      <a:pt x="0" y="372"/>
                      <a:pt x="42" y="594"/>
                    </a:cubicBezTo>
                    <a:cubicBezTo>
                      <a:pt x="81" y="806"/>
                      <a:pt x="263" y="973"/>
                      <a:pt x="499" y="978"/>
                    </a:cubicBezTo>
                    <a:cubicBezTo>
                      <a:pt x="583" y="980"/>
                      <a:pt x="664" y="959"/>
                      <a:pt x="737" y="916"/>
                    </a:cubicBezTo>
                    <a:cubicBezTo>
                      <a:pt x="871" y="838"/>
                      <a:pt x="950" y="722"/>
                      <a:pt x="972" y="567"/>
                    </a:cubicBezTo>
                    <a:cubicBezTo>
                      <a:pt x="984" y="481"/>
                      <a:pt x="971" y="399"/>
                      <a:pt x="938" y="319"/>
                    </a:cubicBezTo>
                    <a:cubicBezTo>
                      <a:pt x="936" y="313"/>
                      <a:pt x="932" y="307"/>
                      <a:pt x="928" y="300"/>
                    </a:cubicBezTo>
                    <a:cubicBezTo>
                      <a:pt x="903" y="314"/>
                      <a:pt x="879" y="326"/>
                      <a:pt x="856" y="338"/>
                    </a:cubicBezTo>
                    <a:cubicBezTo>
                      <a:pt x="974" y="612"/>
                      <a:pt x="786" y="842"/>
                      <a:pt x="590" y="885"/>
                    </a:cubicBezTo>
                    <a:cubicBezTo>
                      <a:pt x="369" y="933"/>
                      <a:pt x="154" y="786"/>
                      <a:pt x="121" y="558"/>
                    </a:cubicBezTo>
                    <a:cubicBezTo>
                      <a:pt x="92" y="361"/>
                      <a:pt x="228" y="192"/>
                      <a:pt x="351" y="155"/>
                    </a:cubicBezTo>
                    <a:cubicBezTo>
                      <a:pt x="357" y="175"/>
                      <a:pt x="364" y="194"/>
                      <a:pt x="371" y="217"/>
                    </a:cubicBezTo>
                    <a:cubicBezTo>
                      <a:pt x="397" y="168"/>
                      <a:pt x="421" y="122"/>
                      <a:pt x="446" y="75"/>
                    </a:cubicBezTo>
                    <a:cubicBezTo>
                      <a:pt x="398" y="50"/>
                      <a:pt x="352" y="26"/>
                      <a:pt x="303" y="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78" name="Freeform 6"/>
              <p:cNvSpPr>
                <a:spLocks/>
              </p:cNvSpPr>
              <p:nvPr/>
            </p:nvSpPr>
            <p:spPr bwMode="auto">
              <a:xfrm>
                <a:off x="10049432" y="2967581"/>
                <a:ext cx="739775" cy="665163"/>
              </a:xfrm>
              <a:custGeom>
                <a:avLst/>
                <a:gdLst>
                  <a:gd name="T0" fmla="*/ 0 w 382"/>
                  <a:gd name="T1" fmla="*/ 180 h 345"/>
                  <a:gd name="T2" fmla="*/ 105 w 382"/>
                  <a:gd name="T3" fmla="*/ 322 h 345"/>
                  <a:gd name="T4" fmla="*/ 155 w 382"/>
                  <a:gd name="T5" fmla="*/ 323 h 345"/>
                  <a:gd name="T6" fmla="*/ 327 w 382"/>
                  <a:gd name="T7" fmla="*/ 116 h 345"/>
                  <a:gd name="T8" fmla="*/ 371 w 382"/>
                  <a:gd name="T9" fmla="*/ 59 h 345"/>
                  <a:gd name="T10" fmla="*/ 361 w 382"/>
                  <a:gd name="T11" fmla="*/ 13 h 345"/>
                  <a:gd name="T12" fmla="*/ 309 w 382"/>
                  <a:gd name="T13" fmla="*/ 18 h 345"/>
                  <a:gd name="T14" fmla="*/ 147 w 382"/>
                  <a:gd name="T15" fmla="*/ 231 h 345"/>
                  <a:gd name="T16" fmla="*/ 132 w 382"/>
                  <a:gd name="T17" fmla="*/ 248 h 345"/>
                  <a:gd name="T18" fmla="*/ 99 w 382"/>
                  <a:gd name="T19" fmla="*/ 194 h 345"/>
                  <a:gd name="T20" fmla="*/ 78 w 382"/>
                  <a:gd name="T21" fmla="*/ 181 h 345"/>
                  <a:gd name="T22" fmla="*/ 0 w 382"/>
                  <a:gd name="T23" fmla="*/ 18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2" h="345">
                    <a:moveTo>
                      <a:pt x="0" y="180"/>
                    </a:moveTo>
                    <a:cubicBezTo>
                      <a:pt x="36" y="230"/>
                      <a:pt x="71" y="276"/>
                      <a:pt x="105" y="322"/>
                    </a:cubicBezTo>
                    <a:cubicBezTo>
                      <a:pt x="122" y="345"/>
                      <a:pt x="137" y="345"/>
                      <a:pt x="155" y="323"/>
                    </a:cubicBezTo>
                    <a:cubicBezTo>
                      <a:pt x="213" y="254"/>
                      <a:pt x="270" y="185"/>
                      <a:pt x="327" y="116"/>
                    </a:cubicBezTo>
                    <a:cubicBezTo>
                      <a:pt x="342" y="97"/>
                      <a:pt x="358" y="79"/>
                      <a:pt x="371" y="59"/>
                    </a:cubicBezTo>
                    <a:cubicBezTo>
                      <a:pt x="382" y="43"/>
                      <a:pt x="376" y="23"/>
                      <a:pt x="361" y="13"/>
                    </a:cubicBezTo>
                    <a:cubicBezTo>
                      <a:pt x="341" y="0"/>
                      <a:pt x="322" y="2"/>
                      <a:pt x="309" y="18"/>
                    </a:cubicBezTo>
                    <a:cubicBezTo>
                      <a:pt x="255" y="89"/>
                      <a:pt x="201" y="160"/>
                      <a:pt x="147" y="231"/>
                    </a:cubicBezTo>
                    <a:cubicBezTo>
                      <a:pt x="143" y="236"/>
                      <a:pt x="138" y="241"/>
                      <a:pt x="132" y="248"/>
                    </a:cubicBezTo>
                    <a:cubicBezTo>
                      <a:pt x="120" y="228"/>
                      <a:pt x="111" y="210"/>
                      <a:pt x="99" y="194"/>
                    </a:cubicBezTo>
                    <a:cubicBezTo>
                      <a:pt x="95" y="188"/>
                      <a:pt x="86" y="181"/>
                      <a:pt x="78" y="181"/>
                    </a:cubicBezTo>
                    <a:cubicBezTo>
                      <a:pt x="54" y="179"/>
                      <a:pt x="29" y="180"/>
                      <a:pt x="0" y="18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79" name="Freeform 7"/>
              <p:cNvSpPr>
                <a:spLocks/>
              </p:cNvSpPr>
              <p:nvPr/>
            </p:nvSpPr>
            <p:spPr bwMode="auto">
              <a:xfrm>
                <a:off x="10944782" y="2912019"/>
                <a:ext cx="185738" cy="158750"/>
              </a:xfrm>
              <a:custGeom>
                <a:avLst/>
                <a:gdLst>
                  <a:gd name="T0" fmla="*/ 67 w 96"/>
                  <a:gd name="T1" fmla="*/ 0 h 83"/>
                  <a:gd name="T2" fmla="*/ 0 w 96"/>
                  <a:gd name="T3" fmla="*/ 52 h 83"/>
                  <a:gd name="T4" fmla="*/ 22 w 96"/>
                  <a:gd name="T5" fmla="*/ 83 h 83"/>
                  <a:gd name="T6" fmla="*/ 96 w 96"/>
                  <a:gd name="T7" fmla="*/ 45 h 83"/>
                  <a:gd name="T8" fmla="*/ 67 w 96"/>
                  <a:gd name="T9" fmla="*/ 0 h 83"/>
                </a:gdLst>
                <a:ahLst/>
                <a:cxnLst>
                  <a:cxn ang="0">
                    <a:pos x="T0" y="T1"/>
                  </a:cxn>
                  <a:cxn ang="0">
                    <a:pos x="T2" y="T3"/>
                  </a:cxn>
                  <a:cxn ang="0">
                    <a:pos x="T4" y="T5"/>
                  </a:cxn>
                  <a:cxn ang="0">
                    <a:pos x="T6" y="T7"/>
                  </a:cxn>
                  <a:cxn ang="0">
                    <a:pos x="T8" y="T9"/>
                  </a:cxn>
                </a:cxnLst>
                <a:rect l="0" t="0" r="r" b="b"/>
                <a:pathLst>
                  <a:path w="96" h="83">
                    <a:moveTo>
                      <a:pt x="67" y="0"/>
                    </a:moveTo>
                    <a:cubicBezTo>
                      <a:pt x="43" y="18"/>
                      <a:pt x="22" y="35"/>
                      <a:pt x="0" y="52"/>
                    </a:cubicBezTo>
                    <a:cubicBezTo>
                      <a:pt x="8" y="63"/>
                      <a:pt x="15" y="73"/>
                      <a:pt x="22" y="83"/>
                    </a:cubicBezTo>
                    <a:cubicBezTo>
                      <a:pt x="47" y="70"/>
                      <a:pt x="71" y="58"/>
                      <a:pt x="96" y="45"/>
                    </a:cubicBezTo>
                    <a:cubicBezTo>
                      <a:pt x="86" y="29"/>
                      <a:pt x="77" y="15"/>
                      <a:pt x="67" y="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80" name="Freeform 8"/>
              <p:cNvSpPr>
                <a:spLocks/>
              </p:cNvSpPr>
              <p:nvPr/>
            </p:nvSpPr>
            <p:spPr bwMode="auto">
              <a:xfrm>
                <a:off x="10866995" y="2796131"/>
                <a:ext cx="171450" cy="163513"/>
              </a:xfrm>
              <a:custGeom>
                <a:avLst/>
                <a:gdLst>
                  <a:gd name="T0" fmla="*/ 56 w 88"/>
                  <a:gd name="T1" fmla="*/ 0 h 85"/>
                  <a:gd name="T2" fmla="*/ 0 w 88"/>
                  <a:gd name="T3" fmla="*/ 62 h 85"/>
                  <a:gd name="T4" fmla="*/ 21 w 88"/>
                  <a:gd name="T5" fmla="*/ 85 h 85"/>
                  <a:gd name="T6" fmla="*/ 88 w 88"/>
                  <a:gd name="T7" fmla="*/ 33 h 85"/>
                  <a:gd name="T8" fmla="*/ 56 w 88"/>
                  <a:gd name="T9" fmla="*/ 0 h 85"/>
                </a:gdLst>
                <a:ahLst/>
                <a:cxnLst>
                  <a:cxn ang="0">
                    <a:pos x="T0" y="T1"/>
                  </a:cxn>
                  <a:cxn ang="0">
                    <a:pos x="T2" y="T3"/>
                  </a:cxn>
                  <a:cxn ang="0">
                    <a:pos x="T4" y="T5"/>
                  </a:cxn>
                  <a:cxn ang="0">
                    <a:pos x="T6" y="T7"/>
                  </a:cxn>
                  <a:cxn ang="0">
                    <a:pos x="T8" y="T9"/>
                  </a:cxn>
                </a:cxnLst>
                <a:rect l="0" t="0" r="r" b="b"/>
                <a:pathLst>
                  <a:path w="88" h="85">
                    <a:moveTo>
                      <a:pt x="56" y="0"/>
                    </a:moveTo>
                    <a:cubicBezTo>
                      <a:pt x="37" y="22"/>
                      <a:pt x="18" y="41"/>
                      <a:pt x="0" y="62"/>
                    </a:cubicBezTo>
                    <a:cubicBezTo>
                      <a:pt x="7" y="70"/>
                      <a:pt x="14" y="77"/>
                      <a:pt x="21" y="85"/>
                    </a:cubicBezTo>
                    <a:cubicBezTo>
                      <a:pt x="43" y="67"/>
                      <a:pt x="65" y="51"/>
                      <a:pt x="88" y="33"/>
                    </a:cubicBezTo>
                    <a:cubicBezTo>
                      <a:pt x="76" y="22"/>
                      <a:pt x="67" y="12"/>
                      <a:pt x="56" y="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81" name="Freeform 9"/>
              <p:cNvSpPr>
                <a:spLocks/>
              </p:cNvSpPr>
              <p:nvPr/>
            </p:nvSpPr>
            <p:spPr bwMode="auto">
              <a:xfrm>
                <a:off x="10771745" y="2697706"/>
                <a:ext cx="146050" cy="163513"/>
              </a:xfrm>
              <a:custGeom>
                <a:avLst/>
                <a:gdLst>
                  <a:gd name="T0" fmla="*/ 45 w 75"/>
                  <a:gd name="T1" fmla="*/ 0 h 85"/>
                  <a:gd name="T2" fmla="*/ 0 w 75"/>
                  <a:gd name="T3" fmla="*/ 72 h 85"/>
                  <a:gd name="T4" fmla="*/ 19 w 75"/>
                  <a:gd name="T5" fmla="*/ 85 h 85"/>
                  <a:gd name="T6" fmla="*/ 75 w 75"/>
                  <a:gd name="T7" fmla="*/ 24 h 85"/>
                  <a:gd name="T8" fmla="*/ 45 w 75"/>
                  <a:gd name="T9" fmla="*/ 0 h 85"/>
                </a:gdLst>
                <a:ahLst/>
                <a:cxnLst>
                  <a:cxn ang="0">
                    <a:pos x="T0" y="T1"/>
                  </a:cxn>
                  <a:cxn ang="0">
                    <a:pos x="T2" y="T3"/>
                  </a:cxn>
                  <a:cxn ang="0">
                    <a:pos x="T4" y="T5"/>
                  </a:cxn>
                  <a:cxn ang="0">
                    <a:pos x="T6" y="T7"/>
                  </a:cxn>
                  <a:cxn ang="0">
                    <a:pos x="T8" y="T9"/>
                  </a:cxn>
                </a:cxnLst>
                <a:rect l="0" t="0" r="r" b="b"/>
                <a:pathLst>
                  <a:path w="75" h="85">
                    <a:moveTo>
                      <a:pt x="45" y="0"/>
                    </a:moveTo>
                    <a:cubicBezTo>
                      <a:pt x="29" y="25"/>
                      <a:pt x="15" y="48"/>
                      <a:pt x="0" y="72"/>
                    </a:cubicBezTo>
                    <a:cubicBezTo>
                      <a:pt x="7" y="77"/>
                      <a:pt x="13" y="81"/>
                      <a:pt x="19" y="85"/>
                    </a:cubicBezTo>
                    <a:cubicBezTo>
                      <a:pt x="38" y="64"/>
                      <a:pt x="56" y="45"/>
                      <a:pt x="75" y="24"/>
                    </a:cubicBezTo>
                    <a:cubicBezTo>
                      <a:pt x="65" y="16"/>
                      <a:pt x="56" y="9"/>
                      <a:pt x="45" y="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82" name="Freeform 10"/>
              <p:cNvSpPr>
                <a:spLocks/>
              </p:cNvSpPr>
              <p:nvPr/>
            </p:nvSpPr>
            <p:spPr bwMode="auto">
              <a:xfrm>
                <a:off x="10305020" y="3888331"/>
                <a:ext cx="50800" cy="138113"/>
              </a:xfrm>
              <a:custGeom>
                <a:avLst/>
                <a:gdLst>
                  <a:gd name="T0" fmla="*/ 26 w 26"/>
                  <a:gd name="T1" fmla="*/ 71 h 71"/>
                  <a:gd name="T2" fmla="*/ 26 w 26"/>
                  <a:gd name="T3" fmla="*/ 0 h 71"/>
                  <a:gd name="T4" fmla="*/ 0 w 26"/>
                  <a:gd name="T5" fmla="*/ 0 h 71"/>
                  <a:gd name="T6" fmla="*/ 0 w 26"/>
                  <a:gd name="T7" fmla="*/ 71 h 71"/>
                  <a:gd name="T8" fmla="*/ 26 w 26"/>
                  <a:gd name="T9" fmla="*/ 71 h 71"/>
                </a:gdLst>
                <a:ahLst/>
                <a:cxnLst>
                  <a:cxn ang="0">
                    <a:pos x="T0" y="T1"/>
                  </a:cxn>
                  <a:cxn ang="0">
                    <a:pos x="T2" y="T3"/>
                  </a:cxn>
                  <a:cxn ang="0">
                    <a:pos x="T4" y="T5"/>
                  </a:cxn>
                  <a:cxn ang="0">
                    <a:pos x="T6" y="T7"/>
                  </a:cxn>
                  <a:cxn ang="0">
                    <a:pos x="T8" y="T9"/>
                  </a:cxn>
                </a:cxnLst>
                <a:rect l="0" t="0" r="r" b="b"/>
                <a:pathLst>
                  <a:path w="26" h="71">
                    <a:moveTo>
                      <a:pt x="26" y="71"/>
                    </a:moveTo>
                    <a:cubicBezTo>
                      <a:pt x="26" y="46"/>
                      <a:pt x="26" y="23"/>
                      <a:pt x="26" y="0"/>
                    </a:cubicBezTo>
                    <a:cubicBezTo>
                      <a:pt x="16" y="0"/>
                      <a:pt x="8" y="0"/>
                      <a:pt x="0" y="0"/>
                    </a:cubicBezTo>
                    <a:cubicBezTo>
                      <a:pt x="0" y="24"/>
                      <a:pt x="0" y="47"/>
                      <a:pt x="0" y="71"/>
                    </a:cubicBezTo>
                    <a:cubicBezTo>
                      <a:pt x="9" y="71"/>
                      <a:pt x="17" y="71"/>
                      <a:pt x="26" y="7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83" name="Freeform 11"/>
              <p:cNvSpPr>
                <a:spLocks/>
              </p:cNvSpPr>
              <p:nvPr/>
            </p:nvSpPr>
            <p:spPr bwMode="auto">
              <a:xfrm>
                <a:off x="9895445" y="3005681"/>
                <a:ext cx="131763" cy="131763"/>
              </a:xfrm>
              <a:custGeom>
                <a:avLst/>
                <a:gdLst>
                  <a:gd name="T0" fmla="*/ 18 w 68"/>
                  <a:gd name="T1" fmla="*/ 0 h 68"/>
                  <a:gd name="T2" fmla="*/ 0 w 68"/>
                  <a:gd name="T3" fmla="*/ 16 h 68"/>
                  <a:gd name="T4" fmla="*/ 50 w 68"/>
                  <a:gd name="T5" fmla="*/ 68 h 68"/>
                  <a:gd name="T6" fmla="*/ 68 w 68"/>
                  <a:gd name="T7" fmla="*/ 52 h 68"/>
                  <a:gd name="T8" fmla="*/ 18 w 68"/>
                  <a:gd name="T9" fmla="*/ 0 h 68"/>
                </a:gdLst>
                <a:ahLst/>
                <a:cxnLst>
                  <a:cxn ang="0">
                    <a:pos x="T0" y="T1"/>
                  </a:cxn>
                  <a:cxn ang="0">
                    <a:pos x="T2" y="T3"/>
                  </a:cxn>
                  <a:cxn ang="0">
                    <a:pos x="T4" y="T5"/>
                  </a:cxn>
                  <a:cxn ang="0">
                    <a:pos x="T6" y="T7"/>
                  </a:cxn>
                  <a:cxn ang="0">
                    <a:pos x="T8" y="T9"/>
                  </a:cxn>
                </a:cxnLst>
                <a:rect l="0" t="0" r="r" b="b"/>
                <a:pathLst>
                  <a:path w="68" h="68">
                    <a:moveTo>
                      <a:pt x="18" y="0"/>
                    </a:moveTo>
                    <a:cubicBezTo>
                      <a:pt x="11" y="6"/>
                      <a:pt x="4" y="12"/>
                      <a:pt x="0" y="16"/>
                    </a:cubicBezTo>
                    <a:cubicBezTo>
                      <a:pt x="18" y="35"/>
                      <a:pt x="34" y="51"/>
                      <a:pt x="50" y="68"/>
                    </a:cubicBezTo>
                    <a:cubicBezTo>
                      <a:pt x="57" y="63"/>
                      <a:pt x="63" y="57"/>
                      <a:pt x="68" y="52"/>
                    </a:cubicBezTo>
                    <a:cubicBezTo>
                      <a:pt x="51" y="34"/>
                      <a:pt x="35" y="18"/>
                      <a:pt x="18" y="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84" name="Freeform 12"/>
              <p:cNvSpPr>
                <a:spLocks/>
              </p:cNvSpPr>
              <p:nvPr/>
            </p:nvSpPr>
            <p:spPr bwMode="auto">
              <a:xfrm>
                <a:off x="10300257" y="2854869"/>
                <a:ext cx="60325" cy="131763"/>
              </a:xfrm>
              <a:custGeom>
                <a:avLst/>
                <a:gdLst>
                  <a:gd name="T0" fmla="*/ 1 w 31"/>
                  <a:gd name="T1" fmla="*/ 0 h 68"/>
                  <a:gd name="T2" fmla="*/ 2 w 31"/>
                  <a:gd name="T3" fmla="*/ 57 h 68"/>
                  <a:gd name="T4" fmla="*/ 16 w 31"/>
                  <a:gd name="T5" fmla="*/ 68 h 68"/>
                  <a:gd name="T6" fmla="*/ 30 w 31"/>
                  <a:gd name="T7" fmla="*/ 58 h 68"/>
                  <a:gd name="T8" fmla="*/ 30 w 31"/>
                  <a:gd name="T9" fmla="*/ 0 h 68"/>
                  <a:gd name="T10" fmla="*/ 1 w 31"/>
                  <a:gd name="T11" fmla="*/ 0 h 68"/>
                </a:gdLst>
                <a:ahLst/>
                <a:cxnLst>
                  <a:cxn ang="0">
                    <a:pos x="T0" y="T1"/>
                  </a:cxn>
                  <a:cxn ang="0">
                    <a:pos x="T2" y="T3"/>
                  </a:cxn>
                  <a:cxn ang="0">
                    <a:pos x="T4" y="T5"/>
                  </a:cxn>
                  <a:cxn ang="0">
                    <a:pos x="T6" y="T7"/>
                  </a:cxn>
                  <a:cxn ang="0">
                    <a:pos x="T8" y="T9"/>
                  </a:cxn>
                  <a:cxn ang="0">
                    <a:pos x="T10" y="T11"/>
                  </a:cxn>
                </a:cxnLst>
                <a:rect l="0" t="0" r="r" b="b"/>
                <a:pathLst>
                  <a:path w="31" h="68">
                    <a:moveTo>
                      <a:pt x="1" y="0"/>
                    </a:moveTo>
                    <a:cubicBezTo>
                      <a:pt x="1" y="20"/>
                      <a:pt x="0" y="39"/>
                      <a:pt x="2" y="57"/>
                    </a:cubicBezTo>
                    <a:cubicBezTo>
                      <a:pt x="2" y="61"/>
                      <a:pt x="11" y="68"/>
                      <a:pt x="16" y="68"/>
                    </a:cubicBezTo>
                    <a:cubicBezTo>
                      <a:pt x="21" y="68"/>
                      <a:pt x="29" y="62"/>
                      <a:pt x="30" y="58"/>
                    </a:cubicBezTo>
                    <a:cubicBezTo>
                      <a:pt x="31" y="39"/>
                      <a:pt x="30" y="20"/>
                      <a:pt x="30" y="0"/>
                    </a:cubicBezTo>
                    <a:cubicBezTo>
                      <a:pt x="20" y="0"/>
                      <a:pt x="12" y="0"/>
                      <a:pt x="1" y="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85" name="Freeform 13"/>
              <p:cNvSpPr>
                <a:spLocks/>
              </p:cNvSpPr>
              <p:nvPr/>
            </p:nvSpPr>
            <p:spPr bwMode="auto">
              <a:xfrm>
                <a:off x="9898620" y="3747044"/>
                <a:ext cx="122238" cy="122238"/>
              </a:xfrm>
              <a:custGeom>
                <a:avLst/>
                <a:gdLst>
                  <a:gd name="T0" fmla="*/ 63 w 63"/>
                  <a:gd name="T1" fmla="*/ 18 h 64"/>
                  <a:gd name="T2" fmla="*/ 50 w 63"/>
                  <a:gd name="T3" fmla="*/ 0 h 64"/>
                  <a:gd name="T4" fmla="*/ 0 w 63"/>
                  <a:gd name="T5" fmla="*/ 44 h 64"/>
                  <a:gd name="T6" fmla="*/ 14 w 63"/>
                  <a:gd name="T7" fmla="*/ 64 h 64"/>
                  <a:gd name="T8" fmla="*/ 63 w 63"/>
                  <a:gd name="T9" fmla="*/ 18 h 64"/>
                </a:gdLst>
                <a:ahLst/>
                <a:cxnLst>
                  <a:cxn ang="0">
                    <a:pos x="T0" y="T1"/>
                  </a:cxn>
                  <a:cxn ang="0">
                    <a:pos x="T2" y="T3"/>
                  </a:cxn>
                  <a:cxn ang="0">
                    <a:pos x="T4" y="T5"/>
                  </a:cxn>
                  <a:cxn ang="0">
                    <a:pos x="T6" y="T7"/>
                  </a:cxn>
                  <a:cxn ang="0">
                    <a:pos x="T8" y="T9"/>
                  </a:cxn>
                </a:cxnLst>
                <a:rect l="0" t="0" r="r" b="b"/>
                <a:pathLst>
                  <a:path w="63" h="64">
                    <a:moveTo>
                      <a:pt x="63" y="18"/>
                    </a:moveTo>
                    <a:cubicBezTo>
                      <a:pt x="57" y="10"/>
                      <a:pt x="52" y="3"/>
                      <a:pt x="50" y="0"/>
                    </a:cubicBezTo>
                    <a:cubicBezTo>
                      <a:pt x="32" y="16"/>
                      <a:pt x="15" y="31"/>
                      <a:pt x="0" y="44"/>
                    </a:cubicBezTo>
                    <a:cubicBezTo>
                      <a:pt x="5" y="52"/>
                      <a:pt x="10" y="59"/>
                      <a:pt x="14" y="64"/>
                    </a:cubicBezTo>
                    <a:cubicBezTo>
                      <a:pt x="33" y="46"/>
                      <a:pt x="49" y="31"/>
                      <a:pt x="63" y="18"/>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86" name="Freeform 14"/>
              <p:cNvSpPr>
                <a:spLocks/>
              </p:cNvSpPr>
              <p:nvPr/>
            </p:nvSpPr>
            <p:spPr bwMode="auto">
              <a:xfrm>
                <a:off x="10635220" y="3739106"/>
                <a:ext cx="125413" cy="133350"/>
              </a:xfrm>
              <a:custGeom>
                <a:avLst/>
                <a:gdLst>
                  <a:gd name="T0" fmla="*/ 0 w 65"/>
                  <a:gd name="T1" fmla="*/ 16 h 69"/>
                  <a:gd name="T2" fmla="*/ 47 w 65"/>
                  <a:gd name="T3" fmla="*/ 69 h 69"/>
                  <a:gd name="T4" fmla="*/ 65 w 65"/>
                  <a:gd name="T5" fmla="*/ 54 h 69"/>
                  <a:gd name="T6" fmla="*/ 14 w 65"/>
                  <a:gd name="T7" fmla="*/ 0 h 69"/>
                  <a:gd name="T8" fmla="*/ 0 w 65"/>
                  <a:gd name="T9" fmla="*/ 16 h 69"/>
                </a:gdLst>
                <a:ahLst/>
                <a:cxnLst>
                  <a:cxn ang="0">
                    <a:pos x="T0" y="T1"/>
                  </a:cxn>
                  <a:cxn ang="0">
                    <a:pos x="T2" y="T3"/>
                  </a:cxn>
                  <a:cxn ang="0">
                    <a:pos x="T4" y="T5"/>
                  </a:cxn>
                  <a:cxn ang="0">
                    <a:pos x="T6" y="T7"/>
                  </a:cxn>
                  <a:cxn ang="0">
                    <a:pos x="T8" y="T9"/>
                  </a:cxn>
                </a:cxnLst>
                <a:rect l="0" t="0" r="r" b="b"/>
                <a:pathLst>
                  <a:path w="65" h="69">
                    <a:moveTo>
                      <a:pt x="0" y="16"/>
                    </a:moveTo>
                    <a:cubicBezTo>
                      <a:pt x="17" y="35"/>
                      <a:pt x="32" y="52"/>
                      <a:pt x="47" y="69"/>
                    </a:cubicBezTo>
                    <a:cubicBezTo>
                      <a:pt x="55" y="63"/>
                      <a:pt x="61" y="57"/>
                      <a:pt x="65" y="54"/>
                    </a:cubicBezTo>
                    <a:cubicBezTo>
                      <a:pt x="48" y="35"/>
                      <a:pt x="32" y="19"/>
                      <a:pt x="14" y="0"/>
                    </a:cubicBezTo>
                    <a:cubicBezTo>
                      <a:pt x="9" y="6"/>
                      <a:pt x="4" y="12"/>
                      <a:pt x="0" y="16"/>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87" name="Freeform 15"/>
              <p:cNvSpPr>
                <a:spLocks/>
              </p:cNvSpPr>
              <p:nvPr/>
            </p:nvSpPr>
            <p:spPr bwMode="auto">
              <a:xfrm>
                <a:off x="10671732" y="2621506"/>
                <a:ext cx="109538" cy="161925"/>
              </a:xfrm>
              <a:custGeom>
                <a:avLst/>
                <a:gdLst>
                  <a:gd name="T0" fmla="*/ 29 w 57"/>
                  <a:gd name="T1" fmla="*/ 0 h 84"/>
                  <a:gd name="T2" fmla="*/ 2 w 57"/>
                  <a:gd name="T3" fmla="*/ 67 h 84"/>
                  <a:gd name="T4" fmla="*/ 7 w 57"/>
                  <a:gd name="T5" fmla="*/ 84 h 84"/>
                  <a:gd name="T6" fmla="*/ 13 w 57"/>
                  <a:gd name="T7" fmla="*/ 83 h 84"/>
                  <a:gd name="T8" fmla="*/ 57 w 57"/>
                  <a:gd name="T9" fmla="*/ 14 h 84"/>
                  <a:gd name="T10" fmla="*/ 29 w 57"/>
                  <a:gd name="T11" fmla="*/ 0 h 84"/>
                </a:gdLst>
                <a:ahLst/>
                <a:cxnLst>
                  <a:cxn ang="0">
                    <a:pos x="T0" y="T1"/>
                  </a:cxn>
                  <a:cxn ang="0">
                    <a:pos x="T2" y="T3"/>
                  </a:cxn>
                  <a:cxn ang="0">
                    <a:pos x="T4" y="T5"/>
                  </a:cxn>
                  <a:cxn ang="0">
                    <a:pos x="T6" y="T7"/>
                  </a:cxn>
                  <a:cxn ang="0">
                    <a:pos x="T8" y="T9"/>
                  </a:cxn>
                  <a:cxn ang="0">
                    <a:pos x="T10" y="T11"/>
                  </a:cxn>
                </a:cxnLst>
                <a:rect l="0" t="0" r="r" b="b"/>
                <a:pathLst>
                  <a:path w="57" h="84">
                    <a:moveTo>
                      <a:pt x="29" y="0"/>
                    </a:moveTo>
                    <a:cubicBezTo>
                      <a:pt x="19" y="24"/>
                      <a:pt x="10" y="45"/>
                      <a:pt x="2" y="67"/>
                    </a:cubicBezTo>
                    <a:cubicBezTo>
                      <a:pt x="0" y="71"/>
                      <a:pt x="5" y="78"/>
                      <a:pt x="7" y="84"/>
                    </a:cubicBezTo>
                    <a:cubicBezTo>
                      <a:pt x="9" y="84"/>
                      <a:pt x="11" y="83"/>
                      <a:pt x="13" y="83"/>
                    </a:cubicBezTo>
                    <a:cubicBezTo>
                      <a:pt x="28" y="60"/>
                      <a:pt x="42" y="37"/>
                      <a:pt x="57" y="14"/>
                    </a:cubicBezTo>
                    <a:cubicBezTo>
                      <a:pt x="46" y="9"/>
                      <a:pt x="39" y="5"/>
                      <a:pt x="29" y="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88" name="Freeform 16"/>
              <p:cNvSpPr>
                <a:spLocks/>
              </p:cNvSpPr>
              <p:nvPr/>
            </p:nvSpPr>
            <p:spPr bwMode="auto">
              <a:xfrm>
                <a:off x="9730345" y="3410494"/>
                <a:ext cx="155575" cy="52388"/>
              </a:xfrm>
              <a:custGeom>
                <a:avLst/>
                <a:gdLst>
                  <a:gd name="T0" fmla="*/ 74 w 80"/>
                  <a:gd name="T1" fmla="*/ 27 h 27"/>
                  <a:gd name="T2" fmla="*/ 56 w 80"/>
                  <a:gd name="T3" fmla="*/ 1 h 27"/>
                  <a:gd name="T4" fmla="*/ 25 w 80"/>
                  <a:gd name="T5" fmla="*/ 1 h 27"/>
                  <a:gd name="T6" fmla="*/ 7 w 80"/>
                  <a:gd name="T7" fmla="*/ 27 h 27"/>
                  <a:gd name="T8" fmla="*/ 74 w 80"/>
                  <a:gd name="T9" fmla="*/ 27 h 27"/>
                </a:gdLst>
                <a:ahLst/>
                <a:cxnLst>
                  <a:cxn ang="0">
                    <a:pos x="T0" y="T1"/>
                  </a:cxn>
                  <a:cxn ang="0">
                    <a:pos x="T2" y="T3"/>
                  </a:cxn>
                  <a:cxn ang="0">
                    <a:pos x="T4" y="T5"/>
                  </a:cxn>
                  <a:cxn ang="0">
                    <a:pos x="T6" y="T7"/>
                  </a:cxn>
                  <a:cxn ang="0">
                    <a:pos x="T8" y="T9"/>
                  </a:cxn>
                </a:cxnLst>
                <a:rect l="0" t="0" r="r" b="b"/>
                <a:pathLst>
                  <a:path w="80" h="27">
                    <a:moveTo>
                      <a:pt x="74" y="27"/>
                    </a:moveTo>
                    <a:cubicBezTo>
                      <a:pt x="80" y="7"/>
                      <a:pt x="75" y="0"/>
                      <a:pt x="56" y="1"/>
                    </a:cubicBezTo>
                    <a:cubicBezTo>
                      <a:pt x="46" y="2"/>
                      <a:pt x="35" y="1"/>
                      <a:pt x="25" y="1"/>
                    </a:cubicBezTo>
                    <a:cubicBezTo>
                      <a:pt x="2" y="2"/>
                      <a:pt x="0" y="4"/>
                      <a:pt x="7" y="27"/>
                    </a:cubicBezTo>
                    <a:cubicBezTo>
                      <a:pt x="29" y="27"/>
                      <a:pt x="52" y="27"/>
                      <a:pt x="74" y="27"/>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89" name="Freeform 17"/>
              <p:cNvSpPr>
                <a:spLocks/>
              </p:cNvSpPr>
              <p:nvPr/>
            </p:nvSpPr>
            <p:spPr bwMode="auto">
              <a:xfrm>
                <a:off x="10778095" y="3412081"/>
                <a:ext cx="142875" cy="50800"/>
              </a:xfrm>
              <a:custGeom>
                <a:avLst/>
                <a:gdLst>
                  <a:gd name="T0" fmla="*/ 69 w 74"/>
                  <a:gd name="T1" fmla="*/ 26 h 26"/>
                  <a:gd name="T2" fmla="*/ 51 w 74"/>
                  <a:gd name="T3" fmla="*/ 0 h 26"/>
                  <a:gd name="T4" fmla="*/ 23 w 74"/>
                  <a:gd name="T5" fmla="*/ 0 h 26"/>
                  <a:gd name="T6" fmla="*/ 5 w 74"/>
                  <a:gd name="T7" fmla="*/ 26 h 26"/>
                  <a:gd name="T8" fmla="*/ 69 w 74"/>
                  <a:gd name="T9" fmla="*/ 26 h 26"/>
                </a:gdLst>
                <a:ahLst/>
                <a:cxnLst>
                  <a:cxn ang="0">
                    <a:pos x="T0" y="T1"/>
                  </a:cxn>
                  <a:cxn ang="0">
                    <a:pos x="T2" y="T3"/>
                  </a:cxn>
                  <a:cxn ang="0">
                    <a:pos x="T4" y="T5"/>
                  </a:cxn>
                  <a:cxn ang="0">
                    <a:pos x="T6" y="T7"/>
                  </a:cxn>
                  <a:cxn ang="0">
                    <a:pos x="T8" y="T9"/>
                  </a:cxn>
                </a:cxnLst>
                <a:rect l="0" t="0" r="r" b="b"/>
                <a:pathLst>
                  <a:path w="74" h="26">
                    <a:moveTo>
                      <a:pt x="69" y="26"/>
                    </a:moveTo>
                    <a:cubicBezTo>
                      <a:pt x="74" y="1"/>
                      <a:pt x="73" y="1"/>
                      <a:pt x="51" y="0"/>
                    </a:cubicBezTo>
                    <a:cubicBezTo>
                      <a:pt x="41" y="0"/>
                      <a:pt x="32" y="0"/>
                      <a:pt x="23" y="0"/>
                    </a:cubicBezTo>
                    <a:cubicBezTo>
                      <a:pt x="1" y="1"/>
                      <a:pt x="0" y="2"/>
                      <a:pt x="5" y="26"/>
                    </a:cubicBezTo>
                    <a:cubicBezTo>
                      <a:pt x="26" y="26"/>
                      <a:pt x="47" y="26"/>
                      <a:pt x="69" y="26"/>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90" name="Freeform 18"/>
              <p:cNvSpPr>
                <a:spLocks/>
              </p:cNvSpPr>
              <p:nvPr/>
            </p:nvSpPr>
            <p:spPr bwMode="auto">
              <a:xfrm>
                <a:off x="10554257" y="2567531"/>
                <a:ext cx="76200" cy="161925"/>
              </a:xfrm>
              <a:custGeom>
                <a:avLst/>
                <a:gdLst>
                  <a:gd name="T0" fmla="*/ 17 w 40"/>
                  <a:gd name="T1" fmla="*/ 0 h 84"/>
                  <a:gd name="T2" fmla="*/ 0 w 40"/>
                  <a:gd name="T3" fmla="*/ 81 h 84"/>
                  <a:gd name="T4" fmla="*/ 8 w 40"/>
                  <a:gd name="T5" fmla="*/ 84 h 84"/>
                  <a:gd name="T6" fmla="*/ 40 w 40"/>
                  <a:gd name="T7" fmla="*/ 6 h 84"/>
                  <a:gd name="T8" fmla="*/ 17 w 40"/>
                  <a:gd name="T9" fmla="*/ 0 h 84"/>
                </a:gdLst>
                <a:ahLst/>
                <a:cxnLst>
                  <a:cxn ang="0">
                    <a:pos x="T0" y="T1"/>
                  </a:cxn>
                  <a:cxn ang="0">
                    <a:pos x="T2" y="T3"/>
                  </a:cxn>
                  <a:cxn ang="0">
                    <a:pos x="T4" y="T5"/>
                  </a:cxn>
                  <a:cxn ang="0">
                    <a:pos x="T6" y="T7"/>
                  </a:cxn>
                  <a:cxn ang="0">
                    <a:pos x="T8" y="T9"/>
                  </a:cxn>
                </a:cxnLst>
                <a:rect l="0" t="0" r="r" b="b"/>
                <a:pathLst>
                  <a:path w="40" h="84">
                    <a:moveTo>
                      <a:pt x="17" y="0"/>
                    </a:moveTo>
                    <a:cubicBezTo>
                      <a:pt x="11" y="27"/>
                      <a:pt x="5" y="54"/>
                      <a:pt x="0" y="81"/>
                    </a:cubicBezTo>
                    <a:cubicBezTo>
                      <a:pt x="2" y="82"/>
                      <a:pt x="5" y="83"/>
                      <a:pt x="8" y="84"/>
                    </a:cubicBezTo>
                    <a:cubicBezTo>
                      <a:pt x="18" y="58"/>
                      <a:pt x="29" y="33"/>
                      <a:pt x="40" y="6"/>
                    </a:cubicBezTo>
                    <a:cubicBezTo>
                      <a:pt x="31" y="4"/>
                      <a:pt x="25" y="2"/>
                      <a:pt x="17" y="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91" name="Freeform 19"/>
              <p:cNvSpPr>
                <a:spLocks/>
              </p:cNvSpPr>
              <p:nvPr/>
            </p:nvSpPr>
            <p:spPr bwMode="auto">
              <a:xfrm>
                <a:off x="9352519" y="2464344"/>
                <a:ext cx="1906588" cy="1889125"/>
              </a:xfrm>
              <a:custGeom>
                <a:avLst/>
                <a:gdLst>
                  <a:gd name="T0" fmla="*/ 303 w 984"/>
                  <a:gd name="T1" fmla="*/ 0 h 980"/>
                  <a:gd name="T2" fmla="*/ 446 w 984"/>
                  <a:gd name="T3" fmla="*/ 75 h 980"/>
                  <a:gd name="T4" fmla="*/ 371 w 984"/>
                  <a:gd name="T5" fmla="*/ 217 h 980"/>
                  <a:gd name="T6" fmla="*/ 351 w 984"/>
                  <a:gd name="T7" fmla="*/ 155 h 980"/>
                  <a:gd name="T8" fmla="*/ 121 w 984"/>
                  <a:gd name="T9" fmla="*/ 558 h 980"/>
                  <a:gd name="T10" fmla="*/ 590 w 984"/>
                  <a:gd name="T11" fmla="*/ 885 h 980"/>
                  <a:gd name="T12" fmla="*/ 856 w 984"/>
                  <a:gd name="T13" fmla="*/ 338 h 980"/>
                  <a:gd name="T14" fmla="*/ 928 w 984"/>
                  <a:gd name="T15" fmla="*/ 300 h 980"/>
                  <a:gd name="T16" fmla="*/ 938 w 984"/>
                  <a:gd name="T17" fmla="*/ 319 h 980"/>
                  <a:gd name="T18" fmla="*/ 972 w 984"/>
                  <a:gd name="T19" fmla="*/ 567 h 980"/>
                  <a:gd name="T20" fmla="*/ 737 w 984"/>
                  <a:gd name="T21" fmla="*/ 916 h 980"/>
                  <a:gd name="T22" fmla="*/ 499 w 984"/>
                  <a:gd name="T23" fmla="*/ 978 h 980"/>
                  <a:gd name="T24" fmla="*/ 42 w 984"/>
                  <a:gd name="T25" fmla="*/ 594 h 980"/>
                  <a:gd name="T26" fmla="*/ 307 w 984"/>
                  <a:gd name="T27" fmla="*/ 78 h 980"/>
                  <a:gd name="T28" fmla="*/ 319 w 984"/>
                  <a:gd name="T29" fmla="*/ 51 h 980"/>
                  <a:gd name="T30" fmla="*/ 303 w 984"/>
                  <a:gd name="T31" fmla="*/ 0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4" h="980">
                    <a:moveTo>
                      <a:pt x="303" y="0"/>
                    </a:moveTo>
                    <a:cubicBezTo>
                      <a:pt x="352" y="26"/>
                      <a:pt x="398" y="50"/>
                      <a:pt x="446" y="75"/>
                    </a:cubicBezTo>
                    <a:cubicBezTo>
                      <a:pt x="421" y="122"/>
                      <a:pt x="397" y="168"/>
                      <a:pt x="371" y="217"/>
                    </a:cubicBezTo>
                    <a:cubicBezTo>
                      <a:pt x="364" y="194"/>
                      <a:pt x="357" y="175"/>
                      <a:pt x="351" y="155"/>
                    </a:cubicBezTo>
                    <a:cubicBezTo>
                      <a:pt x="228" y="192"/>
                      <a:pt x="92" y="361"/>
                      <a:pt x="121" y="558"/>
                    </a:cubicBezTo>
                    <a:cubicBezTo>
                      <a:pt x="154" y="786"/>
                      <a:pt x="369" y="933"/>
                      <a:pt x="590" y="885"/>
                    </a:cubicBezTo>
                    <a:cubicBezTo>
                      <a:pt x="786" y="842"/>
                      <a:pt x="974" y="612"/>
                      <a:pt x="856" y="338"/>
                    </a:cubicBezTo>
                    <a:cubicBezTo>
                      <a:pt x="879" y="326"/>
                      <a:pt x="903" y="314"/>
                      <a:pt x="928" y="300"/>
                    </a:cubicBezTo>
                    <a:cubicBezTo>
                      <a:pt x="932" y="307"/>
                      <a:pt x="936" y="313"/>
                      <a:pt x="938" y="319"/>
                    </a:cubicBezTo>
                    <a:cubicBezTo>
                      <a:pt x="971" y="399"/>
                      <a:pt x="984" y="481"/>
                      <a:pt x="972" y="567"/>
                    </a:cubicBezTo>
                    <a:cubicBezTo>
                      <a:pt x="950" y="722"/>
                      <a:pt x="871" y="838"/>
                      <a:pt x="737" y="916"/>
                    </a:cubicBezTo>
                    <a:cubicBezTo>
                      <a:pt x="664" y="959"/>
                      <a:pt x="583" y="980"/>
                      <a:pt x="499" y="978"/>
                    </a:cubicBezTo>
                    <a:cubicBezTo>
                      <a:pt x="263" y="973"/>
                      <a:pt x="81" y="806"/>
                      <a:pt x="42" y="594"/>
                    </a:cubicBezTo>
                    <a:cubicBezTo>
                      <a:pt x="0" y="372"/>
                      <a:pt x="118" y="164"/>
                      <a:pt x="307" y="78"/>
                    </a:cubicBezTo>
                    <a:cubicBezTo>
                      <a:pt x="320" y="72"/>
                      <a:pt x="325" y="66"/>
                      <a:pt x="319" y="51"/>
                    </a:cubicBezTo>
                    <a:cubicBezTo>
                      <a:pt x="313" y="36"/>
                      <a:pt x="309" y="20"/>
                      <a:pt x="303"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92" name="Freeform 20"/>
              <p:cNvSpPr>
                <a:spLocks/>
              </p:cNvSpPr>
              <p:nvPr/>
            </p:nvSpPr>
            <p:spPr bwMode="auto">
              <a:xfrm>
                <a:off x="10049432" y="2967581"/>
                <a:ext cx="739775" cy="665163"/>
              </a:xfrm>
              <a:custGeom>
                <a:avLst/>
                <a:gdLst>
                  <a:gd name="T0" fmla="*/ 0 w 382"/>
                  <a:gd name="T1" fmla="*/ 180 h 345"/>
                  <a:gd name="T2" fmla="*/ 78 w 382"/>
                  <a:gd name="T3" fmla="*/ 181 h 345"/>
                  <a:gd name="T4" fmla="*/ 99 w 382"/>
                  <a:gd name="T5" fmla="*/ 194 h 345"/>
                  <a:gd name="T6" fmla="*/ 132 w 382"/>
                  <a:gd name="T7" fmla="*/ 248 h 345"/>
                  <a:gd name="T8" fmla="*/ 147 w 382"/>
                  <a:gd name="T9" fmla="*/ 231 h 345"/>
                  <a:gd name="T10" fmla="*/ 309 w 382"/>
                  <a:gd name="T11" fmla="*/ 18 h 345"/>
                  <a:gd name="T12" fmla="*/ 361 w 382"/>
                  <a:gd name="T13" fmla="*/ 13 h 345"/>
                  <a:gd name="T14" fmla="*/ 371 w 382"/>
                  <a:gd name="T15" fmla="*/ 59 h 345"/>
                  <a:gd name="T16" fmla="*/ 327 w 382"/>
                  <a:gd name="T17" fmla="*/ 116 h 345"/>
                  <a:gd name="T18" fmla="*/ 155 w 382"/>
                  <a:gd name="T19" fmla="*/ 323 h 345"/>
                  <a:gd name="T20" fmla="*/ 105 w 382"/>
                  <a:gd name="T21" fmla="*/ 322 h 345"/>
                  <a:gd name="T22" fmla="*/ 0 w 382"/>
                  <a:gd name="T23" fmla="*/ 18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2" h="345">
                    <a:moveTo>
                      <a:pt x="0" y="180"/>
                    </a:moveTo>
                    <a:cubicBezTo>
                      <a:pt x="29" y="180"/>
                      <a:pt x="54" y="179"/>
                      <a:pt x="78" y="181"/>
                    </a:cubicBezTo>
                    <a:cubicBezTo>
                      <a:pt x="86" y="181"/>
                      <a:pt x="95" y="188"/>
                      <a:pt x="99" y="194"/>
                    </a:cubicBezTo>
                    <a:cubicBezTo>
                      <a:pt x="111" y="210"/>
                      <a:pt x="120" y="228"/>
                      <a:pt x="132" y="248"/>
                    </a:cubicBezTo>
                    <a:cubicBezTo>
                      <a:pt x="138" y="241"/>
                      <a:pt x="143" y="236"/>
                      <a:pt x="147" y="231"/>
                    </a:cubicBezTo>
                    <a:cubicBezTo>
                      <a:pt x="201" y="160"/>
                      <a:pt x="255" y="89"/>
                      <a:pt x="309" y="18"/>
                    </a:cubicBezTo>
                    <a:cubicBezTo>
                      <a:pt x="322" y="2"/>
                      <a:pt x="341" y="0"/>
                      <a:pt x="361" y="13"/>
                    </a:cubicBezTo>
                    <a:cubicBezTo>
                      <a:pt x="376" y="23"/>
                      <a:pt x="382" y="43"/>
                      <a:pt x="371" y="59"/>
                    </a:cubicBezTo>
                    <a:cubicBezTo>
                      <a:pt x="358" y="79"/>
                      <a:pt x="342" y="97"/>
                      <a:pt x="327" y="116"/>
                    </a:cubicBezTo>
                    <a:cubicBezTo>
                      <a:pt x="270" y="185"/>
                      <a:pt x="213" y="254"/>
                      <a:pt x="155" y="323"/>
                    </a:cubicBezTo>
                    <a:cubicBezTo>
                      <a:pt x="137" y="345"/>
                      <a:pt x="122" y="345"/>
                      <a:pt x="105" y="322"/>
                    </a:cubicBezTo>
                    <a:cubicBezTo>
                      <a:pt x="71" y="276"/>
                      <a:pt x="36" y="230"/>
                      <a:pt x="0" y="18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93" name="Freeform 21"/>
              <p:cNvSpPr>
                <a:spLocks/>
              </p:cNvSpPr>
              <p:nvPr/>
            </p:nvSpPr>
            <p:spPr bwMode="auto">
              <a:xfrm>
                <a:off x="10944782" y="2912019"/>
                <a:ext cx="185738" cy="158750"/>
              </a:xfrm>
              <a:custGeom>
                <a:avLst/>
                <a:gdLst>
                  <a:gd name="T0" fmla="*/ 67 w 96"/>
                  <a:gd name="T1" fmla="*/ 0 h 83"/>
                  <a:gd name="T2" fmla="*/ 96 w 96"/>
                  <a:gd name="T3" fmla="*/ 45 h 83"/>
                  <a:gd name="T4" fmla="*/ 22 w 96"/>
                  <a:gd name="T5" fmla="*/ 83 h 83"/>
                  <a:gd name="T6" fmla="*/ 0 w 96"/>
                  <a:gd name="T7" fmla="*/ 52 h 83"/>
                  <a:gd name="T8" fmla="*/ 67 w 96"/>
                  <a:gd name="T9" fmla="*/ 0 h 83"/>
                </a:gdLst>
                <a:ahLst/>
                <a:cxnLst>
                  <a:cxn ang="0">
                    <a:pos x="T0" y="T1"/>
                  </a:cxn>
                  <a:cxn ang="0">
                    <a:pos x="T2" y="T3"/>
                  </a:cxn>
                  <a:cxn ang="0">
                    <a:pos x="T4" y="T5"/>
                  </a:cxn>
                  <a:cxn ang="0">
                    <a:pos x="T6" y="T7"/>
                  </a:cxn>
                  <a:cxn ang="0">
                    <a:pos x="T8" y="T9"/>
                  </a:cxn>
                </a:cxnLst>
                <a:rect l="0" t="0" r="r" b="b"/>
                <a:pathLst>
                  <a:path w="96" h="83">
                    <a:moveTo>
                      <a:pt x="67" y="0"/>
                    </a:moveTo>
                    <a:cubicBezTo>
                      <a:pt x="77" y="15"/>
                      <a:pt x="86" y="29"/>
                      <a:pt x="96" y="45"/>
                    </a:cubicBezTo>
                    <a:cubicBezTo>
                      <a:pt x="71" y="58"/>
                      <a:pt x="47" y="70"/>
                      <a:pt x="22" y="83"/>
                    </a:cubicBezTo>
                    <a:cubicBezTo>
                      <a:pt x="15" y="73"/>
                      <a:pt x="8" y="63"/>
                      <a:pt x="0" y="52"/>
                    </a:cubicBezTo>
                    <a:cubicBezTo>
                      <a:pt x="22" y="35"/>
                      <a:pt x="43" y="18"/>
                      <a:pt x="6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94" name="Freeform 22"/>
              <p:cNvSpPr>
                <a:spLocks/>
              </p:cNvSpPr>
              <p:nvPr/>
            </p:nvSpPr>
            <p:spPr bwMode="auto">
              <a:xfrm>
                <a:off x="10866995" y="2796131"/>
                <a:ext cx="171450" cy="163513"/>
              </a:xfrm>
              <a:custGeom>
                <a:avLst/>
                <a:gdLst>
                  <a:gd name="T0" fmla="*/ 56 w 88"/>
                  <a:gd name="T1" fmla="*/ 0 h 85"/>
                  <a:gd name="T2" fmla="*/ 88 w 88"/>
                  <a:gd name="T3" fmla="*/ 33 h 85"/>
                  <a:gd name="T4" fmla="*/ 21 w 88"/>
                  <a:gd name="T5" fmla="*/ 85 h 85"/>
                  <a:gd name="T6" fmla="*/ 0 w 88"/>
                  <a:gd name="T7" fmla="*/ 62 h 85"/>
                  <a:gd name="T8" fmla="*/ 56 w 88"/>
                  <a:gd name="T9" fmla="*/ 0 h 85"/>
                </a:gdLst>
                <a:ahLst/>
                <a:cxnLst>
                  <a:cxn ang="0">
                    <a:pos x="T0" y="T1"/>
                  </a:cxn>
                  <a:cxn ang="0">
                    <a:pos x="T2" y="T3"/>
                  </a:cxn>
                  <a:cxn ang="0">
                    <a:pos x="T4" y="T5"/>
                  </a:cxn>
                  <a:cxn ang="0">
                    <a:pos x="T6" y="T7"/>
                  </a:cxn>
                  <a:cxn ang="0">
                    <a:pos x="T8" y="T9"/>
                  </a:cxn>
                </a:cxnLst>
                <a:rect l="0" t="0" r="r" b="b"/>
                <a:pathLst>
                  <a:path w="88" h="85">
                    <a:moveTo>
                      <a:pt x="56" y="0"/>
                    </a:moveTo>
                    <a:cubicBezTo>
                      <a:pt x="67" y="12"/>
                      <a:pt x="76" y="22"/>
                      <a:pt x="88" y="33"/>
                    </a:cubicBezTo>
                    <a:cubicBezTo>
                      <a:pt x="65" y="51"/>
                      <a:pt x="43" y="67"/>
                      <a:pt x="21" y="85"/>
                    </a:cubicBezTo>
                    <a:cubicBezTo>
                      <a:pt x="14" y="77"/>
                      <a:pt x="7" y="70"/>
                      <a:pt x="0" y="62"/>
                    </a:cubicBezTo>
                    <a:cubicBezTo>
                      <a:pt x="18" y="41"/>
                      <a:pt x="37" y="22"/>
                      <a:pt x="56"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95" name="Freeform 23"/>
              <p:cNvSpPr>
                <a:spLocks/>
              </p:cNvSpPr>
              <p:nvPr/>
            </p:nvSpPr>
            <p:spPr bwMode="auto">
              <a:xfrm>
                <a:off x="10771745" y="2697706"/>
                <a:ext cx="146050" cy="163513"/>
              </a:xfrm>
              <a:custGeom>
                <a:avLst/>
                <a:gdLst>
                  <a:gd name="T0" fmla="*/ 45 w 75"/>
                  <a:gd name="T1" fmla="*/ 0 h 85"/>
                  <a:gd name="T2" fmla="*/ 75 w 75"/>
                  <a:gd name="T3" fmla="*/ 24 h 85"/>
                  <a:gd name="T4" fmla="*/ 19 w 75"/>
                  <a:gd name="T5" fmla="*/ 85 h 85"/>
                  <a:gd name="T6" fmla="*/ 0 w 75"/>
                  <a:gd name="T7" fmla="*/ 72 h 85"/>
                  <a:gd name="T8" fmla="*/ 45 w 75"/>
                  <a:gd name="T9" fmla="*/ 0 h 85"/>
                </a:gdLst>
                <a:ahLst/>
                <a:cxnLst>
                  <a:cxn ang="0">
                    <a:pos x="T0" y="T1"/>
                  </a:cxn>
                  <a:cxn ang="0">
                    <a:pos x="T2" y="T3"/>
                  </a:cxn>
                  <a:cxn ang="0">
                    <a:pos x="T4" y="T5"/>
                  </a:cxn>
                  <a:cxn ang="0">
                    <a:pos x="T6" y="T7"/>
                  </a:cxn>
                  <a:cxn ang="0">
                    <a:pos x="T8" y="T9"/>
                  </a:cxn>
                </a:cxnLst>
                <a:rect l="0" t="0" r="r" b="b"/>
                <a:pathLst>
                  <a:path w="75" h="85">
                    <a:moveTo>
                      <a:pt x="45" y="0"/>
                    </a:moveTo>
                    <a:cubicBezTo>
                      <a:pt x="56" y="9"/>
                      <a:pt x="65" y="16"/>
                      <a:pt x="75" y="24"/>
                    </a:cubicBezTo>
                    <a:cubicBezTo>
                      <a:pt x="56" y="45"/>
                      <a:pt x="38" y="64"/>
                      <a:pt x="19" y="85"/>
                    </a:cubicBezTo>
                    <a:cubicBezTo>
                      <a:pt x="13" y="81"/>
                      <a:pt x="7" y="77"/>
                      <a:pt x="0" y="72"/>
                    </a:cubicBezTo>
                    <a:cubicBezTo>
                      <a:pt x="15" y="48"/>
                      <a:pt x="29" y="25"/>
                      <a:pt x="45"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96" name="Freeform 24"/>
              <p:cNvSpPr>
                <a:spLocks/>
              </p:cNvSpPr>
              <p:nvPr/>
            </p:nvSpPr>
            <p:spPr bwMode="auto">
              <a:xfrm>
                <a:off x="10305020" y="3888331"/>
                <a:ext cx="50800" cy="138113"/>
              </a:xfrm>
              <a:custGeom>
                <a:avLst/>
                <a:gdLst>
                  <a:gd name="T0" fmla="*/ 26 w 26"/>
                  <a:gd name="T1" fmla="*/ 71 h 71"/>
                  <a:gd name="T2" fmla="*/ 0 w 26"/>
                  <a:gd name="T3" fmla="*/ 71 h 71"/>
                  <a:gd name="T4" fmla="*/ 0 w 26"/>
                  <a:gd name="T5" fmla="*/ 0 h 71"/>
                  <a:gd name="T6" fmla="*/ 26 w 26"/>
                  <a:gd name="T7" fmla="*/ 0 h 71"/>
                  <a:gd name="T8" fmla="*/ 26 w 26"/>
                  <a:gd name="T9" fmla="*/ 71 h 71"/>
                </a:gdLst>
                <a:ahLst/>
                <a:cxnLst>
                  <a:cxn ang="0">
                    <a:pos x="T0" y="T1"/>
                  </a:cxn>
                  <a:cxn ang="0">
                    <a:pos x="T2" y="T3"/>
                  </a:cxn>
                  <a:cxn ang="0">
                    <a:pos x="T4" y="T5"/>
                  </a:cxn>
                  <a:cxn ang="0">
                    <a:pos x="T6" y="T7"/>
                  </a:cxn>
                  <a:cxn ang="0">
                    <a:pos x="T8" y="T9"/>
                  </a:cxn>
                </a:cxnLst>
                <a:rect l="0" t="0" r="r" b="b"/>
                <a:pathLst>
                  <a:path w="26" h="71">
                    <a:moveTo>
                      <a:pt x="26" y="71"/>
                    </a:moveTo>
                    <a:cubicBezTo>
                      <a:pt x="17" y="71"/>
                      <a:pt x="9" y="71"/>
                      <a:pt x="0" y="71"/>
                    </a:cubicBezTo>
                    <a:cubicBezTo>
                      <a:pt x="0" y="47"/>
                      <a:pt x="0" y="24"/>
                      <a:pt x="0" y="0"/>
                    </a:cubicBezTo>
                    <a:cubicBezTo>
                      <a:pt x="8" y="0"/>
                      <a:pt x="16" y="0"/>
                      <a:pt x="26" y="0"/>
                    </a:cubicBezTo>
                    <a:cubicBezTo>
                      <a:pt x="26" y="23"/>
                      <a:pt x="26" y="46"/>
                      <a:pt x="26" y="7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97" name="Freeform 25"/>
              <p:cNvSpPr>
                <a:spLocks/>
              </p:cNvSpPr>
              <p:nvPr/>
            </p:nvSpPr>
            <p:spPr bwMode="auto">
              <a:xfrm>
                <a:off x="9895445" y="3005681"/>
                <a:ext cx="131763" cy="131763"/>
              </a:xfrm>
              <a:custGeom>
                <a:avLst/>
                <a:gdLst>
                  <a:gd name="T0" fmla="*/ 18 w 68"/>
                  <a:gd name="T1" fmla="*/ 0 h 68"/>
                  <a:gd name="T2" fmla="*/ 68 w 68"/>
                  <a:gd name="T3" fmla="*/ 52 h 68"/>
                  <a:gd name="T4" fmla="*/ 50 w 68"/>
                  <a:gd name="T5" fmla="*/ 68 h 68"/>
                  <a:gd name="T6" fmla="*/ 0 w 68"/>
                  <a:gd name="T7" fmla="*/ 16 h 68"/>
                  <a:gd name="T8" fmla="*/ 18 w 68"/>
                  <a:gd name="T9" fmla="*/ 0 h 68"/>
                </a:gdLst>
                <a:ahLst/>
                <a:cxnLst>
                  <a:cxn ang="0">
                    <a:pos x="T0" y="T1"/>
                  </a:cxn>
                  <a:cxn ang="0">
                    <a:pos x="T2" y="T3"/>
                  </a:cxn>
                  <a:cxn ang="0">
                    <a:pos x="T4" y="T5"/>
                  </a:cxn>
                  <a:cxn ang="0">
                    <a:pos x="T6" y="T7"/>
                  </a:cxn>
                  <a:cxn ang="0">
                    <a:pos x="T8" y="T9"/>
                  </a:cxn>
                </a:cxnLst>
                <a:rect l="0" t="0" r="r" b="b"/>
                <a:pathLst>
                  <a:path w="68" h="68">
                    <a:moveTo>
                      <a:pt x="18" y="0"/>
                    </a:moveTo>
                    <a:cubicBezTo>
                      <a:pt x="35" y="18"/>
                      <a:pt x="51" y="34"/>
                      <a:pt x="68" y="52"/>
                    </a:cubicBezTo>
                    <a:cubicBezTo>
                      <a:pt x="63" y="57"/>
                      <a:pt x="57" y="63"/>
                      <a:pt x="50" y="68"/>
                    </a:cubicBezTo>
                    <a:cubicBezTo>
                      <a:pt x="34" y="51"/>
                      <a:pt x="18" y="35"/>
                      <a:pt x="0" y="16"/>
                    </a:cubicBezTo>
                    <a:cubicBezTo>
                      <a:pt x="4" y="12"/>
                      <a:pt x="11" y="6"/>
                      <a:pt x="18"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98" name="Freeform 26"/>
              <p:cNvSpPr>
                <a:spLocks/>
              </p:cNvSpPr>
              <p:nvPr/>
            </p:nvSpPr>
            <p:spPr bwMode="auto">
              <a:xfrm>
                <a:off x="10300257" y="2854869"/>
                <a:ext cx="60325" cy="131763"/>
              </a:xfrm>
              <a:custGeom>
                <a:avLst/>
                <a:gdLst>
                  <a:gd name="T0" fmla="*/ 1 w 31"/>
                  <a:gd name="T1" fmla="*/ 0 h 68"/>
                  <a:gd name="T2" fmla="*/ 30 w 31"/>
                  <a:gd name="T3" fmla="*/ 0 h 68"/>
                  <a:gd name="T4" fmla="*/ 30 w 31"/>
                  <a:gd name="T5" fmla="*/ 58 h 68"/>
                  <a:gd name="T6" fmla="*/ 16 w 31"/>
                  <a:gd name="T7" fmla="*/ 68 h 68"/>
                  <a:gd name="T8" fmla="*/ 2 w 31"/>
                  <a:gd name="T9" fmla="*/ 57 h 68"/>
                  <a:gd name="T10" fmla="*/ 1 w 31"/>
                  <a:gd name="T11" fmla="*/ 0 h 68"/>
                </a:gdLst>
                <a:ahLst/>
                <a:cxnLst>
                  <a:cxn ang="0">
                    <a:pos x="T0" y="T1"/>
                  </a:cxn>
                  <a:cxn ang="0">
                    <a:pos x="T2" y="T3"/>
                  </a:cxn>
                  <a:cxn ang="0">
                    <a:pos x="T4" y="T5"/>
                  </a:cxn>
                  <a:cxn ang="0">
                    <a:pos x="T6" y="T7"/>
                  </a:cxn>
                  <a:cxn ang="0">
                    <a:pos x="T8" y="T9"/>
                  </a:cxn>
                  <a:cxn ang="0">
                    <a:pos x="T10" y="T11"/>
                  </a:cxn>
                </a:cxnLst>
                <a:rect l="0" t="0" r="r" b="b"/>
                <a:pathLst>
                  <a:path w="31" h="68">
                    <a:moveTo>
                      <a:pt x="1" y="0"/>
                    </a:moveTo>
                    <a:cubicBezTo>
                      <a:pt x="12" y="0"/>
                      <a:pt x="20" y="0"/>
                      <a:pt x="30" y="0"/>
                    </a:cubicBezTo>
                    <a:cubicBezTo>
                      <a:pt x="30" y="20"/>
                      <a:pt x="31" y="39"/>
                      <a:pt x="30" y="58"/>
                    </a:cubicBezTo>
                    <a:cubicBezTo>
                      <a:pt x="29" y="62"/>
                      <a:pt x="21" y="68"/>
                      <a:pt x="16" y="68"/>
                    </a:cubicBezTo>
                    <a:cubicBezTo>
                      <a:pt x="11" y="68"/>
                      <a:pt x="2" y="61"/>
                      <a:pt x="2" y="57"/>
                    </a:cubicBezTo>
                    <a:cubicBezTo>
                      <a:pt x="0" y="39"/>
                      <a:pt x="1" y="20"/>
                      <a:pt x="1"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99" name="Freeform 27"/>
              <p:cNvSpPr>
                <a:spLocks/>
              </p:cNvSpPr>
              <p:nvPr/>
            </p:nvSpPr>
            <p:spPr bwMode="auto">
              <a:xfrm>
                <a:off x="9898620" y="3747044"/>
                <a:ext cx="122238" cy="122238"/>
              </a:xfrm>
              <a:custGeom>
                <a:avLst/>
                <a:gdLst>
                  <a:gd name="T0" fmla="*/ 63 w 63"/>
                  <a:gd name="T1" fmla="*/ 18 h 64"/>
                  <a:gd name="T2" fmla="*/ 14 w 63"/>
                  <a:gd name="T3" fmla="*/ 64 h 64"/>
                  <a:gd name="T4" fmla="*/ 0 w 63"/>
                  <a:gd name="T5" fmla="*/ 44 h 64"/>
                  <a:gd name="T6" fmla="*/ 50 w 63"/>
                  <a:gd name="T7" fmla="*/ 0 h 64"/>
                  <a:gd name="T8" fmla="*/ 63 w 63"/>
                  <a:gd name="T9" fmla="*/ 18 h 64"/>
                </a:gdLst>
                <a:ahLst/>
                <a:cxnLst>
                  <a:cxn ang="0">
                    <a:pos x="T0" y="T1"/>
                  </a:cxn>
                  <a:cxn ang="0">
                    <a:pos x="T2" y="T3"/>
                  </a:cxn>
                  <a:cxn ang="0">
                    <a:pos x="T4" y="T5"/>
                  </a:cxn>
                  <a:cxn ang="0">
                    <a:pos x="T6" y="T7"/>
                  </a:cxn>
                  <a:cxn ang="0">
                    <a:pos x="T8" y="T9"/>
                  </a:cxn>
                </a:cxnLst>
                <a:rect l="0" t="0" r="r" b="b"/>
                <a:pathLst>
                  <a:path w="63" h="64">
                    <a:moveTo>
                      <a:pt x="63" y="18"/>
                    </a:moveTo>
                    <a:cubicBezTo>
                      <a:pt x="49" y="31"/>
                      <a:pt x="33" y="46"/>
                      <a:pt x="14" y="64"/>
                    </a:cubicBezTo>
                    <a:cubicBezTo>
                      <a:pt x="10" y="59"/>
                      <a:pt x="5" y="52"/>
                      <a:pt x="0" y="44"/>
                    </a:cubicBezTo>
                    <a:cubicBezTo>
                      <a:pt x="15" y="31"/>
                      <a:pt x="32" y="16"/>
                      <a:pt x="50" y="0"/>
                    </a:cubicBezTo>
                    <a:cubicBezTo>
                      <a:pt x="52" y="3"/>
                      <a:pt x="57" y="10"/>
                      <a:pt x="63" y="1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100" name="Freeform 28"/>
              <p:cNvSpPr>
                <a:spLocks/>
              </p:cNvSpPr>
              <p:nvPr/>
            </p:nvSpPr>
            <p:spPr bwMode="auto">
              <a:xfrm>
                <a:off x="10635220" y="3739106"/>
                <a:ext cx="125413" cy="133350"/>
              </a:xfrm>
              <a:custGeom>
                <a:avLst/>
                <a:gdLst>
                  <a:gd name="T0" fmla="*/ 0 w 65"/>
                  <a:gd name="T1" fmla="*/ 16 h 69"/>
                  <a:gd name="T2" fmla="*/ 14 w 65"/>
                  <a:gd name="T3" fmla="*/ 0 h 69"/>
                  <a:gd name="T4" fmla="*/ 65 w 65"/>
                  <a:gd name="T5" fmla="*/ 54 h 69"/>
                  <a:gd name="T6" fmla="*/ 47 w 65"/>
                  <a:gd name="T7" fmla="*/ 69 h 69"/>
                  <a:gd name="T8" fmla="*/ 0 w 65"/>
                  <a:gd name="T9" fmla="*/ 16 h 69"/>
                </a:gdLst>
                <a:ahLst/>
                <a:cxnLst>
                  <a:cxn ang="0">
                    <a:pos x="T0" y="T1"/>
                  </a:cxn>
                  <a:cxn ang="0">
                    <a:pos x="T2" y="T3"/>
                  </a:cxn>
                  <a:cxn ang="0">
                    <a:pos x="T4" y="T5"/>
                  </a:cxn>
                  <a:cxn ang="0">
                    <a:pos x="T6" y="T7"/>
                  </a:cxn>
                  <a:cxn ang="0">
                    <a:pos x="T8" y="T9"/>
                  </a:cxn>
                </a:cxnLst>
                <a:rect l="0" t="0" r="r" b="b"/>
                <a:pathLst>
                  <a:path w="65" h="69">
                    <a:moveTo>
                      <a:pt x="0" y="16"/>
                    </a:moveTo>
                    <a:cubicBezTo>
                      <a:pt x="4" y="12"/>
                      <a:pt x="9" y="6"/>
                      <a:pt x="14" y="0"/>
                    </a:cubicBezTo>
                    <a:cubicBezTo>
                      <a:pt x="32" y="19"/>
                      <a:pt x="48" y="35"/>
                      <a:pt x="65" y="54"/>
                    </a:cubicBezTo>
                    <a:cubicBezTo>
                      <a:pt x="61" y="57"/>
                      <a:pt x="55" y="63"/>
                      <a:pt x="47" y="69"/>
                    </a:cubicBezTo>
                    <a:cubicBezTo>
                      <a:pt x="32" y="52"/>
                      <a:pt x="17" y="35"/>
                      <a:pt x="0" y="1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101" name="Freeform 29"/>
              <p:cNvSpPr>
                <a:spLocks/>
              </p:cNvSpPr>
              <p:nvPr/>
            </p:nvSpPr>
            <p:spPr bwMode="auto">
              <a:xfrm>
                <a:off x="10671732" y="2621506"/>
                <a:ext cx="109538" cy="161925"/>
              </a:xfrm>
              <a:custGeom>
                <a:avLst/>
                <a:gdLst>
                  <a:gd name="T0" fmla="*/ 29 w 57"/>
                  <a:gd name="T1" fmla="*/ 0 h 84"/>
                  <a:gd name="T2" fmla="*/ 57 w 57"/>
                  <a:gd name="T3" fmla="*/ 14 h 84"/>
                  <a:gd name="T4" fmla="*/ 13 w 57"/>
                  <a:gd name="T5" fmla="*/ 83 h 84"/>
                  <a:gd name="T6" fmla="*/ 7 w 57"/>
                  <a:gd name="T7" fmla="*/ 84 h 84"/>
                  <a:gd name="T8" fmla="*/ 2 w 57"/>
                  <a:gd name="T9" fmla="*/ 67 h 84"/>
                  <a:gd name="T10" fmla="*/ 29 w 57"/>
                  <a:gd name="T11" fmla="*/ 0 h 84"/>
                </a:gdLst>
                <a:ahLst/>
                <a:cxnLst>
                  <a:cxn ang="0">
                    <a:pos x="T0" y="T1"/>
                  </a:cxn>
                  <a:cxn ang="0">
                    <a:pos x="T2" y="T3"/>
                  </a:cxn>
                  <a:cxn ang="0">
                    <a:pos x="T4" y="T5"/>
                  </a:cxn>
                  <a:cxn ang="0">
                    <a:pos x="T6" y="T7"/>
                  </a:cxn>
                  <a:cxn ang="0">
                    <a:pos x="T8" y="T9"/>
                  </a:cxn>
                  <a:cxn ang="0">
                    <a:pos x="T10" y="T11"/>
                  </a:cxn>
                </a:cxnLst>
                <a:rect l="0" t="0" r="r" b="b"/>
                <a:pathLst>
                  <a:path w="57" h="84">
                    <a:moveTo>
                      <a:pt x="29" y="0"/>
                    </a:moveTo>
                    <a:cubicBezTo>
                      <a:pt x="39" y="5"/>
                      <a:pt x="46" y="9"/>
                      <a:pt x="57" y="14"/>
                    </a:cubicBezTo>
                    <a:cubicBezTo>
                      <a:pt x="42" y="37"/>
                      <a:pt x="28" y="60"/>
                      <a:pt x="13" y="83"/>
                    </a:cubicBezTo>
                    <a:cubicBezTo>
                      <a:pt x="11" y="83"/>
                      <a:pt x="9" y="84"/>
                      <a:pt x="7" y="84"/>
                    </a:cubicBezTo>
                    <a:cubicBezTo>
                      <a:pt x="5" y="78"/>
                      <a:pt x="0" y="71"/>
                      <a:pt x="2" y="67"/>
                    </a:cubicBezTo>
                    <a:cubicBezTo>
                      <a:pt x="10" y="45"/>
                      <a:pt x="19" y="24"/>
                      <a:pt x="29"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102" name="Freeform 30"/>
              <p:cNvSpPr>
                <a:spLocks/>
              </p:cNvSpPr>
              <p:nvPr/>
            </p:nvSpPr>
            <p:spPr bwMode="auto">
              <a:xfrm>
                <a:off x="9730345" y="3410494"/>
                <a:ext cx="155575" cy="52388"/>
              </a:xfrm>
              <a:custGeom>
                <a:avLst/>
                <a:gdLst>
                  <a:gd name="T0" fmla="*/ 74 w 80"/>
                  <a:gd name="T1" fmla="*/ 27 h 27"/>
                  <a:gd name="T2" fmla="*/ 7 w 80"/>
                  <a:gd name="T3" fmla="*/ 27 h 27"/>
                  <a:gd name="T4" fmla="*/ 25 w 80"/>
                  <a:gd name="T5" fmla="*/ 1 h 27"/>
                  <a:gd name="T6" fmla="*/ 56 w 80"/>
                  <a:gd name="T7" fmla="*/ 1 h 27"/>
                  <a:gd name="T8" fmla="*/ 74 w 80"/>
                  <a:gd name="T9" fmla="*/ 27 h 27"/>
                </a:gdLst>
                <a:ahLst/>
                <a:cxnLst>
                  <a:cxn ang="0">
                    <a:pos x="T0" y="T1"/>
                  </a:cxn>
                  <a:cxn ang="0">
                    <a:pos x="T2" y="T3"/>
                  </a:cxn>
                  <a:cxn ang="0">
                    <a:pos x="T4" y="T5"/>
                  </a:cxn>
                  <a:cxn ang="0">
                    <a:pos x="T6" y="T7"/>
                  </a:cxn>
                  <a:cxn ang="0">
                    <a:pos x="T8" y="T9"/>
                  </a:cxn>
                </a:cxnLst>
                <a:rect l="0" t="0" r="r" b="b"/>
                <a:pathLst>
                  <a:path w="80" h="27">
                    <a:moveTo>
                      <a:pt x="74" y="27"/>
                    </a:moveTo>
                    <a:cubicBezTo>
                      <a:pt x="52" y="27"/>
                      <a:pt x="29" y="27"/>
                      <a:pt x="7" y="27"/>
                    </a:cubicBezTo>
                    <a:cubicBezTo>
                      <a:pt x="0" y="4"/>
                      <a:pt x="2" y="2"/>
                      <a:pt x="25" y="1"/>
                    </a:cubicBezTo>
                    <a:cubicBezTo>
                      <a:pt x="35" y="1"/>
                      <a:pt x="46" y="2"/>
                      <a:pt x="56" y="1"/>
                    </a:cubicBezTo>
                    <a:cubicBezTo>
                      <a:pt x="75" y="0"/>
                      <a:pt x="80" y="7"/>
                      <a:pt x="74" y="2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103" name="Freeform 31"/>
              <p:cNvSpPr>
                <a:spLocks/>
              </p:cNvSpPr>
              <p:nvPr/>
            </p:nvSpPr>
            <p:spPr bwMode="auto">
              <a:xfrm>
                <a:off x="10778095" y="3412081"/>
                <a:ext cx="142875" cy="50800"/>
              </a:xfrm>
              <a:custGeom>
                <a:avLst/>
                <a:gdLst>
                  <a:gd name="T0" fmla="*/ 69 w 74"/>
                  <a:gd name="T1" fmla="*/ 26 h 26"/>
                  <a:gd name="T2" fmla="*/ 5 w 74"/>
                  <a:gd name="T3" fmla="*/ 26 h 26"/>
                  <a:gd name="T4" fmla="*/ 23 w 74"/>
                  <a:gd name="T5" fmla="*/ 0 h 26"/>
                  <a:gd name="T6" fmla="*/ 51 w 74"/>
                  <a:gd name="T7" fmla="*/ 0 h 26"/>
                  <a:gd name="T8" fmla="*/ 69 w 74"/>
                  <a:gd name="T9" fmla="*/ 26 h 26"/>
                </a:gdLst>
                <a:ahLst/>
                <a:cxnLst>
                  <a:cxn ang="0">
                    <a:pos x="T0" y="T1"/>
                  </a:cxn>
                  <a:cxn ang="0">
                    <a:pos x="T2" y="T3"/>
                  </a:cxn>
                  <a:cxn ang="0">
                    <a:pos x="T4" y="T5"/>
                  </a:cxn>
                  <a:cxn ang="0">
                    <a:pos x="T6" y="T7"/>
                  </a:cxn>
                  <a:cxn ang="0">
                    <a:pos x="T8" y="T9"/>
                  </a:cxn>
                </a:cxnLst>
                <a:rect l="0" t="0" r="r" b="b"/>
                <a:pathLst>
                  <a:path w="74" h="26">
                    <a:moveTo>
                      <a:pt x="69" y="26"/>
                    </a:moveTo>
                    <a:cubicBezTo>
                      <a:pt x="47" y="26"/>
                      <a:pt x="26" y="26"/>
                      <a:pt x="5" y="26"/>
                    </a:cubicBezTo>
                    <a:cubicBezTo>
                      <a:pt x="0" y="2"/>
                      <a:pt x="1" y="1"/>
                      <a:pt x="23" y="0"/>
                    </a:cubicBezTo>
                    <a:cubicBezTo>
                      <a:pt x="32" y="0"/>
                      <a:pt x="41" y="0"/>
                      <a:pt x="51" y="0"/>
                    </a:cubicBezTo>
                    <a:cubicBezTo>
                      <a:pt x="73" y="1"/>
                      <a:pt x="74" y="1"/>
                      <a:pt x="69" y="2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sp>
            <p:nvSpPr>
              <p:cNvPr id="104" name="Freeform 32"/>
              <p:cNvSpPr>
                <a:spLocks/>
              </p:cNvSpPr>
              <p:nvPr/>
            </p:nvSpPr>
            <p:spPr bwMode="auto">
              <a:xfrm>
                <a:off x="10554257" y="2567531"/>
                <a:ext cx="76200" cy="161925"/>
              </a:xfrm>
              <a:custGeom>
                <a:avLst/>
                <a:gdLst>
                  <a:gd name="T0" fmla="*/ 17 w 40"/>
                  <a:gd name="T1" fmla="*/ 0 h 84"/>
                  <a:gd name="T2" fmla="*/ 40 w 40"/>
                  <a:gd name="T3" fmla="*/ 6 h 84"/>
                  <a:gd name="T4" fmla="*/ 8 w 40"/>
                  <a:gd name="T5" fmla="*/ 84 h 84"/>
                  <a:gd name="T6" fmla="*/ 0 w 40"/>
                  <a:gd name="T7" fmla="*/ 81 h 84"/>
                  <a:gd name="T8" fmla="*/ 17 w 40"/>
                  <a:gd name="T9" fmla="*/ 0 h 84"/>
                </a:gdLst>
                <a:ahLst/>
                <a:cxnLst>
                  <a:cxn ang="0">
                    <a:pos x="T0" y="T1"/>
                  </a:cxn>
                  <a:cxn ang="0">
                    <a:pos x="T2" y="T3"/>
                  </a:cxn>
                  <a:cxn ang="0">
                    <a:pos x="T4" y="T5"/>
                  </a:cxn>
                  <a:cxn ang="0">
                    <a:pos x="T6" y="T7"/>
                  </a:cxn>
                  <a:cxn ang="0">
                    <a:pos x="T8" y="T9"/>
                  </a:cxn>
                </a:cxnLst>
                <a:rect l="0" t="0" r="r" b="b"/>
                <a:pathLst>
                  <a:path w="40" h="84">
                    <a:moveTo>
                      <a:pt x="17" y="0"/>
                    </a:moveTo>
                    <a:cubicBezTo>
                      <a:pt x="25" y="2"/>
                      <a:pt x="31" y="4"/>
                      <a:pt x="40" y="6"/>
                    </a:cubicBezTo>
                    <a:cubicBezTo>
                      <a:pt x="29" y="33"/>
                      <a:pt x="18" y="58"/>
                      <a:pt x="8" y="84"/>
                    </a:cubicBezTo>
                    <a:cubicBezTo>
                      <a:pt x="5" y="83"/>
                      <a:pt x="2" y="82"/>
                      <a:pt x="0" y="81"/>
                    </a:cubicBezTo>
                    <a:cubicBezTo>
                      <a:pt x="5" y="54"/>
                      <a:pt x="11" y="27"/>
                      <a:pt x="1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3600">
                  <a:solidFill>
                    <a:srgbClr val="505050"/>
                  </a:solidFill>
                </a:endParaRPr>
              </a:p>
            </p:txBody>
          </p:sp>
        </p:grpSp>
      </p:grpSp>
      <p:sp>
        <p:nvSpPr>
          <p:cNvPr id="105" name="Rectangle 104"/>
          <p:cNvSpPr/>
          <p:nvPr/>
        </p:nvSpPr>
        <p:spPr bwMode="auto">
          <a:xfrm>
            <a:off x="1758321" y="5360418"/>
            <a:ext cx="8537146" cy="76041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a:solidFill>
                  <a:srgbClr val="44B0FF"/>
                </a:solidFill>
                <a:latin typeface="Segoe UI Semibold" panose="020B0702040204020203" pitchFamily="34" charset="0"/>
                <a:cs typeface="Segoe UI Semibold" panose="020B0702040204020203" pitchFamily="34" charset="0"/>
              </a:rPr>
              <a:t>…in a solution that provides data sovereignty, data privacy, and full control</a:t>
            </a:r>
          </a:p>
          <a:p>
            <a:pPr algn="ctr" defTabSz="932472" fontAlgn="base">
              <a:spcBef>
                <a:spcPct val="0"/>
              </a:spcBef>
              <a:spcAft>
                <a:spcPct val="0"/>
              </a:spcAft>
            </a:pPr>
            <a:endParaRPr lang="en-US">
              <a:solidFill>
                <a:srgbClr val="44B0FF"/>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4212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bwMode="auto">
          <a:xfrm>
            <a:off x="6828315" y="2466378"/>
            <a:ext cx="3266964" cy="527850"/>
          </a:xfrm>
          <a:prstGeom prst="rect">
            <a:avLst/>
          </a:prstGeom>
          <a:noFill/>
          <a:ln>
            <a:noFill/>
            <a:headEnd/>
            <a:tailEnd/>
          </a:ln>
          <a:effectLst/>
        </p:spPr>
        <p:style>
          <a:lnRef idx="3">
            <a:schemeClr val="lt1"/>
          </a:lnRef>
          <a:fillRef idx="1">
            <a:schemeClr val="accent4"/>
          </a:fillRef>
          <a:effectRef idx="1">
            <a:schemeClr val="accent4"/>
          </a:effectRef>
          <a:fontRef idx="minor">
            <a:schemeClr val="lt1"/>
          </a:fontRef>
        </p:style>
        <p:txBody>
          <a:bodyPr vert="horz" wrap="none" lIns="91427" tIns="45713" rIns="91427" bIns="45713" numCol="1" anchor="ctr" anchorCtr="0" compatLnSpc="1">
            <a:prstTxWarp prst="textNoShape">
              <a:avLst/>
            </a:prstTxWarp>
            <a:noAutofit/>
          </a:bodyPr>
          <a:lstStyle>
            <a:lvl1pPr marL="230188" indent="-230188" algn="l" rtl="0" eaLnBrk="0" fontAlgn="base" hangingPunct="0">
              <a:spcBef>
                <a:spcPct val="0"/>
              </a:spcBef>
              <a:spcAft>
                <a:spcPct val="0"/>
              </a:spcAft>
              <a:buClrTx/>
              <a:buFont typeface="Arial" pitchFamily="34" charset="0"/>
              <a:buChar char="•"/>
              <a:defRPr sz="1600" baseline="0">
                <a:solidFill>
                  <a:schemeClr val="tx1"/>
                </a:solidFill>
                <a:latin typeface="Calibri" pitchFamily="34" charset="0"/>
                <a:ea typeface="+mn-ea"/>
                <a:cs typeface="+mn-cs"/>
              </a:defRPr>
            </a:lvl1pPr>
            <a:lvl2pPr marL="461963" indent="-231775" algn="l" rtl="0" eaLnBrk="0" fontAlgn="base" hangingPunct="0">
              <a:lnSpc>
                <a:spcPct val="90000"/>
              </a:lnSpc>
              <a:spcBef>
                <a:spcPct val="30000"/>
              </a:spcBef>
              <a:spcAft>
                <a:spcPct val="0"/>
              </a:spcAft>
              <a:buClrTx/>
              <a:buChar char="–"/>
              <a:defRPr sz="1600">
                <a:solidFill>
                  <a:schemeClr val="tx1"/>
                </a:solidFill>
                <a:latin typeface="+mn-lt"/>
                <a:cs typeface="+mn-cs"/>
              </a:defRPr>
            </a:lvl2pPr>
            <a:lvl3pPr marL="684213" indent="-222250" algn="l" rtl="0" eaLnBrk="0" fontAlgn="base" hangingPunct="0">
              <a:lnSpc>
                <a:spcPct val="90000"/>
              </a:lnSpc>
              <a:spcBef>
                <a:spcPct val="30000"/>
              </a:spcBef>
              <a:spcAft>
                <a:spcPct val="0"/>
              </a:spcAft>
              <a:buClrTx/>
              <a:buFont typeface="Courier New" pitchFamily="49" charset="0"/>
              <a:buChar char="o"/>
              <a:defRPr sz="1600">
                <a:solidFill>
                  <a:schemeClr val="tx1"/>
                </a:solidFill>
                <a:latin typeface="+mn-lt"/>
                <a:cs typeface="+mn-cs"/>
              </a:defRPr>
            </a:lvl3pPr>
            <a:lvl4pPr marL="914400" indent="-230188" algn="l" rtl="0" eaLnBrk="0" fontAlgn="base" hangingPunct="0">
              <a:lnSpc>
                <a:spcPct val="90000"/>
              </a:lnSpc>
              <a:spcBef>
                <a:spcPct val="30000"/>
              </a:spcBef>
              <a:spcAft>
                <a:spcPct val="0"/>
              </a:spcAft>
              <a:buClrTx/>
              <a:buFont typeface="Wingdings" pitchFamily="2" charset="2"/>
              <a:buChar char="§"/>
              <a:defRPr sz="1600">
                <a:solidFill>
                  <a:schemeClr val="tx1"/>
                </a:solidFill>
                <a:latin typeface="+mn-lt"/>
                <a:cs typeface="+mn-cs"/>
              </a:defRPr>
            </a:lvl4pPr>
            <a:lvl5pPr marL="1144588" indent="-230188" algn="l" rtl="0" eaLnBrk="0" fontAlgn="base" hangingPunct="0">
              <a:lnSpc>
                <a:spcPct val="90000"/>
              </a:lnSpc>
              <a:spcBef>
                <a:spcPct val="30000"/>
              </a:spcBef>
              <a:spcAft>
                <a:spcPct val="0"/>
              </a:spcAft>
              <a:buClrTx/>
              <a:buSzPct val="50000"/>
              <a:buFont typeface="Wingdings" pitchFamily="2" charset="2"/>
              <a:buChar char="q"/>
              <a:defRPr sz="1600">
                <a:solidFill>
                  <a:schemeClr val="tx1"/>
                </a:solidFill>
                <a:latin typeface="+mn-lt"/>
                <a:cs typeface="+mn-cs"/>
              </a:defRPr>
            </a:lvl5pPr>
            <a:lvl6pPr marL="2517775" indent="-401638" algn="l" rtl="0" fontAlgn="base">
              <a:lnSpc>
                <a:spcPct val="90000"/>
              </a:lnSpc>
              <a:spcBef>
                <a:spcPct val="30000"/>
              </a:spcBef>
              <a:spcAft>
                <a:spcPct val="0"/>
              </a:spcAft>
              <a:buClr>
                <a:schemeClr val="hlink"/>
              </a:buClr>
              <a:buChar char="»"/>
              <a:defRPr sz="1400">
                <a:solidFill>
                  <a:srgbClr val="4D4D4D"/>
                </a:solidFill>
                <a:latin typeface="+mn-lt"/>
                <a:cs typeface="+mn-cs"/>
              </a:defRPr>
            </a:lvl6pPr>
            <a:lvl7pPr marL="2974975" indent="-401638" algn="l" rtl="0" fontAlgn="base">
              <a:lnSpc>
                <a:spcPct val="90000"/>
              </a:lnSpc>
              <a:spcBef>
                <a:spcPct val="30000"/>
              </a:spcBef>
              <a:spcAft>
                <a:spcPct val="0"/>
              </a:spcAft>
              <a:buClr>
                <a:schemeClr val="hlink"/>
              </a:buClr>
              <a:buChar char="»"/>
              <a:defRPr sz="1400">
                <a:solidFill>
                  <a:srgbClr val="4D4D4D"/>
                </a:solidFill>
                <a:latin typeface="+mn-lt"/>
                <a:cs typeface="+mn-cs"/>
              </a:defRPr>
            </a:lvl7pPr>
            <a:lvl8pPr marL="3432175" indent="-401638" algn="l" rtl="0" fontAlgn="base">
              <a:lnSpc>
                <a:spcPct val="90000"/>
              </a:lnSpc>
              <a:spcBef>
                <a:spcPct val="30000"/>
              </a:spcBef>
              <a:spcAft>
                <a:spcPct val="0"/>
              </a:spcAft>
              <a:buClr>
                <a:schemeClr val="hlink"/>
              </a:buClr>
              <a:buChar char="»"/>
              <a:defRPr sz="1400">
                <a:solidFill>
                  <a:srgbClr val="4D4D4D"/>
                </a:solidFill>
                <a:latin typeface="+mn-lt"/>
                <a:cs typeface="+mn-cs"/>
              </a:defRPr>
            </a:lvl8pPr>
            <a:lvl9pPr marL="3889375" indent="-401638" algn="l" rtl="0" fontAlgn="base">
              <a:lnSpc>
                <a:spcPct val="90000"/>
              </a:lnSpc>
              <a:spcBef>
                <a:spcPct val="30000"/>
              </a:spcBef>
              <a:spcAft>
                <a:spcPct val="0"/>
              </a:spcAft>
              <a:buClr>
                <a:schemeClr val="hlink"/>
              </a:buClr>
              <a:buChar char="»"/>
              <a:defRPr sz="1400">
                <a:solidFill>
                  <a:srgbClr val="4D4D4D"/>
                </a:solidFill>
                <a:latin typeface="+mn-lt"/>
                <a:cs typeface="+mn-cs"/>
              </a:defRPr>
            </a:lvl9pPr>
          </a:lstStyle>
          <a:p>
            <a:pPr marL="0" indent="0" defTabSz="914225">
              <a:buFont typeface="Arial" pitchFamily="34" charset="0"/>
              <a:buNone/>
              <a:defRPr/>
            </a:pPr>
            <a:r>
              <a:rPr lang="en-US" sz="1800" kern="0">
                <a:solidFill>
                  <a:srgbClr val="002050"/>
                </a:solidFill>
                <a:latin typeface="Segoe UI Semilight" panose="020B0402040204020203" pitchFamily="34" charset="0"/>
                <a:cs typeface="Segoe UI Semilight" panose="020B0402040204020203" pitchFamily="34" charset="0"/>
              </a:rPr>
              <a:t>Scalable Data Ingestion &amp; Storage</a:t>
            </a:r>
          </a:p>
        </p:txBody>
      </p:sp>
      <p:sp>
        <p:nvSpPr>
          <p:cNvPr id="5" name="TextBox 4"/>
          <p:cNvSpPr txBox="1"/>
          <p:nvPr/>
        </p:nvSpPr>
        <p:spPr>
          <a:xfrm>
            <a:off x="2105575" y="2361773"/>
            <a:ext cx="2278851" cy="1154162"/>
          </a:xfrm>
          <a:prstGeom prst="rect">
            <a:avLst/>
          </a:prstGeom>
          <a:noFill/>
        </p:spPr>
        <p:txBody>
          <a:bodyPr wrap="square" rtlCol="0">
            <a:spAutoFit/>
          </a:bodyPr>
          <a:lstStyle/>
          <a:p>
            <a:pPr defTabSz="914225">
              <a:spcAft>
                <a:spcPts val="600"/>
              </a:spcAft>
              <a:defRPr/>
            </a:pPr>
            <a:r>
              <a:rPr lang="en-US" sz="1600" b="1" kern="0">
                <a:solidFill>
                  <a:srgbClr val="68217A"/>
                </a:solidFill>
                <a:cs typeface="Arial" pitchFamily="34" charset="0"/>
              </a:rPr>
              <a:t>Vehicle Sensors</a:t>
            </a:r>
          </a:p>
          <a:p>
            <a:pPr marL="114300" indent="-114300" defTabSz="914225">
              <a:lnSpc>
                <a:spcPct val="90000"/>
              </a:lnSpc>
              <a:spcAft>
                <a:spcPts val="400"/>
              </a:spcAft>
              <a:buClr>
                <a:srgbClr val="002050"/>
              </a:buClr>
              <a:buSzPct val="80000"/>
              <a:buFont typeface="Wingdings" panose="05000000000000000000" pitchFamily="2" charset="2"/>
              <a:buChar char="§"/>
              <a:defRPr/>
            </a:pPr>
            <a:r>
              <a:rPr lang="en-US" sz="1600" kern="0">
                <a:solidFill>
                  <a:srgbClr val="505050"/>
                </a:solidFill>
                <a:cs typeface="Arial" pitchFamily="34" charset="0"/>
              </a:rPr>
              <a:t>AV tech</a:t>
            </a:r>
            <a:br>
              <a:rPr lang="en-US" sz="1600" kern="0">
                <a:solidFill>
                  <a:srgbClr val="505050"/>
                </a:solidFill>
                <a:cs typeface="Arial" pitchFamily="34" charset="0"/>
              </a:rPr>
            </a:br>
            <a:r>
              <a:rPr lang="en-US" sz="1400" kern="0">
                <a:solidFill>
                  <a:srgbClr val="505050"/>
                </a:solidFill>
                <a:cs typeface="Arial" pitchFamily="34" charset="0"/>
              </a:rPr>
              <a:t>sensors, sensor fusion</a:t>
            </a:r>
          </a:p>
          <a:p>
            <a:pPr marL="114300" indent="-114300" defTabSz="914225">
              <a:spcAft>
                <a:spcPts val="400"/>
              </a:spcAft>
              <a:buClr>
                <a:srgbClr val="002050"/>
              </a:buClr>
              <a:buSzPct val="80000"/>
              <a:buFont typeface="Wingdings" panose="05000000000000000000" pitchFamily="2" charset="2"/>
              <a:buChar char="§"/>
              <a:defRPr/>
            </a:pPr>
            <a:r>
              <a:rPr lang="en-US" sz="1600" kern="0">
                <a:solidFill>
                  <a:srgbClr val="505050"/>
                </a:solidFill>
                <a:cs typeface="Arial" pitchFamily="34" charset="0"/>
              </a:rPr>
              <a:t>Telemetry</a:t>
            </a:r>
          </a:p>
        </p:txBody>
      </p:sp>
      <p:sp>
        <p:nvSpPr>
          <p:cNvPr id="6" name="TextBox 5"/>
          <p:cNvSpPr txBox="1"/>
          <p:nvPr/>
        </p:nvSpPr>
        <p:spPr>
          <a:xfrm>
            <a:off x="2096261" y="3677155"/>
            <a:ext cx="2118181" cy="1256754"/>
          </a:xfrm>
          <a:prstGeom prst="rect">
            <a:avLst/>
          </a:prstGeom>
          <a:noFill/>
        </p:spPr>
        <p:txBody>
          <a:bodyPr wrap="square" rtlCol="0">
            <a:spAutoFit/>
          </a:bodyPr>
          <a:lstStyle/>
          <a:p>
            <a:pPr defTabSz="914225">
              <a:spcAft>
                <a:spcPts val="600"/>
              </a:spcAft>
              <a:defRPr/>
            </a:pPr>
            <a:r>
              <a:rPr lang="en-US" sz="1600" b="1" kern="0">
                <a:solidFill>
                  <a:srgbClr val="68217A"/>
                </a:solidFill>
                <a:cs typeface="Arial" pitchFamily="34" charset="0"/>
              </a:rPr>
              <a:t>Driver Data</a:t>
            </a:r>
          </a:p>
          <a:p>
            <a:pPr marL="114300" indent="-114300" defTabSz="914225">
              <a:spcAft>
                <a:spcPts val="400"/>
              </a:spcAft>
              <a:buClr>
                <a:srgbClr val="002050"/>
              </a:buClr>
              <a:buSzPct val="80000"/>
              <a:buFont typeface="Wingdings" panose="05000000000000000000" pitchFamily="2" charset="2"/>
              <a:buChar char="§"/>
              <a:defRPr/>
            </a:pPr>
            <a:r>
              <a:rPr lang="en-US" sz="1600" kern="0">
                <a:solidFill>
                  <a:srgbClr val="505050"/>
                </a:solidFill>
                <a:cs typeface="Arial" pitchFamily="34" charset="0"/>
              </a:rPr>
              <a:t>Driving behavior</a:t>
            </a:r>
          </a:p>
          <a:p>
            <a:pPr marL="114300" indent="-114300" defTabSz="914225">
              <a:spcAft>
                <a:spcPts val="400"/>
              </a:spcAft>
              <a:buClr>
                <a:srgbClr val="002050"/>
              </a:buClr>
              <a:buSzPct val="80000"/>
              <a:buFont typeface="Wingdings" panose="05000000000000000000" pitchFamily="2" charset="2"/>
              <a:buChar char="§"/>
              <a:defRPr/>
            </a:pPr>
            <a:r>
              <a:rPr lang="en-US" sz="1600" kern="0">
                <a:solidFill>
                  <a:srgbClr val="505050"/>
                </a:solidFill>
                <a:cs typeface="Arial" pitchFamily="34" charset="0"/>
              </a:rPr>
              <a:t>Location</a:t>
            </a:r>
          </a:p>
          <a:p>
            <a:pPr marL="114300" indent="-114300" defTabSz="914225">
              <a:spcAft>
                <a:spcPts val="400"/>
              </a:spcAft>
              <a:buClr>
                <a:srgbClr val="002050"/>
              </a:buClr>
              <a:buSzPct val="80000"/>
              <a:buFont typeface="Wingdings" panose="05000000000000000000" pitchFamily="2" charset="2"/>
              <a:buChar char="§"/>
              <a:defRPr/>
            </a:pPr>
            <a:r>
              <a:rPr lang="en-US" sz="1600" kern="0">
                <a:solidFill>
                  <a:srgbClr val="505050"/>
                </a:solidFill>
                <a:cs typeface="Arial" pitchFamily="34" charset="0"/>
              </a:rPr>
              <a:t>Infotainment</a:t>
            </a:r>
          </a:p>
        </p:txBody>
      </p:sp>
      <p:sp>
        <p:nvSpPr>
          <p:cNvPr id="7" name="Rectangle 6"/>
          <p:cNvSpPr>
            <a:spLocks/>
          </p:cNvSpPr>
          <p:nvPr/>
        </p:nvSpPr>
        <p:spPr>
          <a:xfrm>
            <a:off x="6828315" y="3873187"/>
            <a:ext cx="2978779" cy="355205"/>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wrap="none" rtlCol="0" anchor="ctr"/>
          <a:lstStyle/>
          <a:p>
            <a:pPr defTabSz="914225">
              <a:defRPr/>
            </a:pPr>
            <a:r>
              <a:rPr lang="en-US" kern="0">
                <a:solidFill>
                  <a:srgbClr val="002050"/>
                </a:solidFill>
                <a:latin typeface="Segoe UI Semilight" panose="020B0402040204020203" pitchFamily="34" charset="0"/>
                <a:cs typeface="Segoe UI Semilight" panose="020B0402040204020203" pitchFamily="34" charset="0"/>
              </a:rPr>
              <a:t>Machine Learning &amp; Analytics</a:t>
            </a:r>
          </a:p>
        </p:txBody>
      </p:sp>
      <p:sp>
        <p:nvSpPr>
          <p:cNvPr id="8" name="Rectangle 7"/>
          <p:cNvSpPr>
            <a:spLocks/>
          </p:cNvSpPr>
          <p:nvPr/>
        </p:nvSpPr>
        <p:spPr>
          <a:xfrm>
            <a:off x="6828315" y="4556990"/>
            <a:ext cx="2470929" cy="337574"/>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wrap="none" rtlCol="0" anchor="ctr"/>
          <a:lstStyle/>
          <a:p>
            <a:pPr defTabSz="914225">
              <a:defRPr/>
            </a:pPr>
            <a:r>
              <a:rPr lang="en-US" kern="0">
                <a:solidFill>
                  <a:srgbClr val="002050"/>
                </a:solidFill>
                <a:latin typeface="Segoe UI Semilight" panose="020B0402040204020203" pitchFamily="34" charset="0"/>
                <a:cs typeface="Segoe UI Semilight" panose="020B0402040204020203" pitchFamily="34" charset="0"/>
              </a:rPr>
              <a:t>Mapping &amp; Location</a:t>
            </a:r>
          </a:p>
        </p:txBody>
      </p:sp>
      <p:sp>
        <p:nvSpPr>
          <p:cNvPr id="10" name="Rectangle 9"/>
          <p:cNvSpPr>
            <a:spLocks/>
          </p:cNvSpPr>
          <p:nvPr/>
        </p:nvSpPr>
        <p:spPr>
          <a:xfrm>
            <a:off x="6828315" y="5204502"/>
            <a:ext cx="2553456" cy="351690"/>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wrap="none" rtlCol="0" anchor="ctr"/>
          <a:lstStyle/>
          <a:p>
            <a:pPr defTabSz="914225">
              <a:defRPr/>
            </a:pPr>
            <a:r>
              <a:rPr lang="en-US" kern="0">
                <a:solidFill>
                  <a:srgbClr val="002050"/>
                </a:solidFill>
                <a:latin typeface="Segoe UI Semilight" panose="020B0402040204020203" pitchFamily="34" charset="0"/>
                <a:cs typeface="Segoe UI Semilight" panose="020B0402040204020203" pitchFamily="34" charset="0"/>
              </a:rPr>
              <a:t>Search + Enterprise Graph</a:t>
            </a:r>
          </a:p>
        </p:txBody>
      </p:sp>
      <p:sp>
        <p:nvSpPr>
          <p:cNvPr id="11" name="TextBox 10"/>
          <p:cNvSpPr txBox="1"/>
          <p:nvPr/>
        </p:nvSpPr>
        <p:spPr>
          <a:xfrm>
            <a:off x="2103575" y="5095129"/>
            <a:ext cx="2596966" cy="1231106"/>
          </a:xfrm>
          <a:prstGeom prst="rect">
            <a:avLst/>
          </a:prstGeom>
          <a:noFill/>
        </p:spPr>
        <p:txBody>
          <a:bodyPr wrap="square" rtlCol="0">
            <a:spAutoFit/>
          </a:bodyPr>
          <a:lstStyle/>
          <a:p>
            <a:pPr defTabSz="914225">
              <a:spcAft>
                <a:spcPts val="600"/>
              </a:spcAft>
              <a:defRPr/>
            </a:pPr>
            <a:r>
              <a:rPr lang="en-US" sz="1600" b="1" kern="0">
                <a:solidFill>
                  <a:srgbClr val="68217A"/>
                </a:solidFill>
                <a:cs typeface="Arial" pitchFamily="34" charset="0"/>
              </a:rPr>
              <a:t>External Data</a:t>
            </a:r>
          </a:p>
          <a:p>
            <a:pPr marL="114300" indent="-114300" defTabSz="914225">
              <a:spcAft>
                <a:spcPts val="400"/>
              </a:spcAft>
              <a:buClr>
                <a:srgbClr val="002050"/>
              </a:buClr>
              <a:buSzPct val="80000"/>
              <a:buFont typeface="Wingdings" panose="05000000000000000000" pitchFamily="2" charset="2"/>
              <a:buChar char="§"/>
              <a:defRPr/>
            </a:pPr>
            <a:r>
              <a:rPr lang="en-US" sz="1600" kern="0">
                <a:solidFill>
                  <a:srgbClr val="505050"/>
                </a:solidFill>
                <a:cs typeface="Arial" pitchFamily="34" charset="0"/>
              </a:rPr>
              <a:t>V2V/V2I/V2X communication</a:t>
            </a:r>
          </a:p>
          <a:p>
            <a:pPr marL="114300" indent="-114300" defTabSz="914225">
              <a:spcAft>
                <a:spcPts val="400"/>
              </a:spcAft>
              <a:buClr>
                <a:srgbClr val="002050"/>
              </a:buClr>
              <a:buSzPct val="80000"/>
              <a:buFont typeface="Wingdings" panose="05000000000000000000" pitchFamily="2" charset="2"/>
              <a:buChar char="§"/>
              <a:defRPr/>
            </a:pPr>
            <a:r>
              <a:rPr lang="en-US" sz="1600" kern="0">
                <a:solidFill>
                  <a:srgbClr val="505050"/>
                </a:solidFill>
                <a:cs typeface="Arial" pitchFamily="34" charset="0"/>
              </a:rPr>
              <a:t>Weather Data</a:t>
            </a:r>
          </a:p>
        </p:txBody>
      </p:sp>
      <p:sp>
        <p:nvSpPr>
          <p:cNvPr id="17" name="Right Brace 16"/>
          <p:cNvSpPr/>
          <p:nvPr/>
        </p:nvSpPr>
        <p:spPr bwMode="auto">
          <a:xfrm>
            <a:off x="4533194" y="2196284"/>
            <a:ext cx="406775" cy="4254113"/>
          </a:xfrm>
          <a:prstGeom prst="rightBrace">
            <a:avLst>
              <a:gd name="adj1" fmla="val 43249"/>
              <a:gd name="adj2" fmla="val 50000"/>
            </a:avLst>
          </a:prstGeom>
          <a:solidFill>
            <a:srgbClr val="FFFFFF"/>
          </a:solidFill>
          <a:ln w="3175" cap="flat" cmpd="sng" algn="ctr">
            <a:solidFill>
              <a:schemeClr val="tx2"/>
            </a:solidFill>
            <a:prstDash val="solid"/>
            <a:round/>
            <a:headEnd type="none" w="med" len="med"/>
            <a:tailEnd type="none" w="med" len="med"/>
          </a:ln>
          <a:effectLst/>
        </p:spPr>
        <p:txBody>
          <a:bodyPr rtlCol="0" anchor="ctr"/>
          <a:lstStyle/>
          <a:p>
            <a:pPr algn="ctr" defTabSz="914225">
              <a:defRPr/>
            </a:pPr>
            <a:endParaRPr lang="en-US" sz="1400" kern="0">
              <a:solidFill>
                <a:srgbClr val="505050"/>
              </a:solidFill>
            </a:endParaRPr>
          </a:p>
        </p:txBody>
      </p:sp>
      <p:sp>
        <p:nvSpPr>
          <p:cNvPr id="23" name="Rectangle 22"/>
          <p:cNvSpPr/>
          <p:nvPr/>
        </p:nvSpPr>
        <p:spPr>
          <a:xfrm>
            <a:off x="504826" y="1591453"/>
            <a:ext cx="3298578" cy="553998"/>
          </a:xfrm>
          <a:prstGeom prst="rect">
            <a:avLst/>
          </a:prstGeom>
        </p:spPr>
        <p:txBody>
          <a:bodyPr wrap="square">
            <a:spAutoFit/>
          </a:bodyPr>
          <a:lstStyle/>
          <a:p>
            <a:pPr defTabSz="896214">
              <a:spcAft>
                <a:spcPts val="600"/>
              </a:spcAft>
              <a:defRPr/>
            </a:pPr>
            <a:r>
              <a:rPr lang="en-US" sz="1600">
                <a:solidFill>
                  <a:srgbClr val="505050"/>
                </a:solidFill>
                <a:latin typeface="Segoe UI Semibold" panose="020B0702040204020203" pitchFamily="34" charset="0"/>
                <a:cs typeface="Segoe UI Semibold" panose="020B0702040204020203" pitchFamily="34" charset="0"/>
              </a:rPr>
              <a:t>~25 GB </a:t>
            </a:r>
            <a:r>
              <a:rPr lang="en-US" sz="1400">
                <a:solidFill>
                  <a:srgbClr val="505050"/>
                </a:solidFill>
              </a:rPr>
              <a:t>of data created by connected cars </a:t>
            </a:r>
            <a:r>
              <a:rPr lang="en-US" sz="1400" i="1">
                <a:solidFill>
                  <a:srgbClr val="505050"/>
                </a:solidFill>
              </a:rPr>
              <a:t>each hour*</a:t>
            </a:r>
          </a:p>
        </p:txBody>
      </p:sp>
      <p:sp>
        <p:nvSpPr>
          <p:cNvPr id="24" name="Rectangle 23"/>
          <p:cNvSpPr/>
          <p:nvPr/>
        </p:nvSpPr>
        <p:spPr>
          <a:xfrm>
            <a:off x="5128181" y="1591453"/>
            <a:ext cx="6584298" cy="523220"/>
          </a:xfrm>
          <a:prstGeom prst="rect">
            <a:avLst/>
          </a:prstGeom>
        </p:spPr>
        <p:txBody>
          <a:bodyPr wrap="square">
            <a:spAutoFit/>
          </a:bodyPr>
          <a:lstStyle/>
          <a:p>
            <a:pPr defTabSz="896214">
              <a:spcAft>
                <a:spcPts val="600"/>
              </a:spcAft>
              <a:defRPr/>
            </a:pPr>
            <a:r>
              <a:rPr lang="en-US" sz="1400" b="1">
                <a:solidFill>
                  <a:srgbClr val="505050"/>
                </a:solidFill>
              </a:rPr>
              <a:t>Scalable intelligent cloud service </a:t>
            </a:r>
            <a:r>
              <a:rPr lang="en-US" sz="1400">
                <a:solidFill>
                  <a:srgbClr val="505050"/>
                </a:solidFill>
              </a:rPr>
              <a:t>to aggregate and analyze data and the </a:t>
            </a:r>
            <a:r>
              <a:rPr lang="en-US" sz="1400" b="1">
                <a:solidFill>
                  <a:srgbClr val="505050"/>
                </a:solidFill>
              </a:rPr>
              <a:t>productive platform</a:t>
            </a:r>
            <a:r>
              <a:rPr lang="en-US" sz="1400">
                <a:solidFill>
                  <a:srgbClr val="505050"/>
                </a:solidFill>
              </a:rPr>
              <a:t> to extend consumers digital life into the car</a:t>
            </a:r>
          </a:p>
        </p:txBody>
      </p:sp>
      <p:sp>
        <p:nvSpPr>
          <p:cNvPr id="25" name="Rectangle 24"/>
          <p:cNvSpPr/>
          <p:nvPr/>
        </p:nvSpPr>
        <p:spPr>
          <a:xfrm>
            <a:off x="168024" y="6450397"/>
            <a:ext cx="3254337" cy="312029"/>
          </a:xfrm>
          <a:prstGeom prst="rect">
            <a:avLst/>
          </a:prstGeom>
        </p:spPr>
        <p:txBody>
          <a:bodyPr wrap="square">
            <a:spAutoFit/>
          </a:bodyPr>
          <a:lstStyle/>
          <a:p>
            <a:pPr defTabSz="896214">
              <a:spcAft>
                <a:spcPts val="600"/>
              </a:spcAft>
              <a:defRPr/>
            </a:pPr>
            <a:r>
              <a:rPr lang="en-US" sz="1400">
                <a:solidFill>
                  <a:srgbClr val="505050"/>
                </a:solidFill>
                <a:latin typeface="Segoe UI Semibold" panose="020B0702040204020203" pitchFamily="34" charset="0"/>
                <a:cs typeface="Segoe UI Semibold" panose="020B0702040204020203" pitchFamily="34" charset="0"/>
              </a:rPr>
              <a:t>*</a:t>
            </a:r>
            <a:r>
              <a:rPr lang="en-US" sz="1050" kern="0">
                <a:solidFill>
                  <a:srgbClr val="505050"/>
                </a:solidFill>
                <a:cs typeface="Arial" pitchFamily="34" charset="0"/>
              </a:rPr>
              <a:t>Not all data will be transmitted to the cloud</a:t>
            </a:r>
            <a:endParaRPr lang="en-US" sz="1400" kern="0">
              <a:solidFill>
                <a:srgbClr val="505050"/>
              </a:solidFill>
              <a:cs typeface="Arial" pitchFamily="34" charset="0"/>
            </a:endParaRPr>
          </a:p>
        </p:txBody>
      </p:sp>
      <p:sp>
        <p:nvSpPr>
          <p:cNvPr id="27" name="Rectangle 26"/>
          <p:cNvSpPr/>
          <p:nvPr/>
        </p:nvSpPr>
        <p:spPr>
          <a:xfrm>
            <a:off x="253121" y="1224425"/>
            <a:ext cx="11954085" cy="380151"/>
          </a:xfrm>
          <a:prstGeom prst="rect">
            <a:avLst/>
          </a:prstGeom>
        </p:spPr>
        <p:txBody>
          <a:bodyPr vert="horz" wrap="square" lIns="146118" tIns="91324" rIns="146118" bIns="91324" rtlCol="0" anchor="t">
            <a:noAutofit/>
          </a:bodyPr>
          <a:lstStyle/>
          <a:p>
            <a:pPr defTabSz="1027430" fontAlgn="base">
              <a:spcBef>
                <a:spcPts val="1765"/>
              </a:spcBef>
              <a:defRPr/>
            </a:pPr>
            <a:endParaRPr lang="en-US" spc="-100">
              <a:ln w="3175">
                <a:noFill/>
              </a:ln>
              <a:solidFill>
                <a:srgbClr val="505050"/>
              </a:solidFill>
              <a:cs typeface="Segoe UI" pitchFamily="34" charset="0"/>
            </a:endParaRPr>
          </a:p>
        </p:txBody>
      </p:sp>
      <p:sp>
        <p:nvSpPr>
          <p:cNvPr id="28" name="Rectangle 27"/>
          <p:cNvSpPr>
            <a:spLocks/>
          </p:cNvSpPr>
          <p:nvPr/>
        </p:nvSpPr>
        <p:spPr>
          <a:xfrm>
            <a:off x="6828315" y="3173538"/>
            <a:ext cx="2940080" cy="427034"/>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wrap="none" rtlCol="0" anchor="ctr"/>
          <a:lstStyle/>
          <a:p>
            <a:pPr defTabSz="914225">
              <a:defRPr/>
            </a:pPr>
            <a:r>
              <a:rPr lang="en-US" kern="0">
                <a:solidFill>
                  <a:srgbClr val="002050"/>
                </a:solidFill>
                <a:latin typeface="Segoe UI Semilight" panose="020B0402040204020203" pitchFamily="34" charset="0"/>
                <a:cs typeface="Segoe UI Semilight" panose="020B0402040204020203" pitchFamily="34" charset="0"/>
              </a:rPr>
              <a:t>Data Protection &amp; Compliance</a:t>
            </a:r>
          </a:p>
        </p:txBody>
      </p:sp>
      <p:sp>
        <p:nvSpPr>
          <p:cNvPr id="32" name="Title 1"/>
          <p:cNvSpPr txBox="1">
            <a:spLocks/>
          </p:cNvSpPr>
          <p:nvPr/>
        </p:nvSpPr>
        <p:spPr bwMode="auto">
          <a:xfrm>
            <a:off x="269241" y="223071"/>
            <a:ext cx="11655840" cy="899537"/>
          </a:xfrm>
          <a:prstGeom prst="rect">
            <a:avLst/>
          </a:prstGeom>
          <a:noFill/>
          <a:ln w="9525" algn="ctr">
            <a:noFill/>
            <a:miter lim="800000"/>
            <a:headEnd/>
            <a:tailEnd/>
          </a:ln>
          <a:effectLst/>
        </p:spPr>
        <p:txBody>
          <a:bodyPr vert="horz" wrap="square" lIns="143266" tIns="89542" rIns="143266" bIns="89542" numCol="1" anchor="ctr" anchorCtr="0" compatLnSpc="1">
            <a:prstTxWarp prst="textNoShape">
              <a:avLst/>
            </a:prstTxWarp>
          </a:bodyPr>
          <a:lstStyle>
            <a:lvl1pPr algn="l" defTabSz="1048077" rtl="0" eaLnBrk="1" fontAlgn="base" hangingPunct="1">
              <a:spcBef>
                <a:spcPct val="0"/>
              </a:spcBef>
              <a:spcAft>
                <a:spcPct val="0"/>
              </a:spcAft>
              <a:defRPr sz="3264" b="0" baseline="0">
                <a:solidFill>
                  <a:schemeClr val="accent1"/>
                </a:solidFill>
                <a:latin typeface="+mj-lt"/>
                <a:ea typeface="+mj-ea"/>
                <a:cs typeface="+mj-cs"/>
              </a:defRPr>
            </a:lvl1pPr>
            <a:lvl2pPr algn="l" defTabSz="1048077" rtl="0" eaLnBrk="1" fontAlgn="base" hangingPunct="1">
              <a:spcBef>
                <a:spcPct val="0"/>
              </a:spcBef>
              <a:spcAft>
                <a:spcPct val="0"/>
              </a:spcAft>
              <a:defRPr sz="2800" b="1">
                <a:solidFill>
                  <a:schemeClr val="tx2"/>
                </a:solidFill>
                <a:latin typeface="Trebuchet MS" pitchFamily="34" charset="0"/>
                <a:cs typeface="Arial" charset="0"/>
              </a:defRPr>
            </a:lvl2pPr>
            <a:lvl3pPr algn="l" defTabSz="1048077" rtl="0" eaLnBrk="1" fontAlgn="base" hangingPunct="1">
              <a:spcBef>
                <a:spcPct val="0"/>
              </a:spcBef>
              <a:spcAft>
                <a:spcPct val="0"/>
              </a:spcAft>
              <a:defRPr sz="2800" b="1">
                <a:solidFill>
                  <a:schemeClr val="tx2"/>
                </a:solidFill>
                <a:latin typeface="Trebuchet MS" pitchFamily="34" charset="0"/>
                <a:cs typeface="Arial" charset="0"/>
              </a:defRPr>
            </a:lvl3pPr>
            <a:lvl4pPr algn="l" defTabSz="1048077" rtl="0" eaLnBrk="1" fontAlgn="base" hangingPunct="1">
              <a:spcBef>
                <a:spcPct val="0"/>
              </a:spcBef>
              <a:spcAft>
                <a:spcPct val="0"/>
              </a:spcAft>
              <a:defRPr sz="2800" b="1">
                <a:solidFill>
                  <a:schemeClr val="tx2"/>
                </a:solidFill>
                <a:latin typeface="Trebuchet MS" pitchFamily="34" charset="0"/>
                <a:cs typeface="Arial" charset="0"/>
              </a:defRPr>
            </a:lvl4pPr>
            <a:lvl5pPr algn="l" defTabSz="1048077" rtl="0" eaLnBrk="1" fontAlgn="base" hangingPunct="1">
              <a:spcBef>
                <a:spcPct val="0"/>
              </a:spcBef>
              <a:spcAft>
                <a:spcPct val="0"/>
              </a:spcAft>
              <a:defRPr sz="2800" b="1">
                <a:solidFill>
                  <a:schemeClr val="tx2"/>
                </a:solidFill>
                <a:latin typeface="Trebuchet MS" pitchFamily="34" charset="0"/>
                <a:cs typeface="Arial" charset="0"/>
              </a:defRPr>
            </a:lvl5pPr>
            <a:lvl6pPr marL="539009" algn="l" defTabSz="1048077" rtl="0" eaLnBrk="1" fontAlgn="base" hangingPunct="1">
              <a:spcBef>
                <a:spcPct val="0"/>
              </a:spcBef>
              <a:spcAft>
                <a:spcPct val="0"/>
              </a:spcAft>
              <a:defRPr sz="2800" b="1">
                <a:solidFill>
                  <a:schemeClr val="tx2"/>
                </a:solidFill>
                <a:latin typeface="Trebuchet MS" pitchFamily="34" charset="0"/>
                <a:cs typeface="Arial" charset="0"/>
              </a:defRPr>
            </a:lvl6pPr>
            <a:lvl7pPr marL="1078030" algn="l" defTabSz="1048077" rtl="0" eaLnBrk="1" fontAlgn="base" hangingPunct="1">
              <a:spcBef>
                <a:spcPct val="0"/>
              </a:spcBef>
              <a:spcAft>
                <a:spcPct val="0"/>
              </a:spcAft>
              <a:defRPr sz="2800" b="1">
                <a:solidFill>
                  <a:schemeClr val="tx2"/>
                </a:solidFill>
                <a:latin typeface="Trebuchet MS" pitchFamily="34" charset="0"/>
                <a:cs typeface="Arial" charset="0"/>
              </a:defRPr>
            </a:lvl7pPr>
            <a:lvl8pPr marL="1617039" algn="l" defTabSz="1048077" rtl="0" eaLnBrk="1" fontAlgn="base" hangingPunct="1">
              <a:spcBef>
                <a:spcPct val="0"/>
              </a:spcBef>
              <a:spcAft>
                <a:spcPct val="0"/>
              </a:spcAft>
              <a:defRPr sz="2800" b="1">
                <a:solidFill>
                  <a:schemeClr val="tx2"/>
                </a:solidFill>
                <a:latin typeface="Trebuchet MS" pitchFamily="34" charset="0"/>
                <a:cs typeface="Arial" charset="0"/>
              </a:defRPr>
            </a:lvl8pPr>
            <a:lvl9pPr marL="2156053" algn="l" defTabSz="1048077" rtl="0" eaLnBrk="1" fontAlgn="base" hangingPunct="1">
              <a:spcBef>
                <a:spcPct val="0"/>
              </a:spcBef>
              <a:spcAft>
                <a:spcPct val="0"/>
              </a:spcAft>
              <a:defRPr sz="2800" b="1">
                <a:solidFill>
                  <a:schemeClr val="tx2"/>
                </a:solidFill>
                <a:latin typeface="Trebuchet MS" pitchFamily="34" charset="0"/>
                <a:cs typeface="Arial" charset="0"/>
              </a:defRPr>
            </a:lvl9pPr>
          </a:lstStyle>
          <a:p>
            <a:pPr>
              <a:defRPr/>
            </a:pPr>
            <a:endParaRPr lang="en-US" sz="2400" kern="0">
              <a:solidFill>
                <a:srgbClr val="0072C6"/>
              </a:solidFill>
            </a:endParaRPr>
          </a:p>
        </p:txBody>
      </p:sp>
      <p:sp>
        <p:nvSpPr>
          <p:cNvPr id="36" name="Title 35"/>
          <p:cNvSpPr>
            <a:spLocks noGrp="1"/>
          </p:cNvSpPr>
          <p:nvPr>
            <p:ph type="title"/>
          </p:nvPr>
        </p:nvSpPr>
        <p:spPr/>
        <p:txBody>
          <a:bodyPr/>
          <a:lstStyle/>
          <a:p>
            <a:r>
              <a:rPr lang="en-US"/>
              <a:t>Automotive services require technology partnership</a:t>
            </a:r>
          </a:p>
        </p:txBody>
      </p:sp>
      <p:sp>
        <p:nvSpPr>
          <p:cNvPr id="38" name="Text Placeholder 37"/>
          <p:cNvSpPr>
            <a:spLocks noGrp="1"/>
          </p:cNvSpPr>
          <p:nvPr>
            <p:ph type="body" sz="quarter" idx="13"/>
          </p:nvPr>
        </p:nvSpPr>
        <p:spPr>
          <a:xfrm>
            <a:off x="269875" y="935832"/>
            <a:ext cx="11937331" cy="350157"/>
          </a:xfrm>
        </p:spPr>
        <p:txBody>
          <a:bodyPr/>
          <a:lstStyle/>
          <a:p>
            <a:r>
              <a:rPr lang="en-US"/>
              <a:t>Microsoft can support the connected car industry transformation by enabling rich, data-based services.</a:t>
            </a:r>
          </a:p>
        </p:txBody>
      </p:sp>
      <p:grpSp>
        <p:nvGrpSpPr>
          <p:cNvPr id="29" name="Group 28"/>
          <p:cNvGrpSpPr/>
          <p:nvPr/>
        </p:nvGrpSpPr>
        <p:grpSpPr>
          <a:xfrm>
            <a:off x="493492" y="2912294"/>
            <a:ext cx="1272202" cy="670708"/>
            <a:chOff x="10252157" y="-2705487"/>
            <a:chExt cx="2655863" cy="1400178"/>
          </a:xfrm>
        </p:grpSpPr>
        <p:sp>
          <p:nvSpPr>
            <p:cNvPr id="30" name="Circle: Hollow 29"/>
            <p:cNvSpPr/>
            <p:nvPr/>
          </p:nvSpPr>
          <p:spPr>
            <a:xfrm>
              <a:off x="10570605" y="-1871780"/>
              <a:ext cx="566471" cy="566471"/>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1" name="Circle: Hollow 30"/>
            <p:cNvSpPr/>
            <p:nvPr/>
          </p:nvSpPr>
          <p:spPr>
            <a:xfrm>
              <a:off x="11957318" y="-1871780"/>
              <a:ext cx="566471" cy="566471"/>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3" name="Freeform: Shape 32"/>
            <p:cNvSpPr/>
            <p:nvPr/>
          </p:nvSpPr>
          <p:spPr>
            <a:xfrm>
              <a:off x="10252157" y="-2705487"/>
              <a:ext cx="2655863" cy="1181418"/>
            </a:xfrm>
            <a:custGeom>
              <a:avLst/>
              <a:gdLst>
                <a:gd name="connsiteX0" fmla="*/ 5189008 w 9727651"/>
                <a:gd name="connsiteY0" fmla="*/ 392622 h 4327188"/>
                <a:gd name="connsiteX1" fmla="*/ 4875190 w 9727651"/>
                <a:gd name="connsiteY1" fmla="*/ 393831 h 4327188"/>
                <a:gd name="connsiteX2" fmla="*/ 4863825 w 9727651"/>
                <a:gd name="connsiteY2" fmla="*/ 393904 h 4327188"/>
                <a:gd name="connsiteX3" fmla="*/ 4863825 w 9727651"/>
                <a:gd name="connsiteY3" fmla="*/ 1750130 h 4327188"/>
                <a:gd name="connsiteX4" fmla="*/ 7379074 w 9727651"/>
                <a:gd name="connsiteY4" fmla="*/ 1750130 h 4327188"/>
                <a:gd name="connsiteX5" fmla="*/ 7287244 w 9727651"/>
                <a:gd name="connsiteY5" fmla="*/ 1615982 h 4327188"/>
                <a:gd name="connsiteX6" fmla="*/ 5189008 w 9727651"/>
                <a:gd name="connsiteY6" fmla="*/ 392622 h 4327188"/>
                <a:gd name="connsiteX7" fmla="*/ 4315134 w 9727651"/>
                <a:gd name="connsiteY7" fmla="*/ 389302 h 4327188"/>
                <a:gd name="connsiteX8" fmla="*/ 4145447 w 9727651"/>
                <a:gd name="connsiteY8" fmla="*/ 394084 h 4327188"/>
                <a:gd name="connsiteX9" fmla="*/ 1926233 w 9727651"/>
                <a:gd name="connsiteY9" fmla="*/ 1643041 h 4327188"/>
                <a:gd name="connsiteX10" fmla="*/ 1888384 w 9727651"/>
                <a:gd name="connsiteY10" fmla="*/ 1750130 h 4327188"/>
                <a:gd name="connsiteX11" fmla="*/ 4315134 w 9727651"/>
                <a:gd name="connsiteY11" fmla="*/ 1750130 h 4327188"/>
                <a:gd name="connsiteX12" fmla="*/ 4356692 w 9727651"/>
                <a:gd name="connsiteY12" fmla="*/ 1232 h 4327188"/>
                <a:gd name="connsiteX13" fmla="*/ 4586069 w 9727651"/>
                <a:gd name="connsiteY13" fmla="*/ 2199 h 4327188"/>
                <a:gd name="connsiteX14" fmla="*/ 7969553 w 9727651"/>
                <a:gd name="connsiteY14" fmla="*/ 1735030 h 4327188"/>
                <a:gd name="connsiteX15" fmla="*/ 7979239 w 9727651"/>
                <a:gd name="connsiteY15" fmla="*/ 1750130 h 4327188"/>
                <a:gd name="connsiteX16" fmla="*/ 8710048 w 9727651"/>
                <a:gd name="connsiteY16" fmla="*/ 1750130 h 4327188"/>
                <a:gd name="connsiteX17" fmla="*/ 9727651 w 9727651"/>
                <a:gd name="connsiteY17" fmla="*/ 2767733 h 4327188"/>
                <a:gd name="connsiteX18" fmla="*/ 9727651 w 9727651"/>
                <a:gd name="connsiteY18" fmla="*/ 3309585 h 4327188"/>
                <a:gd name="connsiteX19" fmla="*/ 8710048 w 9727651"/>
                <a:gd name="connsiteY19" fmla="*/ 4327188 h 4327188"/>
                <a:gd name="connsiteX20" fmla="*/ 8438949 w 9727651"/>
                <a:gd name="connsiteY20" fmla="*/ 4327188 h 4327188"/>
                <a:gd name="connsiteX21" fmla="*/ 8439613 w 9727651"/>
                <a:gd name="connsiteY21" fmla="*/ 4325048 h 4327188"/>
                <a:gd name="connsiteX22" fmla="*/ 8463273 w 9727651"/>
                <a:gd name="connsiteY22" fmla="*/ 4090344 h 4327188"/>
                <a:gd name="connsiteX23" fmla="*/ 7298691 w 9727651"/>
                <a:gd name="connsiteY23" fmla="*/ 2925762 h 4327188"/>
                <a:gd name="connsiteX24" fmla="*/ 6134109 w 9727651"/>
                <a:gd name="connsiteY24" fmla="*/ 4090344 h 4327188"/>
                <a:gd name="connsiteX25" fmla="*/ 6157769 w 9727651"/>
                <a:gd name="connsiteY25" fmla="*/ 4325048 h 4327188"/>
                <a:gd name="connsiteX26" fmla="*/ 6158433 w 9727651"/>
                <a:gd name="connsiteY26" fmla="*/ 4327188 h 4327188"/>
                <a:gd name="connsiteX27" fmla="*/ 3359824 w 9727651"/>
                <a:gd name="connsiteY27" fmla="*/ 4327188 h 4327188"/>
                <a:gd name="connsiteX28" fmla="*/ 3360488 w 9727651"/>
                <a:gd name="connsiteY28" fmla="*/ 4325048 h 4327188"/>
                <a:gd name="connsiteX29" fmla="*/ 3384148 w 9727651"/>
                <a:gd name="connsiteY29" fmla="*/ 4090344 h 4327188"/>
                <a:gd name="connsiteX30" fmla="*/ 2219566 w 9727651"/>
                <a:gd name="connsiteY30" fmla="*/ 2925762 h 4327188"/>
                <a:gd name="connsiteX31" fmla="*/ 1054984 w 9727651"/>
                <a:gd name="connsiteY31" fmla="*/ 4090344 h 4327188"/>
                <a:gd name="connsiteX32" fmla="*/ 1078645 w 9727651"/>
                <a:gd name="connsiteY32" fmla="*/ 4325048 h 4327188"/>
                <a:gd name="connsiteX33" fmla="*/ 1079309 w 9727651"/>
                <a:gd name="connsiteY33" fmla="*/ 4327188 h 4327188"/>
                <a:gd name="connsiteX34" fmla="*/ 1017603 w 9727651"/>
                <a:gd name="connsiteY34" fmla="*/ 4327188 h 4327188"/>
                <a:gd name="connsiteX35" fmla="*/ 0 w 9727651"/>
                <a:gd name="connsiteY35" fmla="*/ 3309585 h 4327188"/>
                <a:gd name="connsiteX36" fmla="*/ 0 w 9727651"/>
                <a:gd name="connsiteY36" fmla="*/ 2767733 h 4327188"/>
                <a:gd name="connsiteX37" fmla="*/ 1017603 w 9727651"/>
                <a:gd name="connsiteY37" fmla="*/ 1750130 h 4327188"/>
                <a:gd name="connsiteX38" fmla="*/ 1209415 w 9727651"/>
                <a:gd name="connsiteY38" fmla="*/ 1750130 h 4327188"/>
                <a:gd name="connsiteX39" fmla="*/ 1232083 w 9727651"/>
                <a:gd name="connsiteY39" fmla="*/ 1654215 h 4327188"/>
                <a:gd name="connsiteX40" fmla="*/ 4356692 w 9727651"/>
                <a:gd name="connsiteY40" fmla="*/ 1232 h 432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727651" h="4327188">
                  <a:moveTo>
                    <a:pt x="5189008" y="392622"/>
                  </a:moveTo>
                  <a:cubicBezTo>
                    <a:pt x="5083963" y="391073"/>
                    <a:pt x="4979447" y="392612"/>
                    <a:pt x="4875190" y="393831"/>
                  </a:cubicBezTo>
                  <a:lnTo>
                    <a:pt x="4863825" y="393904"/>
                  </a:lnTo>
                  <a:lnTo>
                    <a:pt x="4863825" y="1750130"/>
                  </a:lnTo>
                  <a:lnTo>
                    <a:pt x="7379074" y="1750130"/>
                  </a:lnTo>
                  <a:lnTo>
                    <a:pt x="7287244" y="1615982"/>
                  </a:lnTo>
                  <a:cubicBezTo>
                    <a:pt x="6522774" y="532642"/>
                    <a:pt x="5845540" y="402304"/>
                    <a:pt x="5189008" y="392622"/>
                  </a:cubicBezTo>
                  <a:close/>
                  <a:moveTo>
                    <a:pt x="4315134" y="389302"/>
                  </a:moveTo>
                  <a:lnTo>
                    <a:pt x="4145447" y="394084"/>
                  </a:lnTo>
                  <a:cubicBezTo>
                    <a:pt x="3300271" y="436964"/>
                    <a:pt x="2301149" y="743298"/>
                    <a:pt x="1926233" y="1643041"/>
                  </a:cubicBezTo>
                  <a:lnTo>
                    <a:pt x="1888384" y="1750130"/>
                  </a:lnTo>
                  <a:lnTo>
                    <a:pt x="4315134" y="1750130"/>
                  </a:lnTo>
                  <a:close/>
                  <a:moveTo>
                    <a:pt x="4356692" y="1232"/>
                  </a:moveTo>
                  <a:cubicBezTo>
                    <a:pt x="4436017" y="-699"/>
                    <a:pt x="4512692" y="-350"/>
                    <a:pt x="4586069" y="2199"/>
                  </a:cubicBezTo>
                  <a:cubicBezTo>
                    <a:pt x="5686736" y="40431"/>
                    <a:pt x="6730848" y="-137261"/>
                    <a:pt x="7969553" y="1735030"/>
                  </a:cubicBezTo>
                  <a:lnTo>
                    <a:pt x="7979239" y="1750130"/>
                  </a:lnTo>
                  <a:lnTo>
                    <a:pt x="8710048" y="1750130"/>
                  </a:lnTo>
                  <a:cubicBezTo>
                    <a:pt x="9272055" y="1750130"/>
                    <a:pt x="9727651" y="2205726"/>
                    <a:pt x="9727651" y="2767733"/>
                  </a:cubicBezTo>
                  <a:lnTo>
                    <a:pt x="9727651" y="3309585"/>
                  </a:lnTo>
                  <a:cubicBezTo>
                    <a:pt x="9727651" y="3871592"/>
                    <a:pt x="9272055" y="4327188"/>
                    <a:pt x="8710048" y="4327188"/>
                  </a:cubicBezTo>
                  <a:lnTo>
                    <a:pt x="8438949" y="4327188"/>
                  </a:lnTo>
                  <a:lnTo>
                    <a:pt x="8439613" y="4325048"/>
                  </a:lnTo>
                  <a:cubicBezTo>
                    <a:pt x="8455126" y="4249236"/>
                    <a:pt x="8463273" y="4170742"/>
                    <a:pt x="8463273" y="4090344"/>
                  </a:cubicBezTo>
                  <a:cubicBezTo>
                    <a:pt x="8463273" y="3447163"/>
                    <a:pt x="7941872" y="2925762"/>
                    <a:pt x="7298691" y="2925762"/>
                  </a:cubicBezTo>
                  <a:cubicBezTo>
                    <a:pt x="6655510" y="2925762"/>
                    <a:pt x="6134109" y="3447163"/>
                    <a:pt x="6134109" y="4090344"/>
                  </a:cubicBezTo>
                  <a:cubicBezTo>
                    <a:pt x="6134109" y="4170742"/>
                    <a:pt x="6142256" y="4249236"/>
                    <a:pt x="6157769" y="4325048"/>
                  </a:cubicBezTo>
                  <a:lnTo>
                    <a:pt x="6158433" y="4327188"/>
                  </a:lnTo>
                  <a:lnTo>
                    <a:pt x="3359824" y="4327188"/>
                  </a:lnTo>
                  <a:lnTo>
                    <a:pt x="3360488" y="4325048"/>
                  </a:lnTo>
                  <a:cubicBezTo>
                    <a:pt x="3376001" y="4249236"/>
                    <a:pt x="3384148" y="4170742"/>
                    <a:pt x="3384148" y="4090344"/>
                  </a:cubicBezTo>
                  <a:cubicBezTo>
                    <a:pt x="3384148" y="3447163"/>
                    <a:pt x="2862747" y="2925762"/>
                    <a:pt x="2219566" y="2925762"/>
                  </a:cubicBezTo>
                  <a:cubicBezTo>
                    <a:pt x="1576385" y="2925762"/>
                    <a:pt x="1054984" y="3447163"/>
                    <a:pt x="1054984" y="4090344"/>
                  </a:cubicBezTo>
                  <a:cubicBezTo>
                    <a:pt x="1054984" y="4170742"/>
                    <a:pt x="1063131" y="4249236"/>
                    <a:pt x="1078645" y="4325048"/>
                  </a:cubicBezTo>
                  <a:lnTo>
                    <a:pt x="1079309" y="4327188"/>
                  </a:lnTo>
                  <a:lnTo>
                    <a:pt x="1017603" y="4327188"/>
                  </a:lnTo>
                  <a:cubicBezTo>
                    <a:pt x="455596" y="4327188"/>
                    <a:pt x="0" y="3871592"/>
                    <a:pt x="0" y="3309585"/>
                  </a:cubicBezTo>
                  <a:lnTo>
                    <a:pt x="0" y="2767733"/>
                  </a:lnTo>
                  <a:cubicBezTo>
                    <a:pt x="0" y="2205726"/>
                    <a:pt x="455596" y="1750130"/>
                    <a:pt x="1017603" y="1750130"/>
                  </a:cubicBezTo>
                  <a:lnTo>
                    <a:pt x="1209415" y="1750130"/>
                  </a:lnTo>
                  <a:lnTo>
                    <a:pt x="1232083" y="1654215"/>
                  </a:lnTo>
                  <a:cubicBezTo>
                    <a:pt x="1601377" y="506259"/>
                    <a:pt x="3241176" y="28383"/>
                    <a:pt x="4356692" y="123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4" name="Group 33"/>
          <p:cNvGrpSpPr/>
          <p:nvPr/>
        </p:nvGrpSpPr>
        <p:grpSpPr>
          <a:xfrm>
            <a:off x="195755" y="5734898"/>
            <a:ext cx="797398" cy="420390"/>
            <a:chOff x="10252157" y="-2705487"/>
            <a:chExt cx="2655863" cy="1400178"/>
          </a:xfrm>
        </p:grpSpPr>
        <p:sp>
          <p:nvSpPr>
            <p:cNvPr id="35" name="Circle: Hollow 34"/>
            <p:cNvSpPr/>
            <p:nvPr/>
          </p:nvSpPr>
          <p:spPr>
            <a:xfrm>
              <a:off x="10570605" y="-1871780"/>
              <a:ext cx="566471" cy="566471"/>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 name="Circle: Hollow 38"/>
            <p:cNvSpPr/>
            <p:nvPr/>
          </p:nvSpPr>
          <p:spPr>
            <a:xfrm>
              <a:off x="11957318" y="-1871780"/>
              <a:ext cx="566471" cy="566471"/>
            </a:xfrm>
            <a:prstGeom prst="donu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 name="Freeform: Shape 39"/>
            <p:cNvSpPr/>
            <p:nvPr/>
          </p:nvSpPr>
          <p:spPr>
            <a:xfrm>
              <a:off x="10252157" y="-2705487"/>
              <a:ext cx="2655863" cy="1181418"/>
            </a:xfrm>
            <a:custGeom>
              <a:avLst/>
              <a:gdLst>
                <a:gd name="connsiteX0" fmla="*/ 5189008 w 9727651"/>
                <a:gd name="connsiteY0" fmla="*/ 392622 h 4327188"/>
                <a:gd name="connsiteX1" fmla="*/ 4875190 w 9727651"/>
                <a:gd name="connsiteY1" fmla="*/ 393831 h 4327188"/>
                <a:gd name="connsiteX2" fmla="*/ 4863825 w 9727651"/>
                <a:gd name="connsiteY2" fmla="*/ 393904 h 4327188"/>
                <a:gd name="connsiteX3" fmla="*/ 4863825 w 9727651"/>
                <a:gd name="connsiteY3" fmla="*/ 1750130 h 4327188"/>
                <a:gd name="connsiteX4" fmla="*/ 7379074 w 9727651"/>
                <a:gd name="connsiteY4" fmla="*/ 1750130 h 4327188"/>
                <a:gd name="connsiteX5" fmla="*/ 7287244 w 9727651"/>
                <a:gd name="connsiteY5" fmla="*/ 1615982 h 4327188"/>
                <a:gd name="connsiteX6" fmla="*/ 5189008 w 9727651"/>
                <a:gd name="connsiteY6" fmla="*/ 392622 h 4327188"/>
                <a:gd name="connsiteX7" fmla="*/ 4315134 w 9727651"/>
                <a:gd name="connsiteY7" fmla="*/ 389302 h 4327188"/>
                <a:gd name="connsiteX8" fmla="*/ 4145447 w 9727651"/>
                <a:gd name="connsiteY8" fmla="*/ 394084 h 4327188"/>
                <a:gd name="connsiteX9" fmla="*/ 1926233 w 9727651"/>
                <a:gd name="connsiteY9" fmla="*/ 1643041 h 4327188"/>
                <a:gd name="connsiteX10" fmla="*/ 1888384 w 9727651"/>
                <a:gd name="connsiteY10" fmla="*/ 1750130 h 4327188"/>
                <a:gd name="connsiteX11" fmla="*/ 4315134 w 9727651"/>
                <a:gd name="connsiteY11" fmla="*/ 1750130 h 4327188"/>
                <a:gd name="connsiteX12" fmla="*/ 4356692 w 9727651"/>
                <a:gd name="connsiteY12" fmla="*/ 1232 h 4327188"/>
                <a:gd name="connsiteX13" fmla="*/ 4586069 w 9727651"/>
                <a:gd name="connsiteY13" fmla="*/ 2199 h 4327188"/>
                <a:gd name="connsiteX14" fmla="*/ 7969553 w 9727651"/>
                <a:gd name="connsiteY14" fmla="*/ 1735030 h 4327188"/>
                <a:gd name="connsiteX15" fmla="*/ 7979239 w 9727651"/>
                <a:gd name="connsiteY15" fmla="*/ 1750130 h 4327188"/>
                <a:gd name="connsiteX16" fmla="*/ 8710048 w 9727651"/>
                <a:gd name="connsiteY16" fmla="*/ 1750130 h 4327188"/>
                <a:gd name="connsiteX17" fmla="*/ 9727651 w 9727651"/>
                <a:gd name="connsiteY17" fmla="*/ 2767733 h 4327188"/>
                <a:gd name="connsiteX18" fmla="*/ 9727651 w 9727651"/>
                <a:gd name="connsiteY18" fmla="*/ 3309585 h 4327188"/>
                <a:gd name="connsiteX19" fmla="*/ 8710048 w 9727651"/>
                <a:gd name="connsiteY19" fmla="*/ 4327188 h 4327188"/>
                <a:gd name="connsiteX20" fmla="*/ 8438949 w 9727651"/>
                <a:gd name="connsiteY20" fmla="*/ 4327188 h 4327188"/>
                <a:gd name="connsiteX21" fmla="*/ 8439613 w 9727651"/>
                <a:gd name="connsiteY21" fmla="*/ 4325048 h 4327188"/>
                <a:gd name="connsiteX22" fmla="*/ 8463273 w 9727651"/>
                <a:gd name="connsiteY22" fmla="*/ 4090344 h 4327188"/>
                <a:gd name="connsiteX23" fmla="*/ 7298691 w 9727651"/>
                <a:gd name="connsiteY23" fmla="*/ 2925762 h 4327188"/>
                <a:gd name="connsiteX24" fmla="*/ 6134109 w 9727651"/>
                <a:gd name="connsiteY24" fmla="*/ 4090344 h 4327188"/>
                <a:gd name="connsiteX25" fmla="*/ 6157769 w 9727651"/>
                <a:gd name="connsiteY25" fmla="*/ 4325048 h 4327188"/>
                <a:gd name="connsiteX26" fmla="*/ 6158433 w 9727651"/>
                <a:gd name="connsiteY26" fmla="*/ 4327188 h 4327188"/>
                <a:gd name="connsiteX27" fmla="*/ 3359824 w 9727651"/>
                <a:gd name="connsiteY27" fmla="*/ 4327188 h 4327188"/>
                <a:gd name="connsiteX28" fmla="*/ 3360488 w 9727651"/>
                <a:gd name="connsiteY28" fmla="*/ 4325048 h 4327188"/>
                <a:gd name="connsiteX29" fmla="*/ 3384148 w 9727651"/>
                <a:gd name="connsiteY29" fmla="*/ 4090344 h 4327188"/>
                <a:gd name="connsiteX30" fmla="*/ 2219566 w 9727651"/>
                <a:gd name="connsiteY30" fmla="*/ 2925762 h 4327188"/>
                <a:gd name="connsiteX31" fmla="*/ 1054984 w 9727651"/>
                <a:gd name="connsiteY31" fmla="*/ 4090344 h 4327188"/>
                <a:gd name="connsiteX32" fmla="*/ 1078645 w 9727651"/>
                <a:gd name="connsiteY32" fmla="*/ 4325048 h 4327188"/>
                <a:gd name="connsiteX33" fmla="*/ 1079309 w 9727651"/>
                <a:gd name="connsiteY33" fmla="*/ 4327188 h 4327188"/>
                <a:gd name="connsiteX34" fmla="*/ 1017603 w 9727651"/>
                <a:gd name="connsiteY34" fmla="*/ 4327188 h 4327188"/>
                <a:gd name="connsiteX35" fmla="*/ 0 w 9727651"/>
                <a:gd name="connsiteY35" fmla="*/ 3309585 h 4327188"/>
                <a:gd name="connsiteX36" fmla="*/ 0 w 9727651"/>
                <a:gd name="connsiteY36" fmla="*/ 2767733 h 4327188"/>
                <a:gd name="connsiteX37" fmla="*/ 1017603 w 9727651"/>
                <a:gd name="connsiteY37" fmla="*/ 1750130 h 4327188"/>
                <a:gd name="connsiteX38" fmla="*/ 1209415 w 9727651"/>
                <a:gd name="connsiteY38" fmla="*/ 1750130 h 4327188"/>
                <a:gd name="connsiteX39" fmla="*/ 1232083 w 9727651"/>
                <a:gd name="connsiteY39" fmla="*/ 1654215 h 4327188"/>
                <a:gd name="connsiteX40" fmla="*/ 4356692 w 9727651"/>
                <a:gd name="connsiteY40" fmla="*/ 1232 h 432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727651" h="4327188">
                  <a:moveTo>
                    <a:pt x="5189008" y="392622"/>
                  </a:moveTo>
                  <a:cubicBezTo>
                    <a:pt x="5083963" y="391073"/>
                    <a:pt x="4979447" y="392612"/>
                    <a:pt x="4875190" y="393831"/>
                  </a:cubicBezTo>
                  <a:lnTo>
                    <a:pt x="4863825" y="393904"/>
                  </a:lnTo>
                  <a:lnTo>
                    <a:pt x="4863825" y="1750130"/>
                  </a:lnTo>
                  <a:lnTo>
                    <a:pt x="7379074" y="1750130"/>
                  </a:lnTo>
                  <a:lnTo>
                    <a:pt x="7287244" y="1615982"/>
                  </a:lnTo>
                  <a:cubicBezTo>
                    <a:pt x="6522774" y="532642"/>
                    <a:pt x="5845540" y="402304"/>
                    <a:pt x="5189008" y="392622"/>
                  </a:cubicBezTo>
                  <a:close/>
                  <a:moveTo>
                    <a:pt x="4315134" y="389302"/>
                  </a:moveTo>
                  <a:lnTo>
                    <a:pt x="4145447" y="394084"/>
                  </a:lnTo>
                  <a:cubicBezTo>
                    <a:pt x="3300271" y="436964"/>
                    <a:pt x="2301149" y="743298"/>
                    <a:pt x="1926233" y="1643041"/>
                  </a:cubicBezTo>
                  <a:lnTo>
                    <a:pt x="1888384" y="1750130"/>
                  </a:lnTo>
                  <a:lnTo>
                    <a:pt x="4315134" y="1750130"/>
                  </a:lnTo>
                  <a:close/>
                  <a:moveTo>
                    <a:pt x="4356692" y="1232"/>
                  </a:moveTo>
                  <a:cubicBezTo>
                    <a:pt x="4436017" y="-699"/>
                    <a:pt x="4512692" y="-350"/>
                    <a:pt x="4586069" y="2199"/>
                  </a:cubicBezTo>
                  <a:cubicBezTo>
                    <a:pt x="5686736" y="40431"/>
                    <a:pt x="6730848" y="-137261"/>
                    <a:pt x="7969553" y="1735030"/>
                  </a:cubicBezTo>
                  <a:lnTo>
                    <a:pt x="7979239" y="1750130"/>
                  </a:lnTo>
                  <a:lnTo>
                    <a:pt x="8710048" y="1750130"/>
                  </a:lnTo>
                  <a:cubicBezTo>
                    <a:pt x="9272055" y="1750130"/>
                    <a:pt x="9727651" y="2205726"/>
                    <a:pt x="9727651" y="2767733"/>
                  </a:cubicBezTo>
                  <a:lnTo>
                    <a:pt x="9727651" y="3309585"/>
                  </a:lnTo>
                  <a:cubicBezTo>
                    <a:pt x="9727651" y="3871592"/>
                    <a:pt x="9272055" y="4327188"/>
                    <a:pt x="8710048" y="4327188"/>
                  </a:cubicBezTo>
                  <a:lnTo>
                    <a:pt x="8438949" y="4327188"/>
                  </a:lnTo>
                  <a:lnTo>
                    <a:pt x="8439613" y="4325048"/>
                  </a:lnTo>
                  <a:cubicBezTo>
                    <a:pt x="8455126" y="4249236"/>
                    <a:pt x="8463273" y="4170742"/>
                    <a:pt x="8463273" y="4090344"/>
                  </a:cubicBezTo>
                  <a:cubicBezTo>
                    <a:pt x="8463273" y="3447163"/>
                    <a:pt x="7941872" y="2925762"/>
                    <a:pt x="7298691" y="2925762"/>
                  </a:cubicBezTo>
                  <a:cubicBezTo>
                    <a:pt x="6655510" y="2925762"/>
                    <a:pt x="6134109" y="3447163"/>
                    <a:pt x="6134109" y="4090344"/>
                  </a:cubicBezTo>
                  <a:cubicBezTo>
                    <a:pt x="6134109" y="4170742"/>
                    <a:pt x="6142256" y="4249236"/>
                    <a:pt x="6157769" y="4325048"/>
                  </a:cubicBezTo>
                  <a:lnTo>
                    <a:pt x="6158433" y="4327188"/>
                  </a:lnTo>
                  <a:lnTo>
                    <a:pt x="3359824" y="4327188"/>
                  </a:lnTo>
                  <a:lnTo>
                    <a:pt x="3360488" y="4325048"/>
                  </a:lnTo>
                  <a:cubicBezTo>
                    <a:pt x="3376001" y="4249236"/>
                    <a:pt x="3384148" y="4170742"/>
                    <a:pt x="3384148" y="4090344"/>
                  </a:cubicBezTo>
                  <a:cubicBezTo>
                    <a:pt x="3384148" y="3447163"/>
                    <a:pt x="2862747" y="2925762"/>
                    <a:pt x="2219566" y="2925762"/>
                  </a:cubicBezTo>
                  <a:cubicBezTo>
                    <a:pt x="1576385" y="2925762"/>
                    <a:pt x="1054984" y="3447163"/>
                    <a:pt x="1054984" y="4090344"/>
                  </a:cubicBezTo>
                  <a:cubicBezTo>
                    <a:pt x="1054984" y="4170742"/>
                    <a:pt x="1063131" y="4249236"/>
                    <a:pt x="1078645" y="4325048"/>
                  </a:cubicBezTo>
                  <a:lnTo>
                    <a:pt x="1079309" y="4327188"/>
                  </a:lnTo>
                  <a:lnTo>
                    <a:pt x="1017603" y="4327188"/>
                  </a:lnTo>
                  <a:cubicBezTo>
                    <a:pt x="455596" y="4327188"/>
                    <a:pt x="0" y="3871592"/>
                    <a:pt x="0" y="3309585"/>
                  </a:cubicBezTo>
                  <a:lnTo>
                    <a:pt x="0" y="2767733"/>
                  </a:lnTo>
                  <a:cubicBezTo>
                    <a:pt x="0" y="2205726"/>
                    <a:pt x="455596" y="1750130"/>
                    <a:pt x="1017603" y="1750130"/>
                  </a:cubicBezTo>
                  <a:lnTo>
                    <a:pt x="1209415" y="1750130"/>
                  </a:lnTo>
                  <a:lnTo>
                    <a:pt x="1232083" y="1654215"/>
                  </a:lnTo>
                  <a:cubicBezTo>
                    <a:pt x="1601377" y="506259"/>
                    <a:pt x="3241176" y="28383"/>
                    <a:pt x="4356692" y="123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41" name="Freeform 507"/>
          <p:cNvSpPr/>
          <p:nvPr/>
        </p:nvSpPr>
        <p:spPr>
          <a:xfrm>
            <a:off x="1052570" y="5689281"/>
            <a:ext cx="202534" cy="438548"/>
          </a:xfrm>
          <a:custGeom>
            <a:avLst/>
            <a:gdLst>
              <a:gd name="connsiteX0" fmla="*/ 106957 w 839281"/>
              <a:gd name="connsiteY0" fmla="*/ 1365980 h 1817299"/>
              <a:gd name="connsiteX1" fmla="*/ 106957 w 839281"/>
              <a:gd name="connsiteY1" fmla="*/ 1620623 h 1817299"/>
              <a:gd name="connsiteX2" fmla="*/ 369854 w 839281"/>
              <a:gd name="connsiteY2" fmla="*/ 1620623 h 1817299"/>
              <a:gd name="connsiteX3" fmla="*/ 369854 w 839281"/>
              <a:gd name="connsiteY3" fmla="*/ 1365980 h 1817299"/>
              <a:gd name="connsiteX4" fmla="*/ 469427 w 839281"/>
              <a:gd name="connsiteY4" fmla="*/ 1079344 h 1817299"/>
              <a:gd name="connsiteX5" fmla="*/ 469427 w 839281"/>
              <a:gd name="connsiteY5" fmla="*/ 1333987 h 1817299"/>
              <a:gd name="connsiteX6" fmla="*/ 732324 w 839281"/>
              <a:gd name="connsiteY6" fmla="*/ 1333987 h 1817299"/>
              <a:gd name="connsiteX7" fmla="*/ 732324 w 839281"/>
              <a:gd name="connsiteY7" fmla="*/ 1079344 h 1817299"/>
              <a:gd name="connsiteX8" fmla="*/ 106957 w 839281"/>
              <a:gd name="connsiteY8" fmla="*/ 774587 h 1817299"/>
              <a:gd name="connsiteX9" fmla="*/ 106957 w 839281"/>
              <a:gd name="connsiteY9" fmla="*/ 1029230 h 1817299"/>
              <a:gd name="connsiteX10" fmla="*/ 369854 w 839281"/>
              <a:gd name="connsiteY10" fmla="*/ 1029230 h 1817299"/>
              <a:gd name="connsiteX11" fmla="*/ 369854 w 839281"/>
              <a:gd name="connsiteY11" fmla="*/ 774587 h 1817299"/>
              <a:gd name="connsiteX12" fmla="*/ 469427 w 839281"/>
              <a:gd name="connsiteY12" fmla="*/ 469830 h 1817299"/>
              <a:gd name="connsiteX13" fmla="*/ 469427 w 839281"/>
              <a:gd name="connsiteY13" fmla="*/ 724473 h 1817299"/>
              <a:gd name="connsiteX14" fmla="*/ 732324 w 839281"/>
              <a:gd name="connsiteY14" fmla="*/ 724473 h 1817299"/>
              <a:gd name="connsiteX15" fmla="*/ 732324 w 839281"/>
              <a:gd name="connsiteY15" fmla="*/ 469830 h 1817299"/>
              <a:gd name="connsiteX16" fmla="*/ 469427 w 839281"/>
              <a:gd name="connsiteY16" fmla="*/ 165073 h 1817299"/>
              <a:gd name="connsiteX17" fmla="*/ 469427 w 839281"/>
              <a:gd name="connsiteY17" fmla="*/ 419716 h 1817299"/>
              <a:gd name="connsiteX18" fmla="*/ 732324 w 839281"/>
              <a:gd name="connsiteY18" fmla="*/ 419716 h 1817299"/>
              <a:gd name="connsiteX19" fmla="*/ 732324 w 839281"/>
              <a:gd name="connsiteY19" fmla="*/ 165073 h 1817299"/>
              <a:gd name="connsiteX20" fmla="*/ 106957 w 839281"/>
              <a:gd name="connsiteY20" fmla="*/ 165073 h 1817299"/>
              <a:gd name="connsiteX21" fmla="*/ 106957 w 839281"/>
              <a:gd name="connsiteY21" fmla="*/ 419716 h 1817299"/>
              <a:gd name="connsiteX22" fmla="*/ 369854 w 839281"/>
              <a:gd name="connsiteY22" fmla="*/ 419716 h 1817299"/>
              <a:gd name="connsiteX23" fmla="*/ 369854 w 839281"/>
              <a:gd name="connsiteY23" fmla="*/ 165073 h 1817299"/>
              <a:gd name="connsiteX24" fmla="*/ 0 w 839281"/>
              <a:gd name="connsiteY24" fmla="*/ 0 h 1817299"/>
              <a:gd name="connsiteX25" fmla="*/ 839281 w 839281"/>
              <a:gd name="connsiteY25" fmla="*/ 0 h 1817299"/>
              <a:gd name="connsiteX26" fmla="*/ 839281 w 839281"/>
              <a:gd name="connsiteY26" fmla="*/ 1817299 h 1817299"/>
              <a:gd name="connsiteX27" fmla="*/ 0 w 839281"/>
              <a:gd name="connsiteY27" fmla="*/ 1817299 h 181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9281" h="1817299">
                <a:moveTo>
                  <a:pt x="106957" y="1365980"/>
                </a:moveTo>
                <a:lnTo>
                  <a:pt x="106957" y="1620623"/>
                </a:lnTo>
                <a:lnTo>
                  <a:pt x="369854" y="1620623"/>
                </a:lnTo>
                <a:lnTo>
                  <a:pt x="369854" y="1365980"/>
                </a:lnTo>
                <a:close/>
                <a:moveTo>
                  <a:pt x="469427" y="1079344"/>
                </a:moveTo>
                <a:lnTo>
                  <a:pt x="469427" y="1333987"/>
                </a:lnTo>
                <a:lnTo>
                  <a:pt x="732324" y="1333987"/>
                </a:lnTo>
                <a:lnTo>
                  <a:pt x="732324" y="1079344"/>
                </a:lnTo>
                <a:close/>
                <a:moveTo>
                  <a:pt x="106957" y="774587"/>
                </a:moveTo>
                <a:lnTo>
                  <a:pt x="106957" y="1029230"/>
                </a:lnTo>
                <a:lnTo>
                  <a:pt x="369854" y="1029230"/>
                </a:lnTo>
                <a:lnTo>
                  <a:pt x="369854" y="774587"/>
                </a:lnTo>
                <a:close/>
                <a:moveTo>
                  <a:pt x="469427" y="469830"/>
                </a:moveTo>
                <a:lnTo>
                  <a:pt x="469427" y="724473"/>
                </a:lnTo>
                <a:lnTo>
                  <a:pt x="732324" y="724473"/>
                </a:lnTo>
                <a:lnTo>
                  <a:pt x="732324" y="469830"/>
                </a:lnTo>
                <a:close/>
                <a:moveTo>
                  <a:pt x="469427" y="165073"/>
                </a:moveTo>
                <a:lnTo>
                  <a:pt x="469427" y="419716"/>
                </a:lnTo>
                <a:lnTo>
                  <a:pt x="732324" y="419716"/>
                </a:lnTo>
                <a:lnTo>
                  <a:pt x="732324" y="165073"/>
                </a:lnTo>
                <a:close/>
                <a:moveTo>
                  <a:pt x="106957" y="165073"/>
                </a:moveTo>
                <a:lnTo>
                  <a:pt x="106957" y="419716"/>
                </a:lnTo>
                <a:lnTo>
                  <a:pt x="369854" y="419716"/>
                </a:lnTo>
                <a:lnTo>
                  <a:pt x="369854" y="165073"/>
                </a:lnTo>
                <a:close/>
                <a:moveTo>
                  <a:pt x="0" y="0"/>
                </a:moveTo>
                <a:lnTo>
                  <a:pt x="839281" y="0"/>
                </a:lnTo>
                <a:lnTo>
                  <a:pt x="839281" y="1817299"/>
                </a:lnTo>
                <a:lnTo>
                  <a:pt x="0" y="1817299"/>
                </a:lnTo>
                <a:close/>
              </a:path>
            </a:pathLst>
          </a:custGeom>
          <a:solidFill>
            <a:srgbClr val="0051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508"/>
          <p:cNvSpPr/>
          <p:nvPr/>
        </p:nvSpPr>
        <p:spPr>
          <a:xfrm>
            <a:off x="1265692" y="5308065"/>
            <a:ext cx="265692" cy="819764"/>
          </a:xfrm>
          <a:custGeom>
            <a:avLst/>
            <a:gdLst>
              <a:gd name="connsiteX0" fmla="*/ 124723 w 839281"/>
              <a:gd name="connsiteY0" fmla="*/ 2138188 h 2589506"/>
              <a:gd name="connsiteX1" fmla="*/ 124723 w 839281"/>
              <a:gd name="connsiteY1" fmla="*/ 2392831 h 2589506"/>
              <a:gd name="connsiteX2" fmla="*/ 387620 w 839281"/>
              <a:gd name="connsiteY2" fmla="*/ 2392831 h 2589506"/>
              <a:gd name="connsiteX3" fmla="*/ 387620 w 839281"/>
              <a:gd name="connsiteY3" fmla="*/ 2138188 h 2589506"/>
              <a:gd name="connsiteX4" fmla="*/ 451660 w 839281"/>
              <a:gd name="connsiteY4" fmla="*/ 1851552 h 2589506"/>
              <a:gd name="connsiteX5" fmla="*/ 451660 w 839281"/>
              <a:gd name="connsiteY5" fmla="*/ 2106195 h 2589506"/>
              <a:gd name="connsiteX6" fmla="*/ 714557 w 839281"/>
              <a:gd name="connsiteY6" fmla="*/ 2106195 h 2589506"/>
              <a:gd name="connsiteX7" fmla="*/ 714557 w 839281"/>
              <a:gd name="connsiteY7" fmla="*/ 1851552 h 2589506"/>
              <a:gd name="connsiteX8" fmla="*/ 451660 w 839281"/>
              <a:gd name="connsiteY8" fmla="*/ 1546795 h 2589506"/>
              <a:gd name="connsiteX9" fmla="*/ 451660 w 839281"/>
              <a:gd name="connsiteY9" fmla="*/ 1801438 h 2589506"/>
              <a:gd name="connsiteX10" fmla="*/ 714557 w 839281"/>
              <a:gd name="connsiteY10" fmla="*/ 1801438 h 2589506"/>
              <a:gd name="connsiteX11" fmla="*/ 714557 w 839281"/>
              <a:gd name="connsiteY11" fmla="*/ 1546795 h 2589506"/>
              <a:gd name="connsiteX12" fmla="*/ 124723 w 839281"/>
              <a:gd name="connsiteY12" fmla="*/ 1546795 h 2589506"/>
              <a:gd name="connsiteX13" fmla="*/ 124723 w 839281"/>
              <a:gd name="connsiteY13" fmla="*/ 1801438 h 2589506"/>
              <a:gd name="connsiteX14" fmla="*/ 387620 w 839281"/>
              <a:gd name="connsiteY14" fmla="*/ 1801438 h 2589506"/>
              <a:gd name="connsiteX15" fmla="*/ 387620 w 839281"/>
              <a:gd name="connsiteY15" fmla="*/ 1546795 h 2589506"/>
              <a:gd name="connsiteX16" fmla="*/ 451660 w 839281"/>
              <a:gd name="connsiteY16" fmla="*/ 1242038 h 2589506"/>
              <a:gd name="connsiteX17" fmla="*/ 451660 w 839281"/>
              <a:gd name="connsiteY17" fmla="*/ 1496681 h 2589506"/>
              <a:gd name="connsiteX18" fmla="*/ 714557 w 839281"/>
              <a:gd name="connsiteY18" fmla="*/ 1496681 h 2589506"/>
              <a:gd name="connsiteX19" fmla="*/ 714557 w 839281"/>
              <a:gd name="connsiteY19" fmla="*/ 1242038 h 2589506"/>
              <a:gd name="connsiteX20" fmla="*/ 124723 w 839281"/>
              <a:gd name="connsiteY20" fmla="*/ 1242038 h 2589506"/>
              <a:gd name="connsiteX21" fmla="*/ 124723 w 839281"/>
              <a:gd name="connsiteY21" fmla="*/ 1496681 h 2589506"/>
              <a:gd name="connsiteX22" fmla="*/ 387620 w 839281"/>
              <a:gd name="connsiteY22" fmla="*/ 1496681 h 2589506"/>
              <a:gd name="connsiteX23" fmla="*/ 387620 w 839281"/>
              <a:gd name="connsiteY23" fmla="*/ 1242038 h 2589506"/>
              <a:gd name="connsiteX24" fmla="*/ 451660 w 839281"/>
              <a:gd name="connsiteY24" fmla="*/ 937281 h 2589506"/>
              <a:gd name="connsiteX25" fmla="*/ 451660 w 839281"/>
              <a:gd name="connsiteY25" fmla="*/ 1191924 h 2589506"/>
              <a:gd name="connsiteX26" fmla="*/ 714557 w 839281"/>
              <a:gd name="connsiteY26" fmla="*/ 1191924 h 2589506"/>
              <a:gd name="connsiteX27" fmla="*/ 714557 w 839281"/>
              <a:gd name="connsiteY27" fmla="*/ 937281 h 2589506"/>
              <a:gd name="connsiteX28" fmla="*/ 124723 w 839281"/>
              <a:gd name="connsiteY28" fmla="*/ 937281 h 2589506"/>
              <a:gd name="connsiteX29" fmla="*/ 124723 w 839281"/>
              <a:gd name="connsiteY29" fmla="*/ 1191924 h 2589506"/>
              <a:gd name="connsiteX30" fmla="*/ 387620 w 839281"/>
              <a:gd name="connsiteY30" fmla="*/ 1191924 h 2589506"/>
              <a:gd name="connsiteX31" fmla="*/ 387620 w 839281"/>
              <a:gd name="connsiteY31" fmla="*/ 937281 h 2589506"/>
              <a:gd name="connsiteX32" fmla="*/ 0 w 839281"/>
              <a:gd name="connsiteY32" fmla="*/ 0 h 2589506"/>
              <a:gd name="connsiteX33" fmla="*/ 342634 w 839281"/>
              <a:gd name="connsiteY33" fmla="*/ 1587 h 2589506"/>
              <a:gd name="connsiteX34" fmla="*/ 679797 w 839281"/>
              <a:gd name="connsiteY34" fmla="*/ 339795 h 2589506"/>
              <a:gd name="connsiteX35" fmla="*/ 679797 w 839281"/>
              <a:gd name="connsiteY35" fmla="*/ 558043 h 2589506"/>
              <a:gd name="connsiteX36" fmla="*/ 839281 w 839281"/>
              <a:gd name="connsiteY36" fmla="*/ 558043 h 2589506"/>
              <a:gd name="connsiteX37" fmla="*/ 839281 w 839281"/>
              <a:gd name="connsiteY37" fmla="*/ 2589506 h 2589506"/>
              <a:gd name="connsiteX38" fmla="*/ 0 w 839281"/>
              <a:gd name="connsiteY38" fmla="*/ 2589506 h 2589506"/>
              <a:gd name="connsiteX39" fmla="*/ 0 w 839281"/>
              <a:gd name="connsiteY39" fmla="*/ 679590 h 2589506"/>
              <a:gd name="connsiteX40" fmla="*/ 0 w 839281"/>
              <a:gd name="connsiteY40" fmla="*/ 558043 h 2589506"/>
              <a:gd name="connsiteX41" fmla="*/ 0 w 839281"/>
              <a:gd name="connsiteY41" fmla="*/ 339795 h 258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39281" h="2589506">
                <a:moveTo>
                  <a:pt x="124723" y="2138188"/>
                </a:moveTo>
                <a:lnTo>
                  <a:pt x="124723" y="2392831"/>
                </a:lnTo>
                <a:lnTo>
                  <a:pt x="387620" y="2392831"/>
                </a:lnTo>
                <a:lnTo>
                  <a:pt x="387620" y="2138188"/>
                </a:lnTo>
                <a:close/>
                <a:moveTo>
                  <a:pt x="451660" y="1851552"/>
                </a:moveTo>
                <a:lnTo>
                  <a:pt x="451660" y="2106195"/>
                </a:lnTo>
                <a:lnTo>
                  <a:pt x="714557" y="2106195"/>
                </a:lnTo>
                <a:lnTo>
                  <a:pt x="714557" y="1851552"/>
                </a:lnTo>
                <a:close/>
                <a:moveTo>
                  <a:pt x="451660" y="1546795"/>
                </a:moveTo>
                <a:lnTo>
                  <a:pt x="451660" y="1801438"/>
                </a:lnTo>
                <a:lnTo>
                  <a:pt x="714557" y="1801438"/>
                </a:lnTo>
                <a:lnTo>
                  <a:pt x="714557" y="1546795"/>
                </a:lnTo>
                <a:close/>
                <a:moveTo>
                  <a:pt x="124723" y="1546795"/>
                </a:moveTo>
                <a:lnTo>
                  <a:pt x="124723" y="1801438"/>
                </a:lnTo>
                <a:lnTo>
                  <a:pt x="387620" y="1801438"/>
                </a:lnTo>
                <a:lnTo>
                  <a:pt x="387620" y="1546795"/>
                </a:lnTo>
                <a:close/>
                <a:moveTo>
                  <a:pt x="451660" y="1242038"/>
                </a:moveTo>
                <a:lnTo>
                  <a:pt x="451660" y="1496681"/>
                </a:lnTo>
                <a:lnTo>
                  <a:pt x="714557" y="1496681"/>
                </a:lnTo>
                <a:lnTo>
                  <a:pt x="714557" y="1242038"/>
                </a:lnTo>
                <a:close/>
                <a:moveTo>
                  <a:pt x="124723" y="1242038"/>
                </a:moveTo>
                <a:lnTo>
                  <a:pt x="124723" y="1496681"/>
                </a:lnTo>
                <a:lnTo>
                  <a:pt x="387620" y="1496681"/>
                </a:lnTo>
                <a:lnTo>
                  <a:pt x="387620" y="1242038"/>
                </a:lnTo>
                <a:close/>
                <a:moveTo>
                  <a:pt x="451660" y="937281"/>
                </a:moveTo>
                <a:lnTo>
                  <a:pt x="451660" y="1191924"/>
                </a:lnTo>
                <a:lnTo>
                  <a:pt x="714557" y="1191924"/>
                </a:lnTo>
                <a:lnTo>
                  <a:pt x="714557" y="937281"/>
                </a:lnTo>
                <a:close/>
                <a:moveTo>
                  <a:pt x="124723" y="937281"/>
                </a:moveTo>
                <a:lnTo>
                  <a:pt x="124723" y="1191924"/>
                </a:lnTo>
                <a:lnTo>
                  <a:pt x="387620" y="1191924"/>
                </a:lnTo>
                <a:lnTo>
                  <a:pt x="387620" y="937281"/>
                </a:lnTo>
                <a:close/>
                <a:moveTo>
                  <a:pt x="0" y="0"/>
                </a:moveTo>
                <a:lnTo>
                  <a:pt x="342634" y="1587"/>
                </a:lnTo>
                <a:lnTo>
                  <a:pt x="679797" y="339795"/>
                </a:lnTo>
                <a:lnTo>
                  <a:pt x="679797" y="558043"/>
                </a:lnTo>
                <a:lnTo>
                  <a:pt x="839281" y="558043"/>
                </a:lnTo>
                <a:lnTo>
                  <a:pt x="839281" y="2589506"/>
                </a:lnTo>
                <a:lnTo>
                  <a:pt x="0" y="2589506"/>
                </a:lnTo>
                <a:lnTo>
                  <a:pt x="0" y="679590"/>
                </a:lnTo>
                <a:lnTo>
                  <a:pt x="0" y="558043"/>
                </a:lnTo>
                <a:lnTo>
                  <a:pt x="0" y="339795"/>
                </a:lnTo>
                <a:close/>
              </a:path>
            </a:pathLst>
          </a:custGeom>
          <a:solidFill>
            <a:srgbClr val="0051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509"/>
          <p:cNvSpPr/>
          <p:nvPr/>
        </p:nvSpPr>
        <p:spPr>
          <a:xfrm>
            <a:off x="1541972" y="5015240"/>
            <a:ext cx="286757" cy="1112589"/>
          </a:xfrm>
          <a:custGeom>
            <a:avLst/>
            <a:gdLst>
              <a:gd name="connsiteX0" fmla="*/ 103420 w 731868"/>
              <a:gd name="connsiteY0" fmla="*/ 1679862 h 2839579"/>
              <a:gd name="connsiteX1" fmla="*/ 103420 w 731868"/>
              <a:gd name="connsiteY1" fmla="*/ 1934505 h 2839579"/>
              <a:gd name="connsiteX2" fmla="*/ 366317 w 731868"/>
              <a:gd name="connsiteY2" fmla="*/ 1934505 h 2839579"/>
              <a:gd name="connsiteX3" fmla="*/ 366317 w 731868"/>
              <a:gd name="connsiteY3" fmla="*/ 1679862 h 2839579"/>
              <a:gd name="connsiteX4" fmla="*/ 365551 w 731868"/>
              <a:gd name="connsiteY4" fmla="*/ 1349399 h 2839579"/>
              <a:gd name="connsiteX5" fmla="*/ 365551 w 731868"/>
              <a:gd name="connsiteY5" fmla="*/ 1604042 h 2839579"/>
              <a:gd name="connsiteX6" fmla="*/ 628448 w 731868"/>
              <a:gd name="connsiteY6" fmla="*/ 1604042 h 2839579"/>
              <a:gd name="connsiteX7" fmla="*/ 628448 w 731868"/>
              <a:gd name="connsiteY7" fmla="*/ 1349399 h 2839579"/>
              <a:gd name="connsiteX8" fmla="*/ 103420 w 731868"/>
              <a:gd name="connsiteY8" fmla="*/ 1018937 h 2839579"/>
              <a:gd name="connsiteX9" fmla="*/ 103420 w 731868"/>
              <a:gd name="connsiteY9" fmla="*/ 1273580 h 2839579"/>
              <a:gd name="connsiteX10" fmla="*/ 366317 w 731868"/>
              <a:gd name="connsiteY10" fmla="*/ 1273580 h 2839579"/>
              <a:gd name="connsiteX11" fmla="*/ 366317 w 731868"/>
              <a:gd name="connsiteY11" fmla="*/ 1018937 h 2839579"/>
              <a:gd name="connsiteX12" fmla="*/ 304202 w 731868"/>
              <a:gd name="connsiteY12" fmla="*/ 0 h 2839579"/>
              <a:gd name="connsiteX13" fmla="*/ 427666 w 731868"/>
              <a:gd name="connsiteY13" fmla="*/ 0 h 2839579"/>
              <a:gd name="connsiteX14" fmla="*/ 427666 w 731868"/>
              <a:gd name="connsiteY14" fmla="*/ 246119 h 2839579"/>
              <a:gd name="connsiteX15" fmla="*/ 469185 w 731868"/>
              <a:gd name="connsiteY15" fmla="*/ 246119 h 2839579"/>
              <a:gd name="connsiteX16" fmla="*/ 469185 w 731868"/>
              <a:gd name="connsiteY16" fmla="*/ 467400 h 2839579"/>
              <a:gd name="connsiteX17" fmla="*/ 611545 w 731868"/>
              <a:gd name="connsiteY17" fmla="*/ 467400 h 2839579"/>
              <a:gd name="connsiteX18" fmla="*/ 611545 w 731868"/>
              <a:gd name="connsiteY18" fmla="*/ 783586 h 2839579"/>
              <a:gd name="connsiteX19" fmla="*/ 731868 w 731868"/>
              <a:gd name="connsiteY19" fmla="*/ 783586 h 2839579"/>
              <a:gd name="connsiteX20" fmla="*/ 731868 w 731868"/>
              <a:gd name="connsiteY20" fmla="*/ 2839579 h 2839579"/>
              <a:gd name="connsiteX21" fmla="*/ 0 w 731868"/>
              <a:gd name="connsiteY21" fmla="*/ 2839579 h 2839579"/>
              <a:gd name="connsiteX22" fmla="*/ 0 w 731868"/>
              <a:gd name="connsiteY22" fmla="*/ 783586 h 2839579"/>
              <a:gd name="connsiteX23" fmla="*/ 120324 w 731868"/>
              <a:gd name="connsiteY23" fmla="*/ 783586 h 2839579"/>
              <a:gd name="connsiteX24" fmla="*/ 120324 w 731868"/>
              <a:gd name="connsiteY24" fmla="*/ 467400 h 2839579"/>
              <a:gd name="connsiteX25" fmla="*/ 262683 w 731868"/>
              <a:gd name="connsiteY25" fmla="*/ 467400 h 2839579"/>
              <a:gd name="connsiteX26" fmla="*/ 262683 w 731868"/>
              <a:gd name="connsiteY26" fmla="*/ 246119 h 2839579"/>
              <a:gd name="connsiteX27" fmla="*/ 304202 w 731868"/>
              <a:gd name="connsiteY27" fmla="*/ 246119 h 283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1868" h="2839579">
                <a:moveTo>
                  <a:pt x="103420" y="1679862"/>
                </a:moveTo>
                <a:lnTo>
                  <a:pt x="103420" y="1934505"/>
                </a:lnTo>
                <a:lnTo>
                  <a:pt x="366317" y="1934505"/>
                </a:lnTo>
                <a:lnTo>
                  <a:pt x="366317" y="1679862"/>
                </a:lnTo>
                <a:close/>
                <a:moveTo>
                  <a:pt x="365551" y="1349399"/>
                </a:moveTo>
                <a:lnTo>
                  <a:pt x="365551" y="1604042"/>
                </a:lnTo>
                <a:lnTo>
                  <a:pt x="628448" y="1604042"/>
                </a:lnTo>
                <a:lnTo>
                  <a:pt x="628448" y="1349399"/>
                </a:lnTo>
                <a:close/>
                <a:moveTo>
                  <a:pt x="103420" y="1018937"/>
                </a:moveTo>
                <a:lnTo>
                  <a:pt x="103420" y="1273580"/>
                </a:lnTo>
                <a:lnTo>
                  <a:pt x="366317" y="1273580"/>
                </a:lnTo>
                <a:lnTo>
                  <a:pt x="366317" y="1018937"/>
                </a:lnTo>
                <a:close/>
                <a:moveTo>
                  <a:pt x="304202" y="0"/>
                </a:moveTo>
                <a:lnTo>
                  <a:pt x="427666" y="0"/>
                </a:lnTo>
                <a:lnTo>
                  <a:pt x="427666" y="246119"/>
                </a:lnTo>
                <a:lnTo>
                  <a:pt x="469185" y="246119"/>
                </a:lnTo>
                <a:lnTo>
                  <a:pt x="469185" y="467400"/>
                </a:lnTo>
                <a:lnTo>
                  <a:pt x="611545" y="467400"/>
                </a:lnTo>
                <a:lnTo>
                  <a:pt x="611545" y="783586"/>
                </a:lnTo>
                <a:lnTo>
                  <a:pt x="731868" y="783586"/>
                </a:lnTo>
                <a:lnTo>
                  <a:pt x="731868" y="2839579"/>
                </a:lnTo>
                <a:lnTo>
                  <a:pt x="0" y="2839579"/>
                </a:lnTo>
                <a:lnTo>
                  <a:pt x="0" y="783586"/>
                </a:lnTo>
                <a:lnTo>
                  <a:pt x="120324" y="783586"/>
                </a:lnTo>
                <a:lnTo>
                  <a:pt x="120324" y="467400"/>
                </a:lnTo>
                <a:lnTo>
                  <a:pt x="262683" y="467400"/>
                </a:lnTo>
                <a:lnTo>
                  <a:pt x="262683" y="246119"/>
                </a:lnTo>
                <a:lnTo>
                  <a:pt x="304202" y="246119"/>
                </a:lnTo>
                <a:close/>
              </a:path>
            </a:pathLst>
          </a:custGeom>
          <a:solidFill>
            <a:srgbClr val="0051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75" name="Group 74"/>
          <p:cNvGrpSpPr/>
          <p:nvPr/>
        </p:nvGrpSpPr>
        <p:grpSpPr>
          <a:xfrm>
            <a:off x="619979" y="3989310"/>
            <a:ext cx="1082773" cy="787602"/>
            <a:chOff x="1166218" y="3950638"/>
            <a:chExt cx="902294" cy="656323"/>
          </a:xfrm>
        </p:grpSpPr>
        <p:grpSp>
          <p:nvGrpSpPr>
            <p:cNvPr id="65" name="Group 64"/>
            <p:cNvGrpSpPr/>
            <p:nvPr/>
          </p:nvGrpSpPr>
          <p:grpSpPr>
            <a:xfrm>
              <a:off x="1166218" y="3950638"/>
              <a:ext cx="902294" cy="656323"/>
              <a:chOff x="696457" y="2200069"/>
              <a:chExt cx="1443376" cy="1049902"/>
            </a:xfrm>
          </p:grpSpPr>
          <p:sp>
            <p:nvSpPr>
              <p:cNvPr id="66" name="Rectangle 65"/>
              <p:cNvSpPr/>
              <p:nvPr/>
            </p:nvSpPr>
            <p:spPr bwMode="auto">
              <a:xfrm>
                <a:off x="736767" y="2219826"/>
                <a:ext cx="1348389" cy="9725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err="1">
                  <a:solidFill>
                    <a:srgbClr val="FFFFFF"/>
                  </a:solidFill>
                </a:endParaRPr>
              </a:p>
            </p:txBody>
          </p:sp>
          <p:sp>
            <p:nvSpPr>
              <p:cNvPr id="67" name="Rectangle 66"/>
              <p:cNvSpPr/>
              <p:nvPr/>
            </p:nvSpPr>
            <p:spPr bwMode="auto">
              <a:xfrm>
                <a:off x="1199955" y="2334002"/>
                <a:ext cx="885201" cy="82638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err="1">
                  <a:solidFill>
                    <a:srgbClr val="FFFFFF"/>
                  </a:solidFill>
                </a:endParaRPr>
              </a:p>
            </p:txBody>
          </p:sp>
          <p:sp>
            <p:nvSpPr>
              <p:cNvPr id="68" name="Rectangle 67"/>
              <p:cNvSpPr/>
              <p:nvPr/>
            </p:nvSpPr>
            <p:spPr bwMode="auto">
              <a:xfrm>
                <a:off x="736767" y="2219827"/>
                <a:ext cx="1348389" cy="220634"/>
              </a:xfrm>
              <a:prstGeom prst="rect">
                <a:avLst/>
              </a:prstGeom>
              <a:solidFill>
                <a:srgbClr val="0051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err="1">
                  <a:solidFill>
                    <a:srgbClr val="FFFFFF"/>
                  </a:solidFill>
                </a:endParaRPr>
              </a:p>
            </p:txBody>
          </p:sp>
          <p:sp>
            <p:nvSpPr>
              <p:cNvPr id="70" name="Rounded Rectangle 723"/>
              <p:cNvSpPr/>
              <p:nvPr/>
            </p:nvSpPr>
            <p:spPr bwMode="auto">
              <a:xfrm>
                <a:off x="1464112" y="2571768"/>
                <a:ext cx="458237" cy="45720"/>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err="1">
                  <a:solidFill>
                    <a:srgbClr val="FFFFFF"/>
                  </a:solidFill>
                </a:endParaRPr>
              </a:p>
            </p:txBody>
          </p:sp>
          <p:sp>
            <p:nvSpPr>
              <p:cNvPr id="71" name="Rounded Rectangle 724"/>
              <p:cNvSpPr/>
              <p:nvPr/>
            </p:nvSpPr>
            <p:spPr bwMode="auto">
              <a:xfrm>
                <a:off x="1464112" y="2719991"/>
                <a:ext cx="458237" cy="45720"/>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err="1">
                  <a:solidFill>
                    <a:srgbClr val="FFFFFF"/>
                  </a:solidFill>
                </a:endParaRPr>
              </a:p>
            </p:txBody>
          </p:sp>
          <p:sp>
            <p:nvSpPr>
              <p:cNvPr id="72" name="Rounded Rectangle 725"/>
              <p:cNvSpPr/>
              <p:nvPr/>
            </p:nvSpPr>
            <p:spPr bwMode="auto">
              <a:xfrm>
                <a:off x="1470867" y="2868214"/>
                <a:ext cx="451483" cy="45720"/>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err="1">
                  <a:solidFill>
                    <a:srgbClr val="FFFFFF"/>
                  </a:solidFill>
                </a:endParaRPr>
              </a:p>
            </p:txBody>
          </p:sp>
          <p:sp>
            <p:nvSpPr>
              <p:cNvPr id="73" name="Freeform 726"/>
              <p:cNvSpPr/>
              <p:nvPr/>
            </p:nvSpPr>
            <p:spPr bwMode="auto">
              <a:xfrm>
                <a:off x="696457" y="2200069"/>
                <a:ext cx="1443376" cy="1049902"/>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err="1">
                  <a:solidFill>
                    <a:srgbClr val="FFFFFF"/>
                  </a:solidFill>
                </a:endParaRPr>
              </a:p>
            </p:txBody>
          </p:sp>
        </p:grpSp>
        <p:grpSp>
          <p:nvGrpSpPr>
            <p:cNvPr id="22" name="Group 21"/>
            <p:cNvGrpSpPr/>
            <p:nvPr/>
          </p:nvGrpSpPr>
          <p:grpSpPr>
            <a:xfrm>
              <a:off x="1265391" y="4118405"/>
              <a:ext cx="357213" cy="357213"/>
              <a:chOff x="1172598" y="3846613"/>
              <a:chExt cx="677666" cy="677666"/>
            </a:xfrm>
          </p:grpSpPr>
          <p:sp>
            <p:nvSpPr>
              <p:cNvPr id="20" name="Oval 19"/>
              <p:cNvSpPr/>
              <p:nvPr/>
            </p:nvSpPr>
            <p:spPr bwMode="auto">
              <a:xfrm>
                <a:off x="1172598" y="3846613"/>
                <a:ext cx="677666" cy="67766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grpSp>
            <p:nvGrpSpPr>
              <p:cNvPr id="19" name="Group 18"/>
              <p:cNvGrpSpPr/>
              <p:nvPr/>
            </p:nvGrpSpPr>
            <p:grpSpPr>
              <a:xfrm>
                <a:off x="1193479" y="3867494"/>
                <a:ext cx="635904" cy="637866"/>
                <a:chOff x="5110105" y="5126387"/>
                <a:chExt cx="1524324" cy="1529028"/>
              </a:xfrm>
            </p:grpSpPr>
            <p:sp>
              <p:nvSpPr>
                <p:cNvPr id="45" name="Oval 44"/>
                <p:cNvSpPr>
                  <a:spLocks noChangeAspect="1"/>
                </p:cNvSpPr>
                <p:nvPr/>
              </p:nvSpPr>
              <p:spPr>
                <a:xfrm>
                  <a:off x="5110105" y="5126387"/>
                  <a:ext cx="1524324" cy="1524325"/>
                </a:xfrm>
                <a:prstGeom prst="ellipse">
                  <a:avLst/>
                </a:prstGeom>
                <a:solidFill>
                  <a:schemeClr val="tx2"/>
                </a:solidFill>
                <a:ln w="66675" cap="flat" cmpd="sng" algn="ctr">
                  <a:noFill/>
                  <a:prstDash val="solid"/>
                  <a:miter lim="800000"/>
                </a:ln>
                <a:effectLst/>
              </p:spPr>
              <p:txBody>
                <a:bodyPr rtlCol="0" anchor="ctr"/>
                <a:lstStyle/>
                <a:p>
                  <a:pPr algn="ctr">
                    <a:defRPr/>
                  </a:pPr>
                  <a:endParaRPr lang="en-US" kern="0">
                    <a:solidFill>
                      <a:srgbClr val="FFFFFF"/>
                    </a:solidFill>
                  </a:endParaRPr>
                </a:p>
              </p:txBody>
            </p:sp>
            <p:grpSp>
              <p:nvGrpSpPr>
                <p:cNvPr id="12" name="Group 11"/>
                <p:cNvGrpSpPr/>
                <p:nvPr/>
              </p:nvGrpSpPr>
              <p:grpSpPr>
                <a:xfrm>
                  <a:off x="5566892" y="5425951"/>
                  <a:ext cx="616815" cy="875063"/>
                  <a:chOff x="5566892" y="5425951"/>
                  <a:chExt cx="616815" cy="875063"/>
                </a:xfrm>
              </p:grpSpPr>
              <p:grpSp>
                <p:nvGrpSpPr>
                  <p:cNvPr id="55" name="Group 54"/>
                  <p:cNvGrpSpPr/>
                  <p:nvPr/>
                </p:nvGrpSpPr>
                <p:grpSpPr>
                  <a:xfrm>
                    <a:off x="5566892" y="5425951"/>
                    <a:ext cx="616815" cy="618988"/>
                    <a:chOff x="-7856291" y="4342088"/>
                    <a:chExt cx="2013098" cy="2020186"/>
                  </a:xfrm>
                </p:grpSpPr>
                <p:sp>
                  <p:nvSpPr>
                    <p:cNvPr id="60" name="Freeform: Shape 59"/>
                    <p:cNvSpPr/>
                    <p:nvPr/>
                  </p:nvSpPr>
                  <p:spPr>
                    <a:xfrm>
                      <a:off x="-7856291" y="4342088"/>
                      <a:ext cx="2013098" cy="2020186"/>
                    </a:xfrm>
                    <a:custGeom>
                      <a:avLst/>
                      <a:gdLst>
                        <a:gd name="connsiteX0" fmla="*/ 184298 w 2013098"/>
                        <a:gd name="connsiteY0" fmla="*/ 1956391 h 2020186"/>
                        <a:gd name="connsiteX1" fmla="*/ 56707 w 2013098"/>
                        <a:gd name="connsiteY1" fmla="*/ 1524000 h 2020186"/>
                        <a:gd name="connsiteX2" fmla="*/ 134679 w 2013098"/>
                        <a:gd name="connsiteY2" fmla="*/ 1084521 h 2020186"/>
                        <a:gd name="connsiteX3" fmla="*/ 0 w 2013098"/>
                        <a:gd name="connsiteY3" fmla="*/ 297712 h 2020186"/>
                        <a:gd name="connsiteX4" fmla="*/ 1410586 w 2013098"/>
                        <a:gd name="connsiteY4" fmla="*/ 0 h 2020186"/>
                        <a:gd name="connsiteX5" fmla="*/ 2013098 w 2013098"/>
                        <a:gd name="connsiteY5" fmla="*/ 318977 h 2020186"/>
                        <a:gd name="connsiteX6" fmla="*/ 1892596 w 2013098"/>
                        <a:gd name="connsiteY6" fmla="*/ 1127051 h 2020186"/>
                        <a:gd name="connsiteX7" fmla="*/ 1913861 w 2013098"/>
                        <a:gd name="connsiteY7" fmla="*/ 1545265 h 2020186"/>
                        <a:gd name="connsiteX8" fmla="*/ 1800447 w 2013098"/>
                        <a:gd name="connsiteY8" fmla="*/ 2013098 h 2020186"/>
                        <a:gd name="connsiteX9" fmla="*/ 276447 w 2013098"/>
                        <a:gd name="connsiteY9" fmla="*/ 2020186 h 2020186"/>
                        <a:gd name="connsiteX0" fmla="*/ 184298 w 2013098"/>
                        <a:gd name="connsiteY0" fmla="*/ 1956391 h 2020186"/>
                        <a:gd name="connsiteX1" fmla="*/ 134679 w 2013098"/>
                        <a:gd name="connsiteY1" fmla="*/ 1495646 h 2020186"/>
                        <a:gd name="connsiteX2" fmla="*/ 134679 w 2013098"/>
                        <a:gd name="connsiteY2" fmla="*/ 1084521 h 2020186"/>
                        <a:gd name="connsiteX3" fmla="*/ 0 w 2013098"/>
                        <a:gd name="connsiteY3" fmla="*/ 297712 h 2020186"/>
                        <a:gd name="connsiteX4" fmla="*/ 1410586 w 2013098"/>
                        <a:gd name="connsiteY4" fmla="*/ 0 h 2020186"/>
                        <a:gd name="connsiteX5" fmla="*/ 2013098 w 2013098"/>
                        <a:gd name="connsiteY5" fmla="*/ 318977 h 2020186"/>
                        <a:gd name="connsiteX6" fmla="*/ 1892596 w 2013098"/>
                        <a:gd name="connsiteY6" fmla="*/ 1127051 h 2020186"/>
                        <a:gd name="connsiteX7" fmla="*/ 1913861 w 2013098"/>
                        <a:gd name="connsiteY7" fmla="*/ 1545265 h 2020186"/>
                        <a:gd name="connsiteX8" fmla="*/ 1800447 w 2013098"/>
                        <a:gd name="connsiteY8" fmla="*/ 2013098 h 2020186"/>
                        <a:gd name="connsiteX9" fmla="*/ 276447 w 2013098"/>
                        <a:gd name="connsiteY9" fmla="*/ 2020186 h 2020186"/>
                        <a:gd name="connsiteX0" fmla="*/ 120503 w 2013098"/>
                        <a:gd name="connsiteY0" fmla="*/ 1956391 h 2020186"/>
                        <a:gd name="connsiteX1" fmla="*/ 134679 w 2013098"/>
                        <a:gd name="connsiteY1" fmla="*/ 1495646 h 2020186"/>
                        <a:gd name="connsiteX2" fmla="*/ 134679 w 2013098"/>
                        <a:gd name="connsiteY2" fmla="*/ 1084521 h 2020186"/>
                        <a:gd name="connsiteX3" fmla="*/ 0 w 2013098"/>
                        <a:gd name="connsiteY3" fmla="*/ 297712 h 2020186"/>
                        <a:gd name="connsiteX4" fmla="*/ 1410586 w 2013098"/>
                        <a:gd name="connsiteY4" fmla="*/ 0 h 2020186"/>
                        <a:gd name="connsiteX5" fmla="*/ 2013098 w 2013098"/>
                        <a:gd name="connsiteY5" fmla="*/ 318977 h 2020186"/>
                        <a:gd name="connsiteX6" fmla="*/ 1892596 w 2013098"/>
                        <a:gd name="connsiteY6" fmla="*/ 1127051 h 2020186"/>
                        <a:gd name="connsiteX7" fmla="*/ 1913861 w 2013098"/>
                        <a:gd name="connsiteY7" fmla="*/ 1545265 h 2020186"/>
                        <a:gd name="connsiteX8" fmla="*/ 1800447 w 2013098"/>
                        <a:gd name="connsiteY8" fmla="*/ 2013098 h 2020186"/>
                        <a:gd name="connsiteX9" fmla="*/ 276447 w 2013098"/>
                        <a:gd name="connsiteY9" fmla="*/ 2020186 h 202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3098" h="2020186">
                          <a:moveTo>
                            <a:pt x="120503" y="1956391"/>
                          </a:moveTo>
                          <a:lnTo>
                            <a:pt x="134679" y="1495646"/>
                          </a:lnTo>
                          <a:lnTo>
                            <a:pt x="134679" y="1084521"/>
                          </a:lnTo>
                          <a:lnTo>
                            <a:pt x="0" y="297712"/>
                          </a:lnTo>
                          <a:lnTo>
                            <a:pt x="1410586" y="0"/>
                          </a:lnTo>
                          <a:lnTo>
                            <a:pt x="2013098" y="318977"/>
                          </a:lnTo>
                          <a:lnTo>
                            <a:pt x="1892596" y="1127051"/>
                          </a:lnTo>
                          <a:lnTo>
                            <a:pt x="1913861" y="1545265"/>
                          </a:lnTo>
                          <a:lnTo>
                            <a:pt x="1800447" y="2013098"/>
                          </a:lnTo>
                          <a:lnTo>
                            <a:pt x="276447" y="2020186"/>
                          </a:lnTo>
                        </a:path>
                      </a:pathLst>
                    </a:custGeom>
                    <a:solidFill>
                      <a:srgbClr val="333333"/>
                    </a:solidFill>
                    <a:ln w="12700" cap="flat" cmpd="sng" algn="ctr">
                      <a:noFill/>
                      <a:prstDash val="solid"/>
                      <a:miter lim="800000"/>
                    </a:ln>
                    <a:effectLst/>
                  </p:spPr>
                  <p:txBody>
                    <a:bodyPr rtlCol="0" anchor="ctr"/>
                    <a:lstStyle/>
                    <a:p>
                      <a:pPr algn="ctr">
                        <a:defRPr/>
                      </a:pPr>
                      <a:endParaRPr lang="en-US" kern="0">
                        <a:solidFill>
                          <a:srgbClr val="FFFFFF"/>
                        </a:solidFill>
                      </a:endParaRPr>
                    </a:p>
                  </p:txBody>
                </p:sp>
                <p:sp>
                  <p:nvSpPr>
                    <p:cNvPr id="61" name="Freeform: Shape 60"/>
                    <p:cNvSpPr/>
                    <p:nvPr/>
                  </p:nvSpPr>
                  <p:spPr>
                    <a:xfrm>
                      <a:off x="-6800123" y="4342088"/>
                      <a:ext cx="956930" cy="2020186"/>
                    </a:xfrm>
                    <a:custGeom>
                      <a:avLst/>
                      <a:gdLst>
                        <a:gd name="connsiteX0" fmla="*/ 184298 w 2013098"/>
                        <a:gd name="connsiteY0" fmla="*/ 1956391 h 2020186"/>
                        <a:gd name="connsiteX1" fmla="*/ 56707 w 2013098"/>
                        <a:gd name="connsiteY1" fmla="*/ 1524000 h 2020186"/>
                        <a:gd name="connsiteX2" fmla="*/ 134679 w 2013098"/>
                        <a:gd name="connsiteY2" fmla="*/ 1084521 h 2020186"/>
                        <a:gd name="connsiteX3" fmla="*/ 0 w 2013098"/>
                        <a:gd name="connsiteY3" fmla="*/ 297712 h 2020186"/>
                        <a:gd name="connsiteX4" fmla="*/ 1410586 w 2013098"/>
                        <a:gd name="connsiteY4" fmla="*/ 0 h 2020186"/>
                        <a:gd name="connsiteX5" fmla="*/ 2013098 w 2013098"/>
                        <a:gd name="connsiteY5" fmla="*/ 318977 h 2020186"/>
                        <a:gd name="connsiteX6" fmla="*/ 1892596 w 2013098"/>
                        <a:gd name="connsiteY6" fmla="*/ 1127051 h 2020186"/>
                        <a:gd name="connsiteX7" fmla="*/ 1913861 w 2013098"/>
                        <a:gd name="connsiteY7" fmla="*/ 1545265 h 2020186"/>
                        <a:gd name="connsiteX8" fmla="*/ 1800447 w 2013098"/>
                        <a:gd name="connsiteY8" fmla="*/ 2013098 h 2020186"/>
                        <a:gd name="connsiteX9" fmla="*/ 276447 w 2013098"/>
                        <a:gd name="connsiteY9" fmla="*/ 2020186 h 2020186"/>
                        <a:gd name="connsiteX0" fmla="*/ 127591 w 1956391"/>
                        <a:gd name="connsiteY0" fmla="*/ 1956391 h 2020186"/>
                        <a:gd name="connsiteX1" fmla="*/ 0 w 1956391"/>
                        <a:gd name="connsiteY1" fmla="*/ 1524000 h 2020186"/>
                        <a:gd name="connsiteX2" fmla="*/ 77972 w 1956391"/>
                        <a:gd name="connsiteY2" fmla="*/ 1084521 h 2020186"/>
                        <a:gd name="connsiteX3" fmla="*/ 1353879 w 1956391"/>
                        <a:gd name="connsiteY3" fmla="*/ 0 h 2020186"/>
                        <a:gd name="connsiteX4" fmla="*/ 1956391 w 1956391"/>
                        <a:gd name="connsiteY4" fmla="*/ 318977 h 2020186"/>
                        <a:gd name="connsiteX5" fmla="*/ 1835889 w 1956391"/>
                        <a:gd name="connsiteY5" fmla="*/ 1127051 h 2020186"/>
                        <a:gd name="connsiteX6" fmla="*/ 1857154 w 1956391"/>
                        <a:gd name="connsiteY6" fmla="*/ 1545265 h 2020186"/>
                        <a:gd name="connsiteX7" fmla="*/ 1743740 w 1956391"/>
                        <a:gd name="connsiteY7" fmla="*/ 2013098 h 2020186"/>
                        <a:gd name="connsiteX8" fmla="*/ 219740 w 1956391"/>
                        <a:gd name="connsiteY8" fmla="*/ 2020186 h 2020186"/>
                        <a:gd name="connsiteX0" fmla="*/ 127591 w 1956391"/>
                        <a:gd name="connsiteY0" fmla="*/ 1956391 h 2020186"/>
                        <a:gd name="connsiteX1" fmla="*/ 0 w 1956391"/>
                        <a:gd name="connsiteY1" fmla="*/ 1524000 h 2020186"/>
                        <a:gd name="connsiteX2" fmla="*/ 1353879 w 1956391"/>
                        <a:gd name="connsiteY2" fmla="*/ 0 h 2020186"/>
                        <a:gd name="connsiteX3" fmla="*/ 1956391 w 1956391"/>
                        <a:gd name="connsiteY3" fmla="*/ 318977 h 2020186"/>
                        <a:gd name="connsiteX4" fmla="*/ 1835889 w 1956391"/>
                        <a:gd name="connsiteY4" fmla="*/ 1127051 h 2020186"/>
                        <a:gd name="connsiteX5" fmla="*/ 1857154 w 1956391"/>
                        <a:gd name="connsiteY5" fmla="*/ 1545265 h 2020186"/>
                        <a:gd name="connsiteX6" fmla="*/ 1743740 w 1956391"/>
                        <a:gd name="connsiteY6" fmla="*/ 2013098 h 2020186"/>
                        <a:gd name="connsiteX7" fmla="*/ 219740 w 1956391"/>
                        <a:gd name="connsiteY7" fmla="*/ 2020186 h 2020186"/>
                        <a:gd name="connsiteX0" fmla="*/ 0 w 1828800"/>
                        <a:gd name="connsiteY0" fmla="*/ 1956391 h 2020186"/>
                        <a:gd name="connsiteX1" fmla="*/ 1226288 w 1828800"/>
                        <a:gd name="connsiteY1" fmla="*/ 0 h 2020186"/>
                        <a:gd name="connsiteX2" fmla="*/ 1828800 w 1828800"/>
                        <a:gd name="connsiteY2" fmla="*/ 318977 h 2020186"/>
                        <a:gd name="connsiteX3" fmla="*/ 1708298 w 1828800"/>
                        <a:gd name="connsiteY3" fmla="*/ 1127051 h 2020186"/>
                        <a:gd name="connsiteX4" fmla="*/ 1729563 w 1828800"/>
                        <a:gd name="connsiteY4" fmla="*/ 1545265 h 2020186"/>
                        <a:gd name="connsiteX5" fmla="*/ 1616149 w 1828800"/>
                        <a:gd name="connsiteY5" fmla="*/ 2013098 h 2020186"/>
                        <a:gd name="connsiteX6" fmla="*/ 92149 w 1828800"/>
                        <a:gd name="connsiteY6" fmla="*/ 2020186 h 2020186"/>
                        <a:gd name="connsiteX0" fmla="*/ 1134139 w 1736651"/>
                        <a:gd name="connsiteY0" fmla="*/ 0 h 2020186"/>
                        <a:gd name="connsiteX1" fmla="*/ 1736651 w 1736651"/>
                        <a:gd name="connsiteY1" fmla="*/ 318977 h 2020186"/>
                        <a:gd name="connsiteX2" fmla="*/ 1616149 w 1736651"/>
                        <a:gd name="connsiteY2" fmla="*/ 1127051 h 2020186"/>
                        <a:gd name="connsiteX3" fmla="*/ 1637414 w 1736651"/>
                        <a:gd name="connsiteY3" fmla="*/ 1545265 h 2020186"/>
                        <a:gd name="connsiteX4" fmla="*/ 1524000 w 1736651"/>
                        <a:gd name="connsiteY4" fmla="*/ 2013098 h 2020186"/>
                        <a:gd name="connsiteX5" fmla="*/ 0 w 1736651"/>
                        <a:gd name="connsiteY5" fmla="*/ 2020186 h 2020186"/>
                        <a:gd name="connsiteX0" fmla="*/ 354418 w 956930"/>
                        <a:gd name="connsiteY0" fmla="*/ 0 h 2020186"/>
                        <a:gd name="connsiteX1" fmla="*/ 956930 w 956930"/>
                        <a:gd name="connsiteY1" fmla="*/ 318977 h 2020186"/>
                        <a:gd name="connsiteX2" fmla="*/ 836428 w 956930"/>
                        <a:gd name="connsiteY2" fmla="*/ 1127051 h 2020186"/>
                        <a:gd name="connsiteX3" fmla="*/ 857693 w 956930"/>
                        <a:gd name="connsiteY3" fmla="*/ 1545265 h 2020186"/>
                        <a:gd name="connsiteX4" fmla="*/ 744279 w 956930"/>
                        <a:gd name="connsiteY4" fmla="*/ 2013098 h 2020186"/>
                        <a:gd name="connsiteX5" fmla="*/ 0 w 956930"/>
                        <a:gd name="connsiteY5" fmla="*/ 2020186 h 2020186"/>
                        <a:gd name="connsiteX0" fmla="*/ 354418 w 956930"/>
                        <a:gd name="connsiteY0" fmla="*/ 0 h 2020186"/>
                        <a:gd name="connsiteX1" fmla="*/ 956930 w 956930"/>
                        <a:gd name="connsiteY1" fmla="*/ 318977 h 2020186"/>
                        <a:gd name="connsiteX2" fmla="*/ 836428 w 956930"/>
                        <a:gd name="connsiteY2" fmla="*/ 1127051 h 2020186"/>
                        <a:gd name="connsiteX3" fmla="*/ 857693 w 956930"/>
                        <a:gd name="connsiteY3" fmla="*/ 1545265 h 2020186"/>
                        <a:gd name="connsiteX4" fmla="*/ 744279 w 956930"/>
                        <a:gd name="connsiteY4" fmla="*/ 2013098 h 2020186"/>
                        <a:gd name="connsiteX5" fmla="*/ 0 w 956930"/>
                        <a:gd name="connsiteY5" fmla="*/ 2020186 h 2020186"/>
                        <a:gd name="connsiteX6" fmla="*/ 354418 w 956930"/>
                        <a:gd name="connsiteY6" fmla="*/ 0 h 202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930" h="2020186">
                          <a:moveTo>
                            <a:pt x="354418" y="0"/>
                          </a:moveTo>
                          <a:lnTo>
                            <a:pt x="956930" y="318977"/>
                          </a:lnTo>
                          <a:lnTo>
                            <a:pt x="836428" y="1127051"/>
                          </a:lnTo>
                          <a:lnTo>
                            <a:pt x="857693" y="1545265"/>
                          </a:lnTo>
                          <a:lnTo>
                            <a:pt x="744279" y="2013098"/>
                          </a:lnTo>
                          <a:lnTo>
                            <a:pt x="0" y="2020186"/>
                          </a:lnTo>
                          <a:lnTo>
                            <a:pt x="354418" y="0"/>
                          </a:lnTo>
                          <a:close/>
                        </a:path>
                      </a:pathLst>
                    </a:custGeom>
                    <a:solidFill>
                      <a:srgbClr val="D2D2D2">
                        <a:lumMod val="10000"/>
                      </a:srgbClr>
                    </a:solidFill>
                    <a:ln w="12700" cap="flat" cmpd="sng" algn="ctr">
                      <a:noFill/>
                      <a:prstDash val="solid"/>
                      <a:miter lim="800000"/>
                    </a:ln>
                    <a:effectLst/>
                  </p:spPr>
                  <p:txBody>
                    <a:bodyPr rtlCol="0" anchor="ctr"/>
                    <a:lstStyle/>
                    <a:p>
                      <a:pPr algn="ctr">
                        <a:defRPr/>
                      </a:pPr>
                      <a:endParaRPr lang="en-US" kern="0">
                        <a:solidFill>
                          <a:srgbClr val="FFFFFF"/>
                        </a:solidFill>
                      </a:endParaRPr>
                    </a:p>
                  </p:txBody>
                </p:sp>
              </p:grpSp>
              <p:grpSp>
                <p:nvGrpSpPr>
                  <p:cNvPr id="56" name="Group 55"/>
                  <p:cNvGrpSpPr/>
                  <p:nvPr/>
                </p:nvGrpSpPr>
                <p:grpSpPr>
                  <a:xfrm>
                    <a:off x="5593963" y="5590685"/>
                    <a:ext cx="572092" cy="710329"/>
                    <a:chOff x="-10903445" y="4879945"/>
                    <a:chExt cx="1867137" cy="2318297"/>
                  </a:xfrm>
                </p:grpSpPr>
                <p:sp>
                  <p:nvSpPr>
                    <p:cNvPr id="57" name="Rectangle 56"/>
                    <p:cNvSpPr/>
                    <p:nvPr/>
                  </p:nvSpPr>
                  <p:spPr>
                    <a:xfrm>
                      <a:off x="-10487707" y="6517758"/>
                      <a:ext cx="1061711" cy="680484"/>
                    </a:xfrm>
                    <a:prstGeom prst="rect">
                      <a:avLst/>
                    </a:prstGeom>
                    <a:solidFill>
                      <a:srgbClr val="DFBB8F"/>
                    </a:solidFill>
                    <a:ln w="25400" cap="flat" cmpd="sng" algn="ctr">
                      <a:noFill/>
                      <a:prstDash val="solid"/>
                      <a:miter lim="800000"/>
                    </a:ln>
                    <a:effectLst/>
                  </p:spPr>
                  <p:txBody>
                    <a:bodyPr rtlCol="0" anchor="ctr"/>
                    <a:lstStyle/>
                    <a:p>
                      <a:pPr algn="ctr">
                        <a:defRPr/>
                      </a:pPr>
                      <a:endParaRPr lang="en-US" kern="0">
                        <a:solidFill>
                          <a:srgbClr val="FFFFFF"/>
                        </a:solidFill>
                      </a:endParaRPr>
                    </a:p>
                  </p:txBody>
                </p:sp>
                <p:sp>
                  <p:nvSpPr>
                    <p:cNvPr id="58" name="Freeform: Shape 57"/>
                    <p:cNvSpPr/>
                    <p:nvPr/>
                  </p:nvSpPr>
                  <p:spPr>
                    <a:xfrm>
                      <a:off x="-10814250" y="4879945"/>
                      <a:ext cx="1777942" cy="1924893"/>
                    </a:xfrm>
                    <a:custGeom>
                      <a:avLst/>
                      <a:gdLst>
                        <a:gd name="connsiteX0" fmla="*/ 0 w 1777942"/>
                        <a:gd name="connsiteY0" fmla="*/ 0 h 1924893"/>
                        <a:gd name="connsiteX1" fmla="*/ 1639930 w 1777942"/>
                        <a:gd name="connsiteY1" fmla="*/ 0 h 1924893"/>
                        <a:gd name="connsiteX2" fmla="*/ 1639930 w 1777942"/>
                        <a:gd name="connsiteY2" fmla="*/ 491270 h 1924893"/>
                        <a:gd name="connsiteX3" fmla="*/ 1777942 w 1777942"/>
                        <a:gd name="connsiteY3" fmla="*/ 491270 h 1924893"/>
                        <a:gd name="connsiteX4" fmla="*/ 1777942 w 1777942"/>
                        <a:gd name="connsiteY4" fmla="*/ 1060982 h 1924893"/>
                        <a:gd name="connsiteX5" fmla="*/ 1639930 w 1777942"/>
                        <a:gd name="connsiteY5" fmla="*/ 1060982 h 1924893"/>
                        <a:gd name="connsiteX6" fmla="*/ 1639930 w 1777942"/>
                        <a:gd name="connsiteY6" fmla="*/ 1705153 h 1924893"/>
                        <a:gd name="connsiteX7" fmla="*/ 817678 w 1777942"/>
                        <a:gd name="connsiteY7" fmla="*/ 1924893 h 1924893"/>
                        <a:gd name="connsiteX8" fmla="*/ 0 w 1777942"/>
                        <a:gd name="connsiteY8" fmla="*/ 1705153 h 192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942" h="1924893">
                          <a:moveTo>
                            <a:pt x="0" y="0"/>
                          </a:moveTo>
                          <a:lnTo>
                            <a:pt x="1639930" y="0"/>
                          </a:lnTo>
                          <a:lnTo>
                            <a:pt x="1639930" y="491270"/>
                          </a:lnTo>
                          <a:lnTo>
                            <a:pt x="1777942" y="491270"/>
                          </a:lnTo>
                          <a:lnTo>
                            <a:pt x="1777942" y="1060982"/>
                          </a:lnTo>
                          <a:lnTo>
                            <a:pt x="1639930" y="1060982"/>
                          </a:lnTo>
                          <a:lnTo>
                            <a:pt x="1639930" y="1705153"/>
                          </a:lnTo>
                          <a:lnTo>
                            <a:pt x="817678" y="1924893"/>
                          </a:lnTo>
                          <a:lnTo>
                            <a:pt x="0" y="1705153"/>
                          </a:lnTo>
                          <a:close/>
                        </a:path>
                      </a:pathLst>
                    </a:custGeom>
                    <a:solidFill>
                      <a:srgbClr val="DFBB8F"/>
                    </a:solidFill>
                    <a:ln w="25400" cap="flat" cmpd="sng" algn="ctr">
                      <a:noFill/>
                      <a:prstDash val="solid"/>
                      <a:miter lim="800000"/>
                    </a:ln>
                    <a:effectLst/>
                  </p:spPr>
                  <p:txBody>
                    <a:bodyPr wrap="square" rtlCol="0" anchor="ctr">
                      <a:noAutofit/>
                    </a:bodyPr>
                    <a:lstStyle/>
                    <a:p>
                      <a:pPr algn="ctr">
                        <a:defRPr/>
                      </a:pPr>
                      <a:endParaRPr lang="en-US" kern="0">
                        <a:solidFill>
                          <a:srgbClr val="FFFFFF"/>
                        </a:solidFill>
                      </a:endParaRPr>
                    </a:p>
                  </p:txBody>
                </p:sp>
                <p:sp>
                  <p:nvSpPr>
                    <p:cNvPr id="59" name="Freeform: Shape 58"/>
                    <p:cNvSpPr/>
                    <p:nvPr/>
                  </p:nvSpPr>
                  <p:spPr>
                    <a:xfrm>
                      <a:off x="-10903445" y="4879945"/>
                      <a:ext cx="1185287" cy="1924893"/>
                    </a:xfrm>
                    <a:custGeom>
                      <a:avLst/>
                      <a:gdLst>
                        <a:gd name="connsiteX0" fmla="*/ 74710 w 1185287"/>
                        <a:gd name="connsiteY0" fmla="*/ 0 h 1924893"/>
                        <a:gd name="connsiteX1" fmla="*/ 906566 w 1185287"/>
                        <a:gd name="connsiteY1" fmla="*/ 0 h 1924893"/>
                        <a:gd name="connsiteX2" fmla="*/ 913653 w 1185287"/>
                        <a:gd name="connsiteY2" fmla="*/ 762400 h 1924893"/>
                        <a:gd name="connsiteX3" fmla="*/ 1185287 w 1185287"/>
                        <a:gd name="connsiteY3" fmla="*/ 1180614 h 1924893"/>
                        <a:gd name="connsiteX4" fmla="*/ 930105 w 1185287"/>
                        <a:gd name="connsiteY4" fmla="*/ 1123907 h 1924893"/>
                        <a:gd name="connsiteX5" fmla="*/ 892388 w 1185287"/>
                        <a:gd name="connsiteY5" fmla="*/ 1924893 h 1924893"/>
                        <a:gd name="connsiteX6" fmla="*/ 74710 w 1185287"/>
                        <a:gd name="connsiteY6" fmla="*/ 1705153 h 1924893"/>
                        <a:gd name="connsiteX7" fmla="*/ 74710 w 1185287"/>
                        <a:gd name="connsiteY7" fmla="*/ 1087089 h 1924893"/>
                        <a:gd name="connsiteX8" fmla="*/ 0 w 1185287"/>
                        <a:gd name="connsiteY8" fmla="*/ 1087089 h 1924893"/>
                        <a:gd name="connsiteX9" fmla="*/ 0 w 1185287"/>
                        <a:gd name="connsiteY9" fmla="*/ 517377 h 1924893"/>
                        <a:gd name="connsiteX10" fmla="*/ 74710 w 1185287"/>
                        <a:gd name="connsiteY10" fmla="*/ 517377 h 192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5287" h="1924893">
                          <a:moveTo>
                            <a:pt x="74710" y="0"/>
                          </a:moveTo>
                          <a:lnTo>
                            <a:pt x="906566" y="0"/>
                          </a:lnTo>
                          <a:cubicBezTo>
                            <a:pt x="908928" y="254133"/>
                            <a:pt x="911291" y="508267"/>
                            <a:pt x="913653" y="762400"/>
                          </a:cubicBezTo>
                          <a:lnTo>
                            <a:pt x="1185287" y="1180614"/>
                          </a:lnTo>
                          <a:lnTo>
                            <a:pt x="930105" y="1123907"/>
                          </a:lnTo>
                          <a:lnTo>
                            <a:pt x="892388" y="1924893"/>
                          </a:lnTo>
                          <a:lnTo>
                            <a:pt x="74710" y="1705153"/>
                          </a:lnTo>
                          <a:lnTo>
                            <a:pt x="74710" y="1087089"/>
                          </a:lnTo>
                          <a:lnTo>
                            <a:pt x="0" y="1087089"/>
                          </a:lnTo>
                          <a:lnTo>
                            <a:pt x="0" y="517377"/>
                          </a:lnTo>
                          <a:lnTo>
                            <a:pt x="74710" y="517377"/>
                          </a:lnTo>
                          <a:close/>
                        </a:path>
                      </a:pathLst>
                    </a:custGeom>
                    <a:solidFill>
                      <a:srgbClr val="CCA67B"/>
                    </a:solidFill>
                    <a:ln w="25400" cap="flat" cmpd="sng" algn="ctr">
                      <a:noFill/>
                      <a:prstDash val="solid"/>
                      <a:miter lim="800000"/>
                    </a:ln>
                    <a:effectLst/>
                  </p:spPr>
                  <p:txBody>
                    <a:bodyPr wrap="square" rtlCol="0" anchor="ctr">
                      <a:noAutofit/>
                    </a:bodyPr>
                    <a:lstStyle/>
                    <a:p>
                      <a:pPr algn="ctr">
                        <a:defRPr/>
                      </a:pPr>
                      <a:endParaRPr lang="en-US" kern="0">
                        <a:solidFill>
                          <a:srgbClr val="FFFFFF"/>
                        </a:solidFill>
                      </a:endParaRPr>
                    </a:p>
                  </p:txBody>
                </p:sp>
              </p:grpSp>
            </p:grpSp>
            <p:sp>
              <p:nvSpPr>
                <p:cNvPr id="47" name="Freeform: Shape 46"/>
                <p:cNvSpPr/>
                <p:nvPr/>
              </p:nvSpPr>
              <p:spPr>
                <a:xfrm>
                  <a:off x="5352402" y="6271382"/>
                  <a:ext cx="1076202" cy="367199"/>
                </a:xfrm>
                <a:custGeom>
                  <a:avLst/>
                  <a:gdLst>
                    <a:gd name="connsiteX0" fmla="*/ 1268819 w 3512395"/>
                    <a:gd name="connsiteY0" fmla="*/ 0 h 1198424"/>
                    <a:gd name="connsiteX1" fmla="*/ 2353340 w 3512395"/>
                    <a:gd name="connsiteY1" fmla="*/ 0 h 1198424"/>
                    <a:gd name="connsiteX2" fmla="*/ 3459126 w 3512395"/>
                    <a:gd name="connsiteY2" fmla="*/ 347330 h 1198424"/>
                    <a:gd name="connsiteX3" fmla="*/ 3512395 w 3512395"/>
                    <a:gd name="connsiteY3" fmla="*/ 453868 h 1198424"/>
                    <a:gd name="connsiteX4" fmla="*/ 3497858 w 3512395"/>
                    <a:gd name="connsiteY4" fmla="*/ 469862 h 1198424"/>
                    <a:gd name="connsiteX5" fmla="*/ 3332116 w 3512395"/>
                    <a:gd name="connsiteY5" fmla="*/ 620499 h 1198424"/>
                    <a:gd name="connsiteX6" fmla="*/ 3216398 w 3512395"/>
                    <a:gd name="connsiteY6" fmla="*/ 708787 h 1198424"/>
                    <a:gd name="connsiteX7" fmla="*/ 3129720 w 3512395"/>
                    <a:gd name="connsiteY7" fmla="*/ 773604 h 1198424"/>
                    <a:gd name="connsiteX8" fmla="*/ 1738953 w 3512395"/>
                    <a:gd name="connsiteY8" fmla="*/ 1198424 h 1198424"/>
                    <a:gd name="connsiteX9" fmla="*/ 156693 w 3512395"/>
                    <a:gd name="connsiteY9" fmla="*/ 630408 h 1198424"/>
                    <a:gd name="connsiteX10" fmla="*/ 3975 w 3512395"/>
                    <a:gd name="connsiteY10" fmla="*/ 491608 h 1198424"/>
                    <a:gd name="connsiteX11" fmla="*/ 0 w 3512395"/>
                    <a:gd name="connsiteY11" fmla="*/ 304800 h 119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2395" h="1198424">
                      <a:moveTo>
                        <a:pt x="1268819" y="0"/>
                      </a:moveTo>
                      <a:lnTo>
                        <a:pt x="2353340" y="0"/>
                      </a:lnTo>
                      <a:lnTo>
                        <a:pt x="3459126" y="347330"/>
                      </a:lnTo>
                      <a:lnTo>
                        <a:pt x="3512395" y="453868"/>
                      </a:lnTo>
                      <a:lnTo>
                        <a:pt x="3497858" y="469862"/>
                      </a:lnTo>
                      <a:lnTo>
                        <a:pt x="3332116" y="620499"/>
                      </a:lnTo>
                      <a:lnTo>
                        <a:pt x="3216398" y="708787"/>
                      </a:lnTo>
                      <a:lnTo>
                        <a:pt x="3129720" y="773604"/>
                      </a:lnTo>
                      <a:cubicBezTo>
                        <a:pt x="2732717" y="1041813"/>
                        <a:pt x="2254125" y="1198424"/>
                        <a:pt x="1738953" y="1198424"/>
                      </a:cubicBezTo>
                      <a:cubicBezTo>
                        <a:pt x="1137920" y="1198424"/>
                        <a:pt x="586674" y="985260"/>
                        <a:pt x="156693" y="630408"/>
                      </a:cubicBezTo>
                      <a:lnTo>
                        <a:pt x="3975" y="491608"/>
                      </a:lnTo>
                      <a:lnTo>
                        <a:pt x="0" y="304800"/>
                      </a:lnTo>
                      <a:close/>
                    </a:path>
                  </a:pathLst>
                </a:custGeom>
                <a:solidFill>
                  <a:srgbClr val="424143"/>
                </a:solidFill>
                <a:ln w="12700" cap="flat" cmpd="sng" algn="ctr">
                  <a:noFill/>
                  <a:prstDash val="solid"/>
                  <a:miter lim="800000"/>
                </a:ln>
                <a:effectLst/>
              </p:spPr>
              <p:txBody>
                <a:bodyPr rtlCol="0" anchor="ctr"/>
                <a:lstStyle/>
                <a:p>
                  <a:pPr algn="ctr">
                    <a:defRPr/>
                  </a:pPr>
                  <a:endParaRPr lang="en-US" kern="0">
                    <a:solidFill>
                      <a:srgbClr val="FFFFFF"/>
                    </a:solidFill>
                  </a:endParaRPr>
                </a:p>
              </p:txBody>
            </p:sp>
            <p:sp>
              <p:nvSpPr>
                <p:cNvPr id="48" name="Trapezoid 47"/>
                <p:cNvSpPr/>
                <p:nvPr/>
              </p:nvSpPr>
              <p:spPr>
                <a:xfrm rot="10800000">
                  <a:off x="5703391" y="6255893"/>
                  <a:ext cx="366984" cy="399522"/>
                </a:xfrm>
                <a:prstGeom prst="trapezoid">
                  <a:avLst/>
                </a:prstGeom>
                <a:solidFill>
                  <a:srgbClr val="FFFFFF"/>
                </a:solidFill>
                <a:ln w="25400" cap="flat" cmpd="sng" algn="ctr">
                  <a:noFill/>
                  <a:prstDash val="solid"/>
                  <a:miter lim="800000"/>
                </a:ln>
                <a:effectLst/>
              </p:spPr>
              <p:txBody>
                <a:bodyPr rtlCol="0" anchor="ctr"/>
                <a:lstStyle/>
                <a:p>
                  <a:pPr algn="ctr">
                    <a:defRPr/>
                  </a:pPr>
                  <a:endParaRPr lang="en-US" kern="0">
                    <a:solidFill>
                      <a:srgbClr val="FFFFFF"/>
                    </a:solidFill>
                  </a:endParaRPr>
                </a:p>
              </p:txBody>
            </p:sp>
            <p:grpSp>
              <p:nvGrpSpPr>
                <p:cNvPr id="49" name="Group 48"/>
                <p:cNvGrpSpPr/>
                <p:nvPr/>
              </p:nvGrpSpPr>
              <p:grpSpPr>
                <a:xfrm>
                  <a:off x="5684729" y="5702586"/>
                  <a:ext cx="385651" cy="345864"/>
                  <a:chOff x="8039713" y="4913566"/>
                  <a:chExt cx="200025" cy="179388"/>
                </a:xfrm>
              </p:grpSpPr>
              <p:sp>
                <p:nvSpPr>
                  <p:cNvPr id="50" name="Oval 49"/>
                  <p:cNvSpPr>
                    <a:spLocks noChangeAspect="1"/>
                  </p:cNvSpPr>
                  <p:nvPr/>
                </p:nvSpPr>
                <p:spPr>
                  <a:xfrm>
                    <a:off x="8083328" y="4948491"/>
                    <a:ext cx="18288" cy="18288"/>
                  </a:xfrm>
                  <a:prstGeom prst="ellipse">
                    <a:avLst/>
                  </a:prstGeom>
                  <a:solidFill>
                    <a:srgbClr val="505050">
                      <a:lumMod val="75000"/>
                    </a:srgbClr>
                  </a:solidFill>
                  <a:ln w="12700" cap="flat" cmpd="sng" algn="ctr">
                    <a:noFill/>
                    <a:prstDash val="solid"/>
                    <a:miter lim="800000"/>
                  </a:ln>
                  <a:effectLst/>
                </p:spPr>
                <p:txBody>
                  <a:bodyPr rtlCol="0" anchor="ctr"/>
                  <a:lstStyle/>
                  <a:p>
                    <a:pPr algn="ctr">
                      <a:defRPr/>
                    </a:pPr>
                    <a:endParaRPr lang="en-US" kern="0">
                      <a:solidFill>
                        <a:srgbClr val="FFFFFF"/>
                      </a:solidFill>
                    </a:endParaRPr>
                  </a:p>
                </p:txBody>
              </p:sp>
              <p:sp>
                <p:nvSpPr>
                  <p:cNvPr id="51" name="Oval 50"/>
                  <p:cNvSpPr>
                    <a:spLocks noChangeAspect="1"/>
                  </p:cNvSpPr>
                  <p:nvPr/>
                </p:nvSpPr>
                <p:spPr>
                  <a:xfrm>
                    <a:off x="8170109" y="4948491"/>
                    <a:ext cx="18288" cy="18288"/>
                  </a:xfrm>
                  <a:prstGeom prst="ellipse">
                    <a:avLst/>
                  </a:prstGeom>
                  <a:solidFill>
                    <a:srgbClr val="505050">
                      <a:lumMod val="75000"/>
                    </a:srgbClr>
                  </a:solidFill>
                  <a:ln w="12700" cap="flat" cmpd="sng" algn="ctr">
                    <a:noFill/>
                    <a:prstDash val="solid"/>
                    <a:miter lim="800000"/>
                  </a:ln>
                  <a:effectLst/>
                </p:spPr>
                <p:txBody>
                  <a:bodyPr rtlCol="0" anchor="ctr"/>
                  <a:lstStyle/>
                  <a:p>
                    <a:pPr algn="ctr">
                      <a:defRPr/>
                    </a:pPr>
                    <a:endParaRPr lang="en-US" kern="0">
                      <a:solidFill>
                        <a:srgbClr val="FFFFFF"/>
                      </a:solidFill>
                    </a:endParaRPr>
                  </a:p>
                </p:txBody>
              </p:sp>
              <p:sp>
                <p:nvSpPr>
                  <p:cNvPr id="52" name="Freeform 9"/>
                  <p:cNvSpPr>
                    <a:spLocks/>
                  </p:cNvSpPr>
                  <p:nvPr/>
                </p:nvSpPr>
                <p:spPr bwMode="auto">
                  <a:xfrm>
                    <a:off x="8039713" y="4913566"/>
                    <a:ext cx="79375" cy="14288"/>
                  </a:xfrm>
                  <a:custGeom>
                    <a:avLst/>
                    <a:gdLst>
                      <a:gd name="T0" fmla="*/ 0 w 53"/>
                      <a:gd name="T1" fmla="*/ 9 h 9"/>
                      <a:gd name="T2" fmla="*/ 53 w 53"/>
                      <a:gd name="T3" fmla="*/ 8 h 9"/>
                      <a:gd name="T4" fmla="*/ 0 w 53"/>
                      <a:gd name="T5" fmla="*/ 9 h 9"/>
                    </a:gdLst>
                    <a:ahLst/>
                    <a:cxnLst>
                      <a:cxn ang="0">
                        <a:pos x="T0" y="T1"/>
                      </a:cxn>
                      <a:cxn ang="0">
                        <a:pos x="T2" y="T3"/>
                      </a:cxn>
                      <a:cxn ang="0">
                        <a:pos x="T4" y="T5"/>
                      </a:cxn>
                    </a:cxnLst>
                    <a:rect l="0" t="0" r="r" b="b"/>
                    <a:pathLst>
                      <a:path w="53" h="9">
                        <a:moveTo>
                          <a:pt x="0" y="9"/>
                        </a:moveTo>
                        <a:cubicBezTo>
                          <a:pt x="0" y="9"/>
                          <a:pt x="44" y="0"/>
                          <a:pt x="53" y="8"/>
                        </a:cubicBez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505050"/>
                      </a:solidFill>
                    </a:endParaRPr>
                  </a:p>
                </p:txBody>
              </p:sp>
              <p:sp>
                <p:nvSpPr>
                  <p:cNvPr id="53" name="Freeform 10"/>
                  <p:cNvSpPr>
                    <a:spLocks/>
                  </p:cNvSpPr>
                  <p:nvPr/>
                </p:nvSpPr>
                <p:spPr bwMode="auto">
                  <a:xfrm>
                    <a:off x="8161950" y="4913566"/>
                    <a:ext cx="77788" cy="12700"/>
                  </a:xfrm>
                  <a:custGeom>
                    <a:avLst/>
                    <a:gdLst>
                      <a:gd name="T0" fmla="*/ 53 w 53"/>
                      <a:gd name="T1" fmla="*/ 8 h 8"/>
                      <a:gd name="T2" fmla="*/ 0 w 53"/>
                      <a:gd name="T3" fmla="*/ 8 h 8"/>
                      <a:gd name="T4" fmla="*/ 53 w 53"/>
                      <a:gd name="T5" fmla="*/ 8 h 8"/>
                    </a:gdLst>
                    <a:ahLst/>
                    <a:cxnLst>
                      <a:cxn ang="0">
                        <a:pos x="T0" y="T1"/>
                      </a:cxn>
                      <a:cxn ang="0">
                        <a:pos x="T2" y="T3"/>
                      </a:cxn>
                      <a:cxn ang="0">
                        <a:pos x="T4" y="T5"/>
                      </a:cxn>
                    </a:cxnLst>
                    <a:rect l="0" t="0" r="r" b="b"/>
                    <a:pathLst>
                      <a:path w="53" h="8">
                        <a:moveTo>
                          <a:pt x="53" y="8"/>
                        </a:moveTo>
                        <a:cubicBezTo>
                          <a:pt x="53" y="8"/>
                          <a:pt x="9" y="0"/>
                          <a:pt x="0" y="8"/>
                        </a:cubicBezTo>
                        <a:lnTo>
                          <a:pt x="5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505050"/>
                      </a:solidFill>
                    </a:endParaRPr>
                  </a:p>
                </p:txBody>
              </p:sp>
              <p:sp>
                <p:nvSpPr>
                  <p:cNvPr id="54" name="Freeform 29"/>
                  <p:cNvSpPr>
                    <a:spLocks/>
                  </p:cNvSpPr>
                  <p:nvPr/>
                </p:nvSpPr>
                <p:spPr bwMode="auto">
                  <a:xfrm>
                    <a:off x="8082034" y="5073904"/>
                    <a:ext cx="106363" cy="19050"/>
                  </a:xfrm>
                  <a:custGeom>
                    <a:avLst/>
                    <a:gdLst>
                      <a:gd name="T0" fmla="*/ 36 w 72"/>
                      <a:gd name="T1" fmla="*/ 13 h 13"/>
                      <a:gd name="T2" fmla="*/ 4 w 72"/>
                      <a:gd name="T3" fmla="*/ 10 h 13"/>
                      <a:gd name="T4" fmla="*/ 1 w 72"/>
                      <a:gd name="T5" fmla="*/ 4 h 13"/>
                      <a:gd name="T6" fmla="*/ 6 w 72"/>
                      <a:gd name="T7" fmla="*/ 1 h 13"/>
                      <a:gd name="T8" fmla="*/ 66 w 72"/>
                      <a:gd name="T9" fmla="*/ 1 h 13"/>
                      <a:gd name="T10" fmla="*/ 71 w 72"/>
                      <a:gd name="T11" fmla="*/ 4 h 13"/>
                      <a:gd name="T12" fmla="*/ 68 w 72"/>
                      <a:gd name="T13" fmla="*/ 9 h 13"/>
                      <a:gd name="T14" fmla="*/ 36 w 7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3">
                        <a:moveTo>
                          <a:pt x="36" y="13"/>
                        </a:moveTo>
                        <a:cubicBezTo>
                          <a:pt x="26" y="13"/>
                          <a:pt x="16" y="12"/>
                          <a:pt x="4" y="10"/>
                        </a:cubicBezTo>
                        <a:cubicBezTo>
                          <a:pt x="2" y="9"/>
                          <a:pt x="0" y="7"/>
                          <a:pt x="1" y="4"/>
                        </a:cubicBezTo>
                        <a:cubicBezTo>
                          <a:pt x="2" y="2"/>
                          <a:pt x="4" y="0"/>
                          <a:pt x="6" y="1"/>
                        </a:cubicBezTo>
                        <a:cubicBezTo>
                          <a:pt x="29" y="6"/>
                          <a:pt x="43" y="6"/>
                          <a:pt x="66" y="1"/>
                        </a:cubicBezTo>
                        <a:cubicBezTo>
                          <a:pt x="68" y="0"/>
                          <a:pt x="70" y="2"/>
                          <a:pt x="71" y="4"/>
                        </a:cubicBezTo>
                        <a:cubicBezTo>
                          <a:pt x="72" y="6"/>
                          <a:pt x="70" y="9"/>
                          <a:pt x="68" y="9"/>
                        </a:cubicBezTo>
                        <a:cubicBezTo>
                          <a:pt x="56" y="12"/>
                          <a:pt x="46" y="13"/>
                          <a:pt x="36" y="13"/>
                        </a:cubicBezTo>
                        <a:close/>
                      </a:path>
                    </a:pathLst>
                  </a:custGeom>
                  <a:solidFill>
                    <a:srgbClr val="DC3C00">
                      <a:lumMod val="50000"/>
                    </a:srgbClr>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505050"/>
                      </a:solidFill>
                    </a:endParaRPr>
                  </a:p>
                </p:txBody>
              </p:sp>
            </p:grpSp>
          </p:grpSp>
        </p:grpSp>
      </p:grpSp>
      <p:grpSp>
        <p:nvGrpSpPr>
          <p:cNvPr id="84" name="Group 83"/>
          <p:cNvGrpSpPr/>
          <p:nvPr/>
        </p:nvGrpSpPr>
        <p:grpSpPr>
          <a:xfrm>
            <a:off x="679832" y="2401875"/>
            <a:ext cx="948010" cy="368419"/>
            <a:chOff x="873766" y="2501818"/>
            <a:chExt cx="948010" cy="368419"/>
          </a:xfrm>
        </p:grpSpPr>
        <p:sp>
          <p:nvSpPr>
            <p:cNvPr id="76" name="Freeform 31"/>
            <p:cNvSpPr>
              <a:spLocks noChangeAspect="1"/>
            </p:cNvSpPr>
            <p:nvPr/>
          </p:nvSpPr>
          <p:spPr bwMode="auto">
            <a:xfrm>
              <a:off x="873766" y="2520430"/>
              <a:ext cx="148338" cy="331194"/>
            </a:xfrm>
            <a:custGeom>
              <a:avLst/>
              <a:gdLst>
                <a:gd name="T0" fmla="*/ 0 w 953"/>
                <a:gd name="T1" fmla="*/ 1214 h 2129"/>
                <a:gd name="T2" fmla="*/ 751 w 953"/>
                <a:gd name="T3" fmla="*/ 0 h 2129"/>
                <a:gd name="T4" fmla="*/ 514 w 953"/>
                <a:gd name="T5" fmla="*/ 913 h 2129"/>
                <a:gd name="T6" fmla="*/ 953 w 953"/>
                <a:gd name="T7" fmla="*/ 888 h 2129"/>
                <a:gd name="T8" fmla="*/ 160 w 953"/>
                <a:gd name="T9" fmla="*/ 2129 h 2129"/>
                <a:gd name="T10" fmla="*/ 394 w 953"/>
                <a:gd name="T11" fmla="*/ 1238 h 2129"/>
                <a:gd name="T12" fmla="*/ 0 w 953"/>
                <a:gd name="T13" fmla="*/ 1214 h 2129"/>
              </a:gdLst>
              <a:ahLst/>
              <a:cxnLst>
                <a:cxn ang="0">
                  <a:pos x="T0" y="T1"/>
                </a:cxn>
                <a:cxn ang="0">
                  <a:pos x="T2" y="T3"/>
                </a:cxn>
                <a:cxn ang="0">
                  <a:pos x="T4" y="T5"/>
                </a:cxn>
                <a:cxn ang="0">
                  <a:pos x="T6" y="T7"/>
                </a:cxn>
                <a:cxn ang="0">
                  <a:pos x="T8" y="T9"/>
                </a:cxn>
                <a:cxn ang="0">
                  <a:pos x="T10" y="T11"/>
                </a:cxn>
                <a:cxn ang="0">
                  <a:pos x="T12" y="T13"/>
                </a:cxn>
              </a:cxnLst>
              <a:rect l="0" t="0" r="r" b="b"/>
              <a:pathLst>
                <a:path w="953" h="2129">
                  <a:moveTo>
                    <a:pt x="0" y="1214"/>
                  </a:moveTo>
                  <a:lnTo>
                    <a:pt x="751" y="0"/>
                  </a:lnTo>
                  <a:lnTo>
                    <a:pt x="514" y="913"/>
                  </a:lnTo>
                  <a:lnTo>
                    <a:pt x="953" y="888"/>
                  </a:lnTo>
                  <a:lnTo>
                    <a:pt x="160" y="2129"/>
                  </a:lnTo>
                  <a:lnTo>
                    <a:pt x="394" y="1238"/>
                  </a:lnTo>
                  <a:lnTo>
                    <a:pt x="0" y="1214"/>
                  </a:ln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77" name="Freeform 86"/>
            <p:cNvSpPr>
              <a:spLocks noChangeAspect="1" noEditPoints="1"/>
            </p:cNvSpPr>
            <p:nvPr/>
          </p:nvSpPr>
          <p:spPr bwMode="auto">
            <a:xfrm>
              <a:off x="1221104" y="2518526"/>
              <a:ext cx="188854" cy="335002"/>
            </a:xfrm>
            <a:custGeom>
              <a:avLst/>
              <a:gdLst>
                <a:gd name="T0" fmla="*/ 960 w 1198"/>
                <a:gd name="T1" fmla="*/ 1023 h 2119"/>
                <a:gd name="T2" fmla="*/ 851 w 1198"/>
                <a:gd name="T3" fmla="*/ 871 h 2119"/>
                <a:gd name="T4" fmla="*/ 760 w 1198"/>
                <a:gd name="T5" fmla="*/ 708 h 2119"/>
                <a:gd name="T6" fmla="*/ 688 w 1198"/>
                <a:gd name="T7" fmla="*/ 534 h 2119"/>
                <a:gd name="T8" fmla="*/ 637 w 1198"/>
                <a:gd name="T9" fmla="*/ 350 h 2119"/>
                <a:gd name="T10" fmla="*/ 606 w 1198"/>
                <a:gd name="T11" fmla="*/ 158 h 2119"/>
                <a:gd name="T12" fmla="*/ 598 w 1198"/>
                <a:gd name="T13" fmla="*/ 0 h 2119"/>
                <a:gd name="T14" fmla="*/ 586 w 1198"/>
                <a:gd name="T15" fmla="*/ 198 h 2119"/>
                <a:gd name="T16" fmla="*/ 552 w 1198"/>
                <a:gd name="T17" fmla="*/ 388 h 2119"/>
                <a:gd name="T18" fmla="*/ 496 w 1198"/>
                <a:gd name="T19" fmla="*/ 570 h 2119"/>
                <a:gd name="T20" fmla="*/ 420 w 1198"/>
                <a:gd name="T21" fmla="*/ 742 h 2119"/>
                <a:gd name="T22" fmla="*/ 326 w 1198"/>
                <a:gd name="T23" fmla="*/ 903 h 2119"/>
                <a:gd name="T24" fmla="*/ 214 w 1198"/>
                <a:gd name="T25" fmla="*/ 1051 h 2119"/>
                <a:gd name="T26" fmla="*/ 129 w 1198"/>
                <a:gd name="T27" fmla="*/ 1150 h 2119"/>
                <a:gd name="T28" fmla="*/ 56 w 1198"/>
                <a:gd name="T29" fmla="*/ 1269 h 2119"/>
                <a:gd name="T30" fmla="*/ 11 w 1198"/>
                <a:gd name="T31" fmla="*/ 1404 h 2119"/>
                <a:gd name="T32" fmla="*/ 0 w 1198"/>
                <a:gd name="T33" fmla="*/ 1521 h 2119"/>
                <a:gd name="T34" fmla="*/ 19 w 1198"/>
                <a:gd name="T35" fmla="*/ 1670 h 2119"/>
                <a:gd name="T36" fmla="*/ 72 w 1198"/>
                <a:gd name="T37" fmla="*/ 1805 h 2119"/>
                <a:gd name="T38" fmla="*/ 155 w 1198"/>
                <a:gd name="T39" fmla="*/ 1924 h 2119"/>
                <a:gd name="T40" fmla="*/ 263 w 1198"/>
                <a:gd name="T41" fmla="*/ 2017 h 2119"/>
                <a:gd name="T42" fmla="*/ 393 w 1198"/>
                <a:gd name="T43" fmla="*/ 2083 h 2119"/>
                <a:gd name="T44" fmla="*/ 537 w 1198"/>
                <a:gd name="T45" fmla="*/ 2117 h 2119"/>
                <a:gd name="T46" fmla="*/ 660 w 1198"/>
                <a:gd name="T47" fmla="*/ 2117 h 2119"/>
                <a:gd name="T48" fmla="*/ 804 w 1198"/>
                <a:gd name="T49" fmla="*/ 2083 h 2119"/>
                <a:gd name="T50" fmla="*/ 933 w 1198"/>
                <a:gd name="T51" fmla="*/ 2017 h 2119"/>
                <a:gd name="T52" fmla="*/ 1042 w 1198"/>
                <a:gd name="T53" fmla="*/ 1924 h 2119"/>
                <a:gd name="T54" fmla="*/ 1125 w 1198"/>
                <a:gd name="T55" fmla="*/ 1805 h 2119"/>
                <a:gd name="T56" fmla="*/ 1179 w 1198"/>
                <a:gd name="T57" fmla="*/ 1670 h 2119"/>
                <a:gd name="T58" fmla="*/ 1198 w 1198"/>
                <a:gd name="T59" fmla="*/ 1521 h 2119"/>
                <a:gd name="T60" fmla="*/ 1186 w 1198"/>
                <a:gd name="T61" fmla="*/ 1404 h 2119"/>
                <a:gd name="T62" fmla="*/ 1141 w 1198"/>
                <a:gd name="T63" fmla="*/ 1269 h 2119"/>
                <a:gd name="T64" fmla="*/ 1069 w 1198"/>
                <a:gd name="T65" fmla="*/ 1150 h 2119"/>
                <a:gd name="T66" fmla="*/ 598 w 1198"/>
                <a:gd name="T67" fmla="*/ 1983 h 2119"/>
                <a:gd name="T68" fmla="*/ 483 w 1198"/>
                <a:gd name="T69" fmla="*/ 1968 h 2119"/>
                <a:gd name="T70" fmla="*/ 378 w 1198"/>
                <a:gd name="T71" fmla="*/ 1927 h 2119"/>
                <a:gd name="T72" fmla="*/ 288 w 1198"/>
                <a:gd name="T73" fmla="*/ 1863 h 2119"/>
                <a:gd name="T74" fmla="*/ 215 w 1198"/>
                <a:gd name="T75" fmla="*/ 1779 h 2119"/>
                <a:gd name="T76" fmla="*/ 164 w 1198"/>
                <a:gd name="T77" fmla="*/ 1679 h 2119"/>
                <a:gd name="T78" fmla="*/ 138 w 1198"/>
                <a:gd name="T79" fmla="*/ 1568 h 2119"/>
                <a:gd name="T80" fmla="*/ 138 w 1198"/>
                <a:gd name="T81" fmla="*/ 1501 h 2119"/>
                <a:gd name="T82" fmla="*/ 158 w 1198"/>
                <a:gd name="T83" fmla="*/ 1459 h 2119"/>
                <a:gd name="T84" fmla="*/ 195 w 1198"/>
                <a:gd name="T85" fmla="*/ 1431 h 2119"/>
                <a:gd name="T86" fmla="*/ 234 w 1198"/>
                <a:gd name="T87" fmla="*/ 1423 h 2119"/>
                <a:gd name="T88" fmla="*/ 280 w 1198"/>
                <a:gd name="T89" fmla="*/ 1434 h 2119"/>
                <a:gd name="T90" fmla="*/ 314 w 1198"/>
                <a:gd name="T91" fmla="*/ 1466 h 2119"/>
                <a:gd name="T92" fmla="*/ 330 w 1198"/>
                <a:gd name="T93" fmla="*/ 1510 h 2119"/>
                <a:gd name="T94" fmla="*/ 343 w 1198"/>
                <a:gd name="T95" fmla="*/ 1601 h 2119"/>
                <a:gd name="T96" fmla="*/ 410 w 1198"/>
                <a:gd name="T97" fmla="*/ 1709 h 2119"/>
                <a:gd name="T98" fmla="*/ 520 w 1198"/>
                <a:gd name="T99" fmla="*/ 1776 h 2119"/>
                <a:gd name="T100" fmla="*/ 609 w 1198"/>
                <a:gd name="T101" fmla="*/ 1789 h 2119"/>
                <a:gd name="T102" fmla="*/ 653 w 1198"/>
                <a:gd name="T103" fmla="*/ 1804 h 2119"/>
                <a:gd name="T104" fmla="*/ 685 w 1198"/>
                <a:gd name="T105" fmla="*/ 1839 h 2119"/>
                <a:gd name="T106" fmla="*/ 696 w 1198"/>
                <a:gd name="T107" fmla="*/ 1885 h 2119"/>
                <a:gd name="T108" fmla="*/ 688 w 1198"/>
                <a:gd name="T109" fmla="*/ 1924 h 2119"/>
                <a:gd name="T110" fmla="*/ 660 w 1198"/>
                <a:gd name="T111" fmla="*/ 1961 h 2119"/>
                <a:gd name="T112" fmla="*/ 618 w 1198"/>
                <a:gd name="T113" fmla="*/ 1981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98" h="2119">
                  <a:moveTo>
                    <a:pt x="1032" y="1108"/>
                  </a:moveTo>
                  <a:lnTo>
                    <a:pt x="1032" y="1108"/>
                  </a:lnTo>
                  <a:lnTo>
                    <a:pt x="1008" y="1080"/>
                  </a:lnTo>
                  <a:lnTo>
                    <a:pt x="983" y="1051"/>
                  </a:lnTo>
                  <a:lnTo>
                    <a:pt x="960" y="1023"/>
                  </a:lnTo>
                  <a:lnTo>
                    <a:pt x="936" y="994"/>
                  </a:lnTo>
                  <a:lnTo>
                    <a:pt x="914" y="964"/>
                  </a:lnTo>
                  <a:lnTo>
                    <a:pt x="892" y="933"/>
                  </a:lnTo>
                  <a:lnTo>
                    <a:pt x="871" y="903"/>
                  </a:lnTo>
                  <a:lnTo>
                    <a:pt x="851" y="871"/>
                  </a:lnTo>
                  <a:lnTo>
                    <a:pt x="831" y="840"/>
                  </a:lnTo>
                  <a:lnTo>
                    <a:pt x="812" y="808"/>
                  </a:lnTo>
                  <a:lnTo>
                    <a:pt x="794" y="775"/>
                  </a:lnTo>
                  <a:lnTo>
                    <a:pt x="777" y="742"/>
                  </a:lnTo>
                  <a:lnTo>
                    <a:pt x="760" y="708"/>
                  </a:lnTo>
                  <a:lnTo>
                    <a:pt x="744" y="674"/>
                  </a:lnTo>
                  <a:lnTo>
                    <a:pt x="729" y="639"/>
                  </a:lnTo>
                  <a:lnTo>
                    <a:pt x="714" y="605"/>
                  </a:lnTo>
                  <a:lnTo>
                    <a:pt x="701" y="570"/>
                  </a:lnTo>
                  <a:lnTo>
                    <a:pt x="688" y="534"/>
                  </a:lnTo>
                  <a:lnTo>
                    <a:pt x="677" y="498"/>
                  </a:lnTo>
                  <a:lnTo>
                    <a:pt x="665" y="461"/>
                  </a:lnTo>
                  <a:lnTo>
                    <a:pt x="654" y="425"/>
                  </a:lnTo>
                  <a:lnTo>
                    <a:pt x="645" y="388"/>
                  </a:lnTo>
                  <a:lnTo>
                    <a:pt x="637" y="350"/>
                  </a:lnTo>
                  <a:lnTo>
                    <a:pt x="629" y="313"/>
                  </a:lnTo>
                  <a:lnTo>
                    <a:pt x="622" y="274"/>
                  </a:lnTo>
                  <a:lnTo>
                    <a:pt x="616" y="237"/>
                  </a:lnTo>
                  <a:lnTo>
                    <a:pt x="611" y="198"/>
                  </a:lnTo>
                  <a:lnTo>
                    <a:pt x="606" y="158"/>
                  </a:lnTo>
                  <a:lnTo>
                    <a:pt x="603" y="119"/>
                  </a:lnTo>
                  <a:lnTo>
                    <a:pt x="600" y="80"/>
                  </a:lnTo>
                  <a:lnTo>
                    <a:pt x="599" y="40"/>
                  </a:lnTo>
                  <a:lnTo>
                    <a:pt x="598" y="0"/>
                  </a:lnTo>
                  <a:lnTo>
                    <a:pt x="598" y="0"/>
                  </a:lnTo>
                  <a:lnTo>
                    <a:pt x="598" y="40"/>
                  </a:lnTo>
                  <a:lnTo>
                    <a:pt x="597" y="80"/>
                  </a:lnTo>
                  <a:lnTo>
                    <a:pt x="595" y="119"/>
                  </a:lnTo>
                  <a:lnTo>
                    <a:pt x="591" y="158"/>
                  </a:lnTo>
                  <a:lnTo>
                    <a:pt x="586" y="198"/>
                  </a:lnTo>
                  <a:lnTo>
                    <a:pt x="582" y="237"/>
                  </a:lnTo>
                  <a:lnTo>
                    <a:pt x="576" y="274"/>
                  </a:lnTo>
                  <a:lnTo>
                    <a:pt x="569" y="313"/>
                  </a:lnTo>
                  <a:lnTo>
                    <a:pt x="561" y="350"/>
                  </a:lnTo>
                  <a:lnTo>
                    <a:pt x="552" y="388"/>
                  </a:lnTo>
                  <a:lnTo>
                    <a:pt x="543" y="425"/>
                  </a:lnTo>
                  <a:lnTo>
                    <a:pt x="533" y="461"/>
                  </a:lnTo>
                  <a:lnTo>
                    <a:pt x="521" y="498"/>
                  </a:lnTo>
                  <a:lnTo>
                    <a:pt x="509" y="534"/>
                  </a:lnTo>
                  <a:lnTo>
                    <a:pt x="496" y="570"/>
                  </a:lnTo>
                  <a:lnTo>
                    <a:pt x="483" y="605"/>
                  </a:lnTo>
                  <a:lnTo>
                    <a:pt x="468" y="639"/>
                  </a:lnTo>
                  <a:lnTo>
                    <a:pt x="453" y="674"/>
                  </a:lnTo>
                  <a:lnTo>
                    <a:pt x="438" y="708"/>
                  </a:lnTo>
                  <a:lnTo>
                    <a:pt x="420" y="742"/>
                  </a:lnTo>
                  <a:lnTo>
                    <a:pt x="403" y="775"/>
                  </a:lnTo>
                  <a:lnTo>
                    <a:pt x="385" y="808"/>
                  </a:lnTo>
                  <a:lnTo>
                    <a:pt x="366" y="840"/>
                  </a:lnTo>
                  <a:lnTo>
                    <a:pt x="346" y="871"/>
                  </a:lnTo>
                  <a:lnTo>
                    <a:pt x="326" y="903"/>
                  </a:lnTo>
                  <a:lnTo>
                    <a:pt x="305" y="933"/>
                  </a:lnTo>
                  <a:lnTo>
                    <a:pt x="283" y="964"/>
                  </a:lnTo>
                  <a:lnTo>
                    <a:pt x="261" y="994"/>
                  </a:lnTo>
                  <a:lnTo>
                    <a:pt x="237" y="1023"/>
                  </a:lnTo>
                  <a:lnTo>
                    <a:pt x="214" y="1051"/>
                  </a:lnTo>
                  <a:lnTo>
                    <a:pt x="189" y="1080"/>
                  </a:lnTo>
                  <a:lnTo>
                    <a:pt x="165" y="1108"/>
                  </a:lnTo>
                  <a:lnTo>
                    <a:pt x="165" y="1108"/>
                  </a:lnTo>
                  <a:lnTo>
                    <a:pt x="146" y="1128"/>
                  </a:lnTo>
                  <a:lnTo>
                    <a:pt x="129" y="1150"/>
                  </a:lnTo>
                  <a:lnTo>
                    <a:pt x="112" y="1172"/>
                  </a:lnTo>
                  <a:lnTo>
                    <a:pt x="97" y="1195"/>
                  </a:lnTo>
                  <a:lnTo>
                    <a:pt x="82" y="1219"/>
                  </a:lnTo>
                  <a:lnTo>
                    <a:pt x="69" y="1243"/>
                  </a:lnTo>
                  <a:lnTo>
                    <a:pt x="56" y="1269"/>
                  </a:lnTo>
                  <a:lnTo>
                    <a:pt x="44" y="1295"/>
                  </a:lnTo>
                  <a:lnTo>
                    <a:pt x="34" y="1321"/>
                  </a:lnTo>
                  <a:lnTo>
                    <a:pt x="26" y="1348"/>
                  </a:lnTo>
                  <a:lnTo>
                    <a:pt x="17" y="1376"/>
                  </a:lnTo>
                  <a:lnTo>
                    <a:pt x="11" y="1404"/>
                  </a:lnTo>
                  <a:lnTo>
                    <a:pt x="7" y="1432"/>
                  </a:lnTo>
                  <a:lnTo>
                    <a:pt x="2" y="1461"/>
                  </a:lnTo>
                  <a:lnTo>
                    <a:pt x="1" y="1491"/>
                  </a:lnTo>
                  <a:lnTo>
                    <a:pt x="0" y="1521"/>
                  </a:lnTo>
                  <a:lnTo>
                    <a:pt x="0" y="1521"/>
                  </a:lnTo>
                  <a:lnTo>
                    <a:pt x="1" y="1551"/>
                  </a:lnTo>
                  <a:lnTo>
                    <a:pt x="3" y="1582"/>
                  </a:lnTo>
                  <a:lnTo>
                    <a:pt x="7" y="1611"/>
                  </a:lnTo>
                  <a:lnTo>
                    <a:pt x="11" y="1642"/>
                  </a:lnTo>
                  <a:lnTo>
                    <a:pt x="19" y="1670"/>
                  </a:lnTo>
                  <a:lnTo>
                    <a:pt x="27" y="1699"/>
                  </a:lnTo>
                  <a:lnTo>
                    <a:pt x="36" y="1726"/>
                  </a:lnTo>
                  <a:lnTo>
                    <a:pt x="47" y="1754"/>
                  </a:lnTo>
                  <a:lnTo>
                    <a:pt x="58" y="1780"/>
                  </a:lnTo>
                  <a:lnTo>
                    <a:pt x="72" y="1805"/>
                  </a:lnTo>
                  <a:lnTo>
                    <a:pt x="86" y="1831"/>
                  </a:lnTo>
                  <a:lnTo>
                    <a:pt x="102" y="1856"/>
                  </a:lnTo>
                  <a:lnTo>
                    <a:pt x="119" y="1879"/>
                  </a:lnTo>
                  <a:lnTo>
                    <a:pt x="137" y="1901"/>
                  </a:lnTo>
                  <a:lnTo>
                    <a:pt x="155" y="1924"/>
                  </a:lnTo>
                  <a:lnTo>
                    <a:pt x="175" y="1944"/>
                  </a:lnTo>
                  <a:lnTo>
                    <a:pt x="195" y="1964"/>
                  </a:lnTo>
                  <a:lnTo>
                    <a:pt x="218" y="1982"/>
                  </a:lnTo>
                  <a:lnTo>
                    <a:pt x="240" y="2001"/>
                  </a:lnTo>
                  <a:lnTo>
                    <a:pt x="263" y="2017"/>
                  </a:lnTo>
                  <a:lnTo>
                    <a:pt x="288" y="2033"/>
                  </a:lnTo>
                  <a:lnTo>
                    <a:pt x="314" y="2047"/>
                  </a:lnTo>
                  <a:lnTo>
                    <a:pt x="339" y="2061"/>
                  </a:lnTo>
                  <a:lnTo>
                    <a:pt x="365" y="2072"/>
                  </a:lnTo>
                  <a:lnTo>
                    <a:pt x="393" y="2083"/>
                  </a:lnTo>
                  <a:lnTo>
                    <a:pt x="420" y="2092"/>
                  </a:lnTo>
                  <a:lnTo>
                    <a:pt x="449" y="2101"/>
                  </a:lnTo>
                  <a:lnTo>
                    <a:pt x="477" y="2108"/>
                  </a:lnTo>
                  <a:lnTo>
                    <a:pt x="508" y="2112"/>
                  </a:lnTo>
                  <a:lnTo>
                    <a:pt x="537" y="2117"/>
                  </a:lnTo>
                  <a:lnTo>
                    <a:pt x="568" y="2119"/>
                  </a:lnTo>
                  <a:lnTo>
                    <a:pt x="598" y="2119"/>
                  </a:lnTo>
                  <a:lnTo>
                    <a:pt x="598" y="2119"/>
                  </a:lnTo>
                  <a:lnTo>
                    <a:pt x="630" y="2119"/>
                  </a:lnTo>
                  <a:lnTo>
                    <a:pt x="660" y="2117"/>
                  </a:lnTo>
                  <a:lnTo>
                    <a:pt x="689" y="2112"/>
                  </a:lnTo>
                  <a:lnTo>
                    <a:pt x="720" y="2108"/>
                  </a:lnTo>
                  <a:lnTo>
                    <a:pt x="748" y="2101"/>
                  </a:lnTo>
                  <a:lnTo>
                    <a:pt x="777" y="2092"/>
                  </a:lnTo>
                  <a:lnTo>
                    <a:pt x="804" y="2083"/>
                  </a:lnTo>
                  <a:lnTo>
                    <a:pt x="832" y="2072"/>
                  </a:lnTo>
                  <a:lnTo>
                    <a:pt x="858" y="2061"/>
                  </a:lnTo>
                  <a:lnTo>
                    <a:pt x="884" y="2047"/>
                  </a:lnTo>
                  <a:lnTo>
                    <a:pt x="910" y="2033"/>
                  </a:lnTo>
                  <a:lnTo>
                    <a:pt x="933" y="2017"/>
                  </a:lnTo>
                  <a:lnTo>
                    <a:pt x="958" y="2001"/>
                  </a:lnTo>
                  <a:lnTo>
                    <a:pt x="980" y="1982"/>
                  </a:lnTo>
                  <a:lnTo>
                    <a:pt x="1001" y="1964"/>
                  </a:lnTo>
                  <a:lnTo>
                    <a:pt x="1022" y="1944"/>
                  </a:lnTo>
                  <a:lnTo>
                    <a:pt x="1042" y="1924"/>
                  </a:lnTo>
                  <a:lnTo>
                    <a:pt x="1061" y="1901"/>
                  </a:lnTo>
                  <a:lnTo>
                    <a:pt x="1078" y="1879"/>
                  </a:lnTo>
                  <a:lnTo>
                    <a:pt x="1096" y="1856"/>
                  </a:lnTo>
                  <a:lnTo>
                    <a:pt x="1111" y="1831"/>
                  </a:lnTo>
                  <a:lnTo>
                    <a:pt x="1125" y="1805"/>
                  </a:lnTo>
                  <a:lnTo>
                    <a:pt x="1139" y="1780"/>
                  </a:lnTo>
                  <a:lnTo>
                    <a:pt x="1151" y="1754"/>
                  </a:lnTo>
                  <a:lnTo>
                    <a:pt x="1161" y="1726"/>
                  </a:lnTo>
                  <a:lnTo>
                    <a:pt x="1171" y="1699"/>
                  </a:lnTo>
                  <a:lnTo>
                    <a:pt x="1179" y="1670"/>
                  </a:lnTo>
                  <a:lnTo>
                    <a:pt x="1186" y="1642"/>
                  </a:lnTo>
                  <a:lnTo>
                    <a:pt x="1191" y="1611"/>
                  </a:lnTo>
                  <a:lnTo>
                    <a:pt x="1194" y="1582"/>
                  </a:lnTo>
                  <a:lnTo>
                    <a:pt x="1196" y="1551"/>
                  </a:lnTo>
                  <a:lnTo>
                    <a:pt x="1198" y="1521"/>
                  </a:lnTo>
                  <a:lnTo>
                    <a:pt x="1198" y="1521"/>
                  </a:lnTo>
                  <a:lnTo>
                    <a:pt x="1196" y="1491"/>
                  </a:lnTo>
                  <a:lnTo>
                    <a:pt x="1195" y="1461"/>
                  </a:lnTo>
                  <a:lnTo>
                    <a:pt x="1191" y="1432"/>
                  </a:lnTo>
                  <a:lnTo>
                    <a:pt x="1186" y="1404"/>
                  </a:lnTo>
                  <a:lnTo>
                    <a:pt x="1180" y="1376"/>
                  </a:lnTo>
                  <a:lnTo>
                    <a:pt x="1172" y="1348"/>
                  </a:lnTo>
                  <a:lnTo>
                    <a:pt x="1162" y="1321"/>
                  </a:lnTo>
                  <a:lnTo>
                    <a:pt x="1153" y="1295"/>
                  </a:lnTo>
                  <a:lnTo>
                    <a:pt x="1141" y="1269"/>
                  </a:lnTo>
                  <a:lnTo>
                    <a:pt x="1129" y="1243"/>
                  </a:lnTo>
                  <a:lnTo>
                    <a:pt x="1116" y="1219"/>
                  </a:lnTo>
                  <a:lnTo>
                    <a:pt x="1100" y="1195"/>
                  </a:lnTo>
                  <a:lnTo>
                    <a:pt x="1085" y="1172"/>
                  </a:lnTo>
                  <a:lnTo>
                    <a:pt x="1069" y="1150"/>
                  </a:lnTo>
                  <a:lnTo>
                    <a:pt x="1051" y="1128"/>
                  </a:lnTo>
                  <a:lnTo>
                    <a:pt x="1032" y="1108"/>
                  </a:lnTo>
                  <a:lnTo>
                    <a:pt x="1032" y="1108"/>
                  </a:lnTo>
                  <a:close/>
                  <a:moveTo>
                    <a:pt x="598" y="1983"/>
                  </a:moveTo>
                  <a:lnTo>
                    <a:pt x="598" y="1983"/>
                  </a:lnTo>
                  <a:lnTo>
                    <a:pt x="575" y="1982"/>
                  </a:lnTo>
                  <a:lnTo>
                    <a:pt x="551" y="1981"/>
                  </a:lnTo>
                  <a:lnTo>
                    <a:pt x="528" y="1978"/>
                  </a:lnTo>
                  <a:lnTo>
                    <a:pt x="506" y="1974"/>
                  </a:lnTo>
                  <a:lnTo>
                    <a:pt x="483" y="1968"/>
                  </a:lnTo>
                  <a:lnTo>
                    <a:pt x="461" y="1962"/>
                  </a:lnTo>
                  <a:lnTo>
                    <a:pt x="440" y="1955"/>
                  </a:lnTo>
                  <a:lnTo>
                    <a:pt x="419" y="1947"/>
                  </a:lnTo>
                  <a:lnTo>
                    <a:pt x="398" y="1938"/>
                  </a:lnTo>
                  <a:lnTo>
                    <a:pt x="378" y="1927"/>
                  </a:lnTo>
                  <a:lnTo>
                    <a:pt x="359" y="1916"/>
                  </a:lnTo>
                  <a:lnTo>
                    <a:pt x="341" y="1904"/>
                  </a:lnTo>
                  <a:lnTo>
                    <a:pt x="322" y="1891"/>
                  </a:lnTo>
                  <a:lnTo>
                    <a:pt x="304" y="1877"/>
                  </a:lnTo>
                  <a:lnTo>
                    <a:pt x="288" y="1863"/>
                  </a:lnTo>
                  <a:lnTo>
                    <a:pt x="271" y="1848"/>
                  </a:lnTo>
                  <a:lnTo>
                    <a:pt x="256" y="1831"/>
                  </a:lnTo>
                  <a:lnTo>
                    <a:pt x="242" y="1815"/>
                  </a:lnTo>
                  <a:lnTo>
                    <a:pt x="228" y="1797"/>
                  </a:lnTo>
                  <a:lnTo>
                    <a:pt x="215" y="1779"/>
                  </a:lnTo>
                  <a:lnTo>
                    <a:pt x="204" y="1760"/>
                  </a:lnTo>
                  <a:lnTo>
                    <a:pt x="192" y="1741"/>
                  </a:lnTo>
                  <a:lnTo>
                    <a:pt x="181" y="1721"/>
                  </a:lnTo>
                  <a:lnTo>
                    <a:pt x="172" y="1700"/>
                  </a:lnTo>
                  <a:lnTo>
                    <a:pt x="164" y="1679"/>
                  </a:lnTo>
                  <a:lnTo>
                    <a:pt x="157" y="1658"/>
                  </a:lnTo>
                  <a:lnTo>
                    <a:pt x="151" y="1636"/>
                  </a:lnTo>
                  <a:lnTo>
                    <a:pt x="145" y="1613"/>
                  </a:lnTo>
                  <a:lnTo>
                    <a:pt x="141" y="1591"/>
                  </a:lnTo>
                  <a:lnTo>
                    <a:pt x="138" y="1568"/>
                  </a:lnTo>
                  <a:lnTo>
                    <a:pt x="137" y="1544"/>
                  </a:lnTo>
                  <a:lnTo>
                    <a:pt x="136" y="1521"/>
                  </a:lnTo>
                  <a:lnTo>
                    <a:pt x="136" y="1521"/>
                  </a:lnTo>
                  <a:lnTo>
                    <a:pt x="137" y="1510"/>
                  </a:lnTo>
                  <a:lnTo>
                    <a:pt x="138" y="1501"/>
                  </a:lnTo>
                  <a:lnTo>
                    <a:pt x="140" y="1492"/>
                  </a:lnTo>
                  <a:lnTo>
                    <a:pt x="144" y="1482"/>
                  </a:lnTo>
                  <a:lnTo>
                    <a:pt x="147" y="1474"/>
                  </a:lnTo>
                  <a:lnTo>
                    <a:pt x="153" y="1466"/>
                  </a:lnTo>
                  <a:lnTo>
                    <a:pt x="158" y="1459"/>
                  </a:lnTo>
                  <a:lnTo>
                    <a:pt x="165" y="1452"/>
                  </a:lnTo>
                  <a:lnTo>
                    <a:pt x="172" y="1445"/>
                  </a:lnTo>
                  <a:lnTo>
                    <a:pt x="179" y="1440"/>
                  </a:lnTo>
                  <a:lnTo>
                    <a:pt x="187" y="1434"/>
                  </a:lnTo>
                  <a:lnTo>
                    <a:pt x="195" y="1431"/>
                  </a:lnTo>
                  <a:lnTo>
                    <a:pt x="205" y="1427"/>
                  </a:lnTo>
                  <a:lnTo>
                    <a:pt x="214" y="1425"/>
                  </a:lnTo>
                  <a:lnTo>
                    <a:pt x="223" y="1424"/>
                  </a:lnTo>
                  <a:lnTo>
                    <a:pt x="234" y="1423"/>
                  </a:lnTo>
                  <a:lnTo>
                    <a:pt x="234" y="1423"/>
                  </a:lnTo>
                  <a:lnTo>
                    <a:pt x="243" y="1424"/>
                  </a:lnTo>
                  <a:lnTo>
                    <a:pt x="253" y="1425"/>
                  </a:lnTo>
                  <a:lnTo>
                    <a:pt x="262" y="1427"/>
                  </a:lnTo>
                  <a:lnTo>
                    <a:pt x="271" y="1431"/>
                  </a:lnTo>
                  <a:lnTo>
                    <a:pt x="280" y="1434"/>
                  </a:lnTo>
                  <a:lnTo>
                    <a:pt x="288" y="1440"/>
                  </a:lnTo>
                  <a:lnTo>
                    <a:pt x="295" y="1445"/>
                  </a:lnTo>
                  <a:lnTo>
                    <a:pt x="302" y="1452"/>
                  </a:lnTo>
                  <a:lnTo>
                    <a:pt x="309" y="1459"/>
                  </a:lnTo>
                  <a:lnTo>
                    <a:pt x="314" y="1466"/>
                  </a:lnTo>
                  <a:lnTo>
                    <a:pt x="319" y="1474"/>
                  </a:lnTo>
                  <a:lnTo>
                    <a:pt x="323" y="1482"/>
                  </a:lnTo>
                  <a:lnTo>
                    <a:pt x="326" y="1492"/>
                  </a:lnTo>
                  <a:lnTo>
                    <a:pt x="329" y="1501"/>
                  </a:lnTo>
                  <a:lnTo>
                    <a:pt x="330" y="1510"/>
                  </a:lnTo>
                  <a:lnTo>
                    <a:pt x="331" y="1521"/>
                  </a:lnTo>
                  <a:lnTo>
                    <a:pt x="331" y="1521"/>
                  </a:lnTo>
                  <a:lnTo>
                    <a:pt x="332" y="1548"/>
                  </a:lnTo>
                  <a:lnTo>
                    <a:pt x="336" y="1575"/>
                  </a:lnTo>
                  <a:lnTo>
                    <a:pt x="343" y="1601"/>
                  </a:lnTo>
                  <a:lnTo>
                    <a:pt x="352" y="1625"/>
                  </a:lnTo>
                  <a:lnTo>
                    <a:pt x="363" y="1649"/>
                  </a:lnTo>
                  <a:lnTo>
                    <a:pt x="377" y="1670"/>
                  </a:lnTo>
                  <a:lnTo>
                    <a:pt x="392" y="1691"/>
                  </a:lnTo>
                  <a:lnTo>
                    <a:pt x="410" y="1709"/>
                  </a:lnTo>
                  <a:lnTo>
                    <a:pt x="428" y="1727"/>
                  </a:lnTo>
                  <a:lnTo>
                    <a:pt x="449" y="1742"/>
                  </a:lnTo>
                  <a:lnTo>
                    <a:pt x="472" y="1756"/>
                  </a:lnTo>
                  <a:lnTo>
                    <a:pt x="495" y="1767"/>
                  </a:lnTo>
                  <a:lnTo>
                    <a:pt x="520" y="1776"/>
                  </a:lnTo>
                  <a:lnTo>
                    <a:pt x="544" y="1783"/>
                  </a:lnTo>
                  <a:lnTo>
                    <a:pt x="571" y="1787"/>
                  </a:lnTo>
                  <a:lnTo>
                    <a:pt x="598" y="1788"/>
                  </a:lnTo>
                  <a:lnTo>
                    <a:pt x="598" y="1788"/>
                  </a:lnTo>
                  <a:lnTo>
                    <a:pt x="609" y="1789"/>
                  </a:lnTo>
                  <a:lnTo>
                    <a:pt x="618" y="1790"/>
                  </a:lnTo>
                  <a:lnTo>
                    <a:pt x="627" y="1793"/>
                  </a:lnTo>
                  <a:lnTo>
                    <a:pt x="637" y="1796"/>
                  </a:lnTo>
                  <a:lnTo>
                    <a:pt x="645" y="1800"/>
                  </a:lnTo>
                  <a:lnTo>
                    <a:pt x="653" y="1804"/>
                  </a:lnTo>
                  <a:lnTo>
                    <a:pt x="660" y="1810"/>
                  </a:lnTo>
                  <a:lnTo>
                    <a:pt x="667" y="1817"/>
                  </a:lnTo>
                  <a:lnTo>
                    <a:pt x="674" y="1824"/>
                  </a:lnTo>
                  <a:lnTo>
                    <a:pt x="680" y="1831"/>
                  </a:lnTo>
                  <a:lnTo>
                    <a:pt x="685" y="1839"/>
                  </a:lnTo>
                  <a:lnTo>
                    <a:pt x="688" y="1848"/>
                  </a:lnTo>
                  <a:lnTo>
                    <a:pt x="692" y="1857"/>
                  </a:lnTo>
                  <a:lnTo>
                    <a:pt x="694" y="1866"/>
                  </a:lnTo>
                  <a:lnTo>
                    <a:pt x="695" y="1876"/>
                  </a:lnTo>
                  <a:lnTo>
                    <a:pt x="696" y="1885"/>
                  </a:lnTo>
                  <a:lnTo>
                    <a:pt x="696" y="1885"/>
                  </a:lnTo>
                  <a:lnTo>
                    <a:pt x="695" y="1896"/>
                  </a:lnTo>
                  <a:lnTo>
                    <a:pt x="694" y="1905"/>
                  </a:lnTo>
                  <a:lnTo>
                    <a:pt x="692" y="1914"/>
                  </a:lnTo>
                  <a:lnTo>
                    <a:pt x="688" y="1924"/>
                  </a:lnTo>
                  <a:lnTo>
                    <a:pt x="685" y="1932"/>
                  </a:lnTo>
                  <a:lnTo>
                    <a:pt x="680" y="1940"/>
                  </a:lnTo>
                  <a:lnTo>
                    <a:pt x="674" y="1947"/>
                  </a:lnTo>
                  <a:lnTo>
                    <a:pt x="667" y="1954"/>
                  </a:lnTo>
                  <a:lnTo>
                    <a:pt x="660" y="1961"/>
                  </a:lnTo>
                  <a:lnTo>
                    <a:pt x="653" y="1967"/>
                  </a:lnTo>
                  <a:lnTo>
                    <a:pt x="645" y="1972"/>
                  </a:lnTo>
                  <a:lnTo>
                    <a:pt x="637" y="1975"/>
                  </a:lnTo>
                  <a:lnTo>
                    <a:pt x="627" y="1979"/>
                  </a:lnTo>
                  <a:lnTo>
                    <a:pt x="618" y="1981"/>
                  </a:lnTo>
                  <a:lnTo>
                    <a:pt x="609" y="1982"/>
                  </a:lnTo>
                  <a:lnTo>
                    <a:pt x="598" y="1983"/>
                  </a:lnTo>
                  <a:lnTo>
                    <a:pt x="598" y="1983"/>
                  </a:ln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cxnSp>
          <p:nvCxnSpPr>
            <p:cNvPr id="78" name="Straight Arrow Connector 77"/>
            <p:cNvCxnSpPr/>
            <p:nvPr/>
          </p:nvCxnSpPr>
          <p:spPr>
            <a:xfrm flipV="1">
              <a:off x="1121604" y="2501818"/>
              <a:ext cx="0" cy="368419"/>
            </a:xfrm>
            <a:prstGeom prst="straightConnector1">
              <a:avLst/>
            </a:prstGeom>
            <a:ln w="19050">
              <a:solidFill>
                <a:srgbClr val="3999C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V="1">
              <a:off x="1509458" y="2501818"/>
              <a:ext cx="0" cy="368419"/>
            </a:xfrm>
            <a:prstGeom prst="straightConnector1">
              <a:avLst/>
            </a:prstGeom>
            <a:ln w="19050">
              <a:solidFill>
                <a:srgbClr val="3999C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83" name="Group 82"/>
            <p:cNvGrpSpPr/>
            <p:nvPr/>
          </p:nvGrpSpPr>
          <p:grpSpPr>
            <a:xfrm>
              <a:off x="1608957" y="2579618"/>
              <a:ext cx="212819" cy="212819"/>
              <a:chOff x="4440001" y="206785"/>
              <a:chExt cx="887860" cy="887860"/>
            </a:xfrm>
            <a:solidFill>
              <a:srgbClr val="00518E"/>
            </a:solidFill>
          </p:grpSpPr>
          <p:sp>
            <p:nvSpPr>
              <p:cNvPr id="81" name="Freeform: Shape 80"/>
              <p:cNvSpPr/>
              <p:nvPr/>
            </p:nvSpPr>
            <p:spPr bwMode="auto">
              <a:xfrm>
                <a:off x="4440001" y="206785"/>
                <a:ext cx="887860" cy="887860"/>
              </a:xfrm>
              <a:custGeom>
                <a:avLst/>
                <a:gdLst>
                  <a:gd name="connsiteX0" fmla="*/ 555153 w 887860"/>
                  <a:gd name="connsiteY0" fmla="*/ 795060 h 887860"/>
                  <a:gd name="connsiteX1" fmla="*/ 681620 w 887860"/>
                  <a:gd name="connsiteY1" fmla="*/ 795060 h 887860"/>
                  <a:gd name="connsiteX2" fmla="*/ 681620 w 887860"/>
                  <a:gd name="connsiteY2" fmla="*/ 887860 h 887860"/>
                  <a:gd name="connsiteX3" fmla="*/ 555153 w 887860"/>
                  <a:gd name="connsiteY3" fmla="*/ 887860 h 887860"/>
                  <a:gd name="connsiteX4" fmla="*/ 382967 w 887860"/>
                  <a:gd name="connsiteY4" fmla="*/ 795060 h 887860"/>
                  <a:gd name="connsiteX5" fmla="*/ 509434 w 887860"/>
                  <a:gd name="connsiteY5" fmla="*/ 795060 h 887860"/>
                  <a:gd name="connsiteX6" fmla="*/ 509434 w 887860"/>
                  <a:gd name="connsiteY6" fmla="*/ 887860 h 887860"/>
                  <a:gd name="connsiteX7" fmla="*/ 382967 w 887860"/>
                  <a:gd name="connsiteY7" fmla="*/ 887860 h 887860"/>
                  <a:gd name="connsiteX8" fmla="*/ 210781 w 887860"/>
                  <a:gd name="connsiteY8" fmla="*/ 795060 h 887860"/>
                  <a:gd name="connsiteX9" fmla="*/ 337248 w 887860"/>
                  <a:gd name="connsiteY9" fmla="*/ 795060 h 887860"/>
                  <a:gd name="connsiteX10" fmla="*/ 337248 w 887860"/>
                  <a:gd name="connsiteY10" fmla="*/ 887860 h 887860"/>
                  <a:gd name="connsiteX11" fmla="*/ 210781 w 887860"/>
                  <a:gd name="connsiteY11" fmla="*/ 887860 h 887860"/>
                  <a:gd name="connsiteX12" fmla="*/ 795060 w 887860"/>
                  <a:gd name="connsiteY12" fmla="*/ 719679 h 887860"/>
                  <a:gd name="connsiteX13" fmla="*/ 887860 w 887860"/>
                  <a:gd name="connsiteY13" fmla="*/ 719679 h 887860"/>
                  <a:gd name="connsiteX14" fmla="*/ 887860 w 887860"/>
                  <a:gd name="connsiteY14" fmla="*/ 803282 h 887860"/>
                  <a:gd name="connsiteX15" fmla="*/ 803282 w 887860"/>
                  <a:gd name="connsiteY15" fmla="*/ 887860 h 887860"/>
                  <a:gd name="connsiteX16" fmla="*/ 727339 w 887860"/>
                  <a:gd name="connsiteY16" fmla="*/ 887860 h 887860"/>
                  <a:gd name="connsiteX17" fmla="*/ 727339 w 887860"/>
                  <a:gd name="connsiteY17" fmla="*/ 795060 h 887860"/>
                  <a:gd name="connsiteX18" fmla="*/ 754982 w 887860"/>
                  <a:gd name="connsiteY18" fmla="*/ 795060 h 887860"/>
                  <a:gd name="connsiteX19" fmla="*/ 795060 w 887860"/>
                  <a:gd name="connsiteY19" fmla="*/ 754982 h 887860"/>
                  <a:gd name="connsiteX20" fmla="*/ 0 w 887860"/>
                  <a:gd name="connsiteY20" fmla="*/ 719679 h 887860"/>
                  <a:gd name="connsiteX21" fmla="*/ 92800 w 887860"/>
                  <a:gd name="connsiteY21" fmla="*/ 719679 h 887860"/>
                  <a:gd name="connsiteX22" fmla="*/ 92800 w 887860"/>
                  <a:gd name="connsiteY22" fmla="*/ 754982 h 887860"/>
                  <a:gd name="connsiteX23" fmla="*/ 132878 w 887860"/>
                  <a:gd name="connsiteY23" fmla="*/ 795060 h 887860"/>
                  <a:gd name="connsiteX24" fmla="*/ 165062 w 887860"/>
                  <a:gd name="connsiteY24" fmla="*/ 795060 h 887860"/>
                  <a:gd name="connsiteX25" fmla="*/ 165062 w 887860"/>
                  <a:gd name="connsiteY25" fmla="*/ 887860 h 887860"/>
                  <a:gd name="connsiteX26" fmla="*/ 84578 w 887860"/>
                  <a:gd name="connsiteY26" fmla="*/ 887860 h 887860"/>
                  <a:gd name="connsiteX27" fmla="*/ 0 w 887860"/>
                  <a:gd name="connsiteY27" fmla="*/ 803282 h 887860"/>
                  <a:gd name="connsiteX28" fmla="*/ 795060 w 887860"/>
                  <a:gd name="connsiteY28" fmla="*/ 547493 h 887860"/>
                  <a:gd name="connsiteX29" fmla="*/ 887860 w 887860"/>
                  <a:gd name="connsiteY29" fmla="*/ 547493 h 887860"/>
                  <a:gd name="connsiteX30" fmla="*/ 887860 w 887860"/>
                  <a:gd name="connsiteY30" fmla="*/ 673960 h 887860"/>
                  <a:gd name="connsiteX31" fmla="*/ 795060 w 887860"/>
                  <a:gd name="connsiteY31" fmla="*/ 673960 h 887860"/>
                  <a:gd name="connsiteX32" fmla="*/ 0 w 887860"/>
                  <a:gd name="connsiteY32" fmla="*/ 547493 h 887860"/>
                  <a:gd name="connsiteX33" fmla="*/ 92800 w 887860"/>
                  <a:gd name="connsiteY33" fmla="*/ 547493 h 887860"/>
                  <a:gd name="connsiteX34" fmla="*/ 92800 w 887860"/>
                  <a:gd name="connsiteY34" fmla="*/ 673960 h 887860"/>
                  <a:gd name="connsiteX35" fmla="*/ 0 w 887860"/>
                  <a:gd name="connsiteY35" fmla="*/ 673960 h 887860"/>
                  <a:gd name="connsiteX36" fmla="*/ 795060 w 887860"/>
                  <a:gd name="connsiteY36" fmla="*/ 375307 h 887860"/>
                  <a:gd name="connsiteX37" fmla="*/ 887860 w 887860"/>
                  <a:gd name="connsiteY37" fmla="*/ 375307 h 887860"/>
                  <a:gd name="connsiteX38" fmla="*/ 887860 w 887860"/>
                  <a:gd name="connsiteY38" fmla="*/ 501774 h 887860"/>
                  <a:gd name="connsiteX39" fmla="*/ 795060 w 887860"/>
                  <a:gd name="connsiteY39" fmla="*/ 501774 h 887860"/>
                  <a:gd name="connsiteX40" fmla="*/ 0 w 887860"/>
                  <a:gd name="connsiteY40" fmla="*/ 375307 h 887860"/>
                  <a:gd name="connsiteX41" fmla="*/ 92800 w 887860"/>
                  <a:gd name="connsiteY41" fmla="*/ 375307 h 887860"/>
                  <a:gd name="connsiteX42" fmla="*/ 92800 w 887860"/>
                  <a:gd name="connsiteY42" fmla="*/ 501774 h 887860"/>
                  <a:gd name="connsiteX43" fmla="*/ 0 w 887860"/>
                  <a:gd name="connsiteY43" fmla="*/ 501774 h 887860"/>
                  <a:gd name="connsiteX44" fmla="*/ 795060 w 887860"/>
                  <a:gd name="connsiteY44" fmla="*/ 203121 h 887860"/>
                  <a:gd name="connsiteX45" fmla="*/ 887860 w 887860"/>
                  <a:gd name="connsiteY45" fmla="*/ 203121 h 887860"/>
                  <a:gd name="connsiteX46" fmla="*/ 887860 w 887860"/>
                  <a:gd name="connsiteY46" fmla="*/ 329588 h 887860"/>
                  <a:gd name="connsiteX47" fmla="*/ 795060 w 887860"/>
                  <a:gd name="connsiteY47" fmla="*/ 329588 h 887860"/>
                  <a:gd name="connsiteX48" fmla="*/ 0 w 887860"/>
                  <a:gd name="connsiteY48" fmla="*/ 203121 h 887860"/>
                  <a:gd name="connsiteX49" fmla="*/ 92800 w 887860"/>
                  <a:gd name="connsiteY49" fmla="*/ 203121 h 887860"/>
                  <a:gd name="connsiteX50" fmla="*/ 92800 w 887860"/>
                  <a:gd name="connsiteY50" fmla="*/ 329588 h 887860"/>
                  <a:gd name="connsiteX51" fmla="*/ 0 w 887860"/>
                  <a:gd name="connsiteY51" fmla="*/ 329588 h 887860"/>
                  <a:gd name="connsiteX52" fmla="*/ 727339 w 887860"/>
                  <a:gd name="connsiteY52" fmla="*/ 0 h 887860"/>
                  <a:gd name="connsiteX53" fmla="*/ 803282 w 887860"/>
                  <a:gd name="connsiteY53" fmla="*/ 0 h 887860"/>
                  <a:gd name="connsiteX54" fmla="*/ 887860 w 887860"/>
                  <a:gd name="connsiteY54" fmla="*/ 84578 h 887860"/>
                  <a:gd name="connsiteX55" fmla="*/ 887860 w 887860"/>
                  <a:gd name="connsiteY55" fmla="*/ 157402 h 887860"/>
                  <a:gd name="connsiteX56" fmla="*/ 795060 w 887860"/>
                  <a:gd name="connsiteY56" fmla="*/ 157402 h 887860"/>
                  <a:gd name="connsiteX57" fmla="*/ 795060 w 887860"/>
                  <a:gd name="connsiteY57" fmla="*/ 132878 h 887860"/>
                  <a:gd name="connsiteX58" fmla="*/ 754982 w 887860"/>
                  <a:gd name="connsiteY58" fmla="*/ 92800 h 887860"/>
                  <a:gd name="connsiteX59" fmla="*/ 727339 w 887860"/>
                  <a:gd name="connsiteY59" fmla="*/ 92800 h 887860"/>
                  <a:gd name="connsiteX60" fmla="*/ 555153 w 887860"/>
                  <a:gd name="connsiteY60" fmla="*/ 0 h 887860"/>
                  <a:gd name="connsiteX61" fmla="*/ 681620 w 887860"/>
                  <a:gd name="connsiteY61" fmla="*/ 0 h 887860"/>
                  <a:gd name="connsiteX62" fmla="*/ 681620 w 887860"/>
                  <a:gd name="connsiteY62" fmla="*/ 92800 h 887860"/>
                  <a:gd name="connsiteX63" fmla="*/ 555153 w 887860"/>
                  <a:gd name="connsiteY63" fmla="*/ 92800 h 887860"/>
                  <a:gd name="connsiteX64" fmla="*/ 382967 w 887860"/>
                  <a:gd name="connsiteY64" fmla="*/ 0 h 887860"/>
                  <a:gd name="connsiteX65" fmla="*/ 509434 w 887860"/>
                  <a:gd name="connsiteY65" fmla="*/ 0 h 887860"/>
                  <a:gd name="connsiteX66" fmla="*/ 509434 w 887860"/>
                  <a:gd name="connsiteY66" fmla="*/ 92800 h 887860"/>
                  <a:gd name="connsiteX67" fmla="*/ 382967 w 887860"/>
                  <a:gd name="connsiteY67" fmla="*/ 92800 h 887860"/>
                  <a:gd name="connsiteX68" fmla="*/ 210781 w 887860"/>
                  <a:gd name="connsiteY68" fmla="*/ 0 h 887860"/>
                  <a:gd name="connsiteX69" fmla="*/ 337248 w 887860"/>
                  <a:gd name="connsiteY69" fmla="*/ 0 h 887860"/>
                  <a:gd name="connsiteX70" fmla="*/ 337248 w 887860"/>
                  <a:gd name="connsiteY70" fmla="*/ 92800 h 887860"/>
                  <a:gd name="connsiteX71" fmla="*/ 210781 w 887860"/>
                  <a:gd name="connsiteY71" fmla="*/ 92800 h 887860"/>
                  <a:gd name="connsiteX72" fmla="*/ 84578 w 887860"/>
                  <a:gd name="connsiteY72" fmla="*/ 0 h 887860"/>
                  <a:gd name="connsiteX73" fmla="*/ 165062 w 887860"/>
                  <a:gd name="connsiteY73" fmla="*/ 0 h 887860"/>
                  <a:gd name="connsiteX74" fmla="*/ 165062 w 887860"/>
                  <a:gd name="connsiteY74" fmla="*/ 92800 h 887860"/>
                  <a:gd name="connsiteX75" fmla="*/ 132878 w 887860"/>
                  <a:gd name="connsiteY75" fmla="*/ 92800 h 887860"/>
                  <a:gd name="connsiteX76" fmla="*/ 92800 w 887860"/>
                  <a:gd name="connsiteY76" fmla="*/ 132878 h 887860"/>
                  <a:gd name="connsiteX77" fmla="*/ 92800 w 887860"/>
                  <a:gd name="connsiteY77" fmla="*/ 157402 h 887860"/>
                  <a:gd name="connsiteX78" fmla="*/ 0 w 887860"/>
                  <a:gd name="connsiteY78" fmla="*/ 157402 h 887860"/>
                  <a:gd name="connsiteX79" fmla="*/ 0 w 887860"/>
                  <a:gd name="connsiteY79" fmla="*/ 84578 h 887860"/>
                  <a:gd name="connsiteX80" fmla="*/ 84578 w 887860"/>
                  <a:gd name="connsiteY80" fmla="*/ 0 h 88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87860" h="887860">
                    <a:moveTo>
                      <a:pt x="555153" y="795060"/>
                    </a:moveTo>
                    <a:lnTo>
                      <a:pt x="681620" y="795060"/>
                    </a:lnTo>
                    <a:lnTo>
                      <a:pt x="681620" y="887860"/>
                    </a:lnTo>
                    <a:lnTo>
                      <a:pt x="555153" y="887860"/>
                    </a:lnTo>
                    <a:close/>
                    <a:moveTo>
                      <a:pt x="382967" y="795060"/>
                    </a:moveTo>
                    <a:lnTo>
                      <a:pt x="509434" y="795060"/>
                    </a:lnTo>
                    <a:lnTo>
                      <a:pt x="509434" y="887860"/>
                    </a:lnTo>
                    <a:lnTo>
                      <a:pt x="382967" y="887860"/>
                    </a:lnTo>
                    <a:close/>
                    <a:moveTo>
                      <a:pt x="210781" y="795060"/>
                    </a:moveTo>
                    <a:lnTo>
                      <a:pt x="337248" y="795060"/>
                    </a:lnTo>
                    <a:lnTo>
                      <a:pt x="337248" y="887860"/>
                    </a:lnTo>
                    <a:lnTo>
                      <a:pt x="210781" y="887860"/>
                    </a:lnTo>
                    <a:close/>
                    <a:moveTo>
                      <a:pt x="795060" y="719679"/>
                    </a:moveTo>
                    <a:lnTo>
                      <a:pt x="887860" y="719679"/>
                    </a:lnTo>
                    <a:lnTo>
                      <a:pt x="887860" y="803282"/>
                    </a:lnTo>
                    <a:cubicBezTo>
                      <a:pt x="887860" y="849993"/>
                      <a:pt x="849993" y="887860"/>
                      <a:pt x="803282" y="887860"/>
                    </a:cubicBezTo>
                    <a:lnTo>
                      <a:pt x="727339" y="887860"/>
                    </a:lnTo>
                    <a:lnTo>
                      <a:pt x="727339" y="795060"/>
                    </a:lnTo>
                    <a:lnTo>
                      <a:pt x="754982" y="795060"/>
                    </a:lnTo>
                    <a:cubicBezTo>
                      <a:pt x="777116" y="795060"/>
                      <a:pt x="795060" y="777116"/>
                      <a:pt x="795060" y="754982"/>
                    </a:cubicBezTo>
                    <a:close/>
                    <a:moveTo>
                      <a:pt x="0" y="719679"/>
                    </a:moveTo>
                    <a:lnTo>
                      <a:pt x="92800" y="719679"/>
                    </a:lnTo>
                    <a:lnTo>
                      <a:pt x="92800" y="754982"/>
                    </a:lnTo>
                    <a:cubicBezTo>
                      <a:pt x="92800" y="777116"/>
                      <a:pt x="110744" y="795060"/>
                      <a:pt x="132878" y="795060"/>
                    </a:cubicBezTo>
                    <a:lnTo>
                      <a:pt x="165062" y="795060"/>
                    </a:lnTo>
                    <a:lnTo>
                      <a:pt x="165062" y="887860"/>
                    </a:lnTo>
                    <a:lnTo>
                      <a:pt x="84578" y="887860"/>
                    </a:lnTo>
                    <a:cubicBezTo>
                      <a:pt x="37867" y="887860"/>
                      <a:pt x="0" y="849993"/>
                      <a:pt x="0" y="803282"/>
                    </a:cubicBezTo>
                    <a:close/>
                    <a:moveTo>
                      <a:pt x="795060" y="547493"/>
                    </a:moveTo>
                    <a:lnTo>
                      <a:pt x="887860" y="547493"/>
                    </a:lnTo>
                    <a:lnTo>
                      <a:pt x="887860" y="673960"/>
                    </a:lnTo>
                    <a:lnTo>
                      <a:pt x="795060" y="673960"/>
                    </a:lnTo>
                    <a:close/>
                    <a:moveTo>
                      <a:pt x="0" y="547493"/>
                    </a:moveTo>
                    <a:lnTo>
                      <a:pt x="92800" y="547493"/>
                    </a:lnTo>
                    <a:lnTo>
                      <a:pt x="92800" y="673960"/>
                    </a:lnTo>
                    <a:lnTo>
                      <a:pt x="0" y="673960"/>
                    </a:lnTo>
                    <a:close/>
                    <a:moveTo>
                      <a:pt x="795060" y="375307"/>
                    </a:moveTo>
                    <a:lnTo>
                      <a:pt x="887860" y="375307"/>
                    </a:lnTo>
                    <a:lnTo>
                      <a:pt x="887860" y="501774"/>
                    </a:lnTo>
                    <a:lnTo>
                      <a:pt x="795060" y="501774"/>
                    </a:lnTo>
                    <a:close/>
                    <a:moveTo>
                      <a:pt x="0" y="375307"/>
                    </a:moveTo>
                    <a:lnTo>
                      <a:pt x="92800" y="375307"/>
                    </a:lnTo>
                    <a:lnTo>
                      <a:pt x="92800" y="501774"/>
                    </a:lnTo>
                    <a:lnTo>
                      <a:pt x="0" y="501774"/>
                    </a:lnTo>
                    <a:close/>
                    <a:moveTo>
                      <a:pt x="795060" y="203121"/>
                    </a:moveTo>
                    <a:lnTo>
                      <a:pt x="887860" y="203121"/>
                    </a:lnTo>
                    <a:lnTo>
                      <a:pt x="887860" y="329588"/>
                    </a:lnTo>
                    <a:lnTo>
                      <a:pt x="795060" y="329588"/>
                    </a:lnTo>
                    <a:close/>
                    <a:moveTo>
                      <a:pt x="0" y="203121"/>
                    </a:moveTo>
                    <a:lnTo>
                      <a:pt x="92800" y="203121"/>
                    </a:lnTo>
                    <a:lnTo>
                      <a:pt x="92800" y="329588"/>
                    </a:lnTo>
                    <a:lnTo>
                      <a:pt x="0" y="329588"/>
                    </a:lnTo>
                    <a:close/>
                    <a:moveTo>
                      <a:pt x="727339" y="0"/>
                    </a:moveTo>
                    <a:lnTo>
                      <a:pt x="803282" y="0"/>
                    </a:lnTo>
                    <a:cubicBezTo>
                      <a:pt x="849993" y="0"/>
                      <a:pt x="887860" y="37867"/>
                      <a:pt x="887860" y="84578"/>
                    </a:cubicBezTo>
                    <a:lnTo>
                      <a:pt x="887860" y="157402"/>
                    </a:lnTo>
                    <a:lnTo>
                      <a:pt x="795060" y="157402"/>
                    </a:lnTo>
                    <a:lnTo>
                      <a:pt x="795060" y="132878"/>
                    </a:lnTo>
                    <a:cubicBezTo>
                      <a:pt x="795060" y="110744"/>
                      <a:pt x="777116" y="92800"/>
                      <a:pt x="754982" y="92800"/>
                    </a:cubicBezTo>
                    <a:lnTo>
                      <a:pt x="727339" y="92800"/>
                    </a:lnTo>
                    <a:close/>
                    <a:moveTo>
                      <a:pt x="555153" y="0"/>
                    </a:moveTo>
                    <a:lnTo>
                      <a:pt x="681620" y="0"/>
                    </a:lnTo>
                    <a:lnTo>
                      <a:pt x="681620" y="92800"/>
                    </a:lnTo>
                    <a:lnTo>
                      <a:pt x="555153" y="92800"/>
                    </a:lnTo>
                    <a:close/>
                    <a:moveTo>
                      <a:pt x="382967" y="0"/>
                    </a:moveTo>
                    <a:lnTo>
                      <a:pt x="509434" y="0"/>
                    </a:lnTo>
                    <a:lnTo>
                      <a:pt x="509434" y="92800"/>
                    </a:lnTo>
                    <a:lnTo>
                      <a:pt x="382967" y="92800"/>
                    </a:lnTo>
                    <a:close/>
                    <a:moveTo>
                      <a:pt x="210781" y="0"/>
                    </a:moveTo>
                    <a:lnTo>
                      <a:pt x="337248" y="0"/>
                    </a:lnTo>
                    <a:lnTo>
                      <a:pt x="337248" y="92800"/>
                    </a:lnTo>
                    <a:lnTo>
                      <a:pt x="210781" y="92800"/>
                    </a:lnTo>
                    <a:close/>
                    <a:moveTo>
                      <a:pt x="84578" y="0"/>
                    </a:moveTo>
                    <a:lnTo>
                      <a:pt x="165062" y="0"/>
                    </a:lnTo>
                    <a:lnTo>
                      <a:pt x="165062" y="92800"/>
                    </a:lnTo>
                    <a:lnTo>
                      <a:pt x="132878" y="92800"/>
                    </a:lnTo>
                    <a:cubicBezTo>
                      <a:pt x="110744" y="92800"/>
                      <a:pt x="92800" y="110744"/>
                      <a:pt x="92800" y="132878"/>
                    </a:cubicBezTo>
                    <a:lnTo>
                      <a:pt x="92800" y="157402"/>
                    </a:lnTo>
                    <a:lnTo>
                      <a:pt x="0" y="157402"/>
                    </a:lnTo>
                    <a:lnTo>
                      <a:pt x="0" y="84578"/>
                    </a:lnTo>
                    <a:cubicBezTo>
                      <a:pt x="0" y="37867"/>
                      <a:pt x="37867" y="0"/>
                      <a:pt x="8457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2" name="Freeform: Shape 81"/>
              <p:cNvSpPr/>
              <p:nvPr/>
            </p:nvSpPr>
            <p:spPr bwMode="auto">
              <a:xfrm>
                <a:off x="4606891" y="362843"/>
                <a:ext cx="563271" cy="565709"/>
              </a:xfrm>
              <a:custGeom>
                <a:avLst/>
                <a:gdLst>
                  <a:gd name="connsiteX0" fmla="*/ 79947 w 563271"/>
                  <a:gd name="connsiteY0" fmla="*/ 67056 h 565709"/>
                  <a:gd name="connsiteX1" fmla="*/ 66767 w 563271"/>
                  <a:gd name="connsiteY1" fmla="*/ 80236 h 565709"/>
                  <a:gd name="connsiteX2" fmla="*/ 66767 w 563271"/>
                  <a:gd name="connsiteY2" fmla="*/ 485473 h 565709"/>
                  <a:gd name="connsiteX3" fmla="*/ 79947 w 563271"/>
                  <a:gd name="connsiteY3" fmla="*/ 498653 h 565709"/>
                  <a:gd name="connsiteX4" fmla="*/ 483324 w 563271"/>
                  <a:gd name="connsiteY4" fmla="*/ 498653 h 565709"/>
                  <a:gd name="connsiteX5" fmla="*/ 496504 w 563271"/>
                  <a:gd name="connsiteY5" fmla="*/ 485473 h 565709"/>
                  <a:gd name="connsiteX6" fmla="*/ 496504 w 563271"/>
                  <a:gd name="connsiteY6" fmla="*/ 80236 h 565709"/>
                  <a:gd name="connsiteX7" fmla="*/ 483324 w 563271"/>
                  <a:gd name="connsiteY7" fmla="*/ 67056 h 565709"/>
                  <a:gd name="connsiteX8" fmla="*/ 52429 w 563271"/>
                  <a:gd name="connsiteY8" fmla="*/ 0 h 565709"/>
                  <a:gd name="connsiteX9" fmla="*/ 510842 w 563271"/>
                  <a:gd name="connsiteY9" fmla="*/ 0 h 565709"/>
                  <a:gd name="connsiteX10" fmla="*/ 563271 w 563271"/>
                  <a:gd name="connsiteY10" fmla="*/ 52429 h 565709"/>
                  <a:gd name="connsiteX11" fmla="*/ 563271 w 563271"/>
                  <a:gd name="connsiteY11" fmla="*/ 513280 h 565709"/>
                  <a:gd name="connsiteX12" fmla="*/ 510842 w 563271"/>
                  <a:gd name="connsiteY12" fmla="*/ 565709 h 565709"/>
                  <a:gd name="connsiteX13" fmla="*/ 52429 w 563271"/>
                  <a:gd name="connsiteY13" fmla="*/ 565709 h 565709"/>
                  <a:gd name="connsiteX14" fmla="*/ 0 w 563271"/>
                  <a:gd name="connsiteY14" fmla="*/ 513280 h 565709"/>
                  <a:gd name="connsiteX15" fmla="*/ 0 w 563271"/>
                  <a:gd name="connsiteY15" fmla="*/ 52429 h 565709"/>
                  <a:gd name="connsiteX16" fmla="*/ 52429 w 563271"/>
                  <a:gd name="connsiteY16" fmla="*/ 0 h 56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3271" h="565709">
                    <a:moveTo>
                      <a:pt x="79947" y="67056"/>
                    </a:moveTo>
                    <a:cubicBezTo>
                      <a:pt x="72668" y="67056"/>
                      <a:pt x="66767" y="72957"/>
                      <a:pt x="66767" y="80236"/>
                    </a:cubicBezTo>
                    <a:lnTo>
                      <a:pt x="66767" y="485473"/>
                    </a:lnTo>
                    <a:cubicBezTo>
                      <a:pt x="66767" y="492752"/>
                      <a:pt x="72668" y="498653"/>
                      <a:pt x="79947" y="498653"/>
                    </a:cubicBezTo>
                    <a:lnTo>
                      <a:pt x="483324" y="498653"/>
                    </a:lnTo>
                    <a:cubicBezTo>
                      <a:pt x="490603" y="498653"/>
                      <a:pt x="496504" y="492752"/>
                      <a:pt x="496504" y="485473"/>
                    </a:cubicBezTo>
                    <a:lnTo>
                      <a:pt x="496504" y="80236"/>
                    </a:lnTo>
                    <a:cubicBezTo>
                      <a:pt x="496504" y="72957"/>
                      <a:pt x="490603" y="67056"/>
                      <a:pt x="483324" y="67056"/>
                    </a:cubicBezTo>
                    <a:close/>
                    <a:moveTo>
                      <a:pt x="52429" y="0"/>
                    </a:moveTo>
                    <a:lnTo>
                      <a:pt x="510842" y="0"/>
                    </a:lnTo>
                    <a:cubicBezTo>
                      <a:pt x="539798" y="0"/>
                      <a:pt x="563271" y="23473"/>
                      <a:pt x="563271" y="52429"/>
                    </a:cubicBezTo>
                    <a:lnTo>
                      <a:pt x="563271" y="513280"/>
                    </a:lnTo>
                    <a:cubicBezTo>
                      <a:pt x="563271" y="542236"/>
                      <a:pt x="539798" y="565709"/>
                      <a:pt x="510842" y="565709"/>
                    </a:cubicBezTo>
                    <a:lnTo>
                      <a:pt x="52429" y="565709"/>
                    </a:lnTo>
                    <a:cubicBezTo>
                      <a:pt x="23473" y="565709"/>
                      <a:pt x="0" y="542236"/>
                      <a:pt x="0" y="513280"/>
                    </a:cubicBezTo>
                    <a:lnTo>
                      <a:pt x="0" y="52429"/>
                    </a:lnTo>
                    <a:cubicBezTo>
                      <a:pt x="0" y="23473"/>
                      <a:pt x="23473" y="0"/>
                      <a:pt x="5242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5" name="Group 84"/>
          <p:cNvGrpSpPr/>
          <p:nvPr/>
        </p:nvGrpSpPr>
        <p:grpSpPr>
          <a:xfrm>
            <a:off x="5724430" y="4491424"/>
            <a:ext cx="662749" cy="403092"/>
            <a:chOff x="5389512" y="2978410"/>
            <a:chExt cx="1456821" cy="886057"/>
          </a:xfrm>
        </p:grpSpPr>
        <p:sp>
          <p:nvSpPr>
            <p:cNvPr id="86" name="Freeform 84"/>
            <p:cNvSpPr>
              <a:spLocks noChangeAspect="1" noEditPoints="1"/>
            </p:cNvSpPr>
            <p:nvPr/>
          </p:nvSpPr>
          <p:spPr bwMode="auto">
            <a:xfrm>
              <a:off x="6497065" y="3047444"/>
              <a:ext cx="229318" cy="229968"/>
            </a:xfrm>
            <a:custGeom>
              <a:avLst/>
              <a:gdLst>
                <a:gd name="T0" fmla="*/ 1952 w 2121"/>
                <a:gd name="T1" fmla="*/ 1072 h 2121"/>
                <a:gd name="T2" fmla="*/ 1963 w 2121"/>
                <a:gd name="T3" fmla="*/ 1019 h 2121"/>
                <a:gd name="T4" fmla="*/ 2121 w 2121"/>
                <a:gd name="T5" fmla="*/ 786 h 2121"/>
                <a:gd name="T6" fmla="*/ 2096 w 2121"/>
                <a:gd name="T7" fmla="*/ 749 h 2121"/>
                <a:gd name="T8" fmla="*/ 1838 w 2121"/>
                <a:gd name="T9" fmla="*/ 625 h 2121"/>
                <a:gd name="T10" fmla="*/ 1822 w 2121"/>
                <a:gd name="T11" fmla="*/ 572 h 2121"/>
                <a:gd name="T12" fmla="*/ 1841 w 2121"/>
                <a:gd name="T13" fmla="*/ 293 h 2121"/>
                <a:gd name="T14" fmla="*/ 1800 w 2121"/>
                <a:gd name="T15" fmla="*/ 274 h 2121"/>
                <a:gd name="T16" fmla="*/ 1516 w 2121"/>
                <a:gd name="T17" fmla="*/ 295 h 2121"/>
                <a:gd name="T18" fmla="*/ 1475 w 2121"/>
                <a:gd name="T19" fmla="*/ 257 h 2121"/>
                <a:gd name="T20" fmla="*/ 1353 w 2121"/>
                <a:gd name="T21" fmla="*/ 5 h 2121"/>
                <a:gd name="T22" fmla="*/ 1308 w 2121"/>
                <a:gd name="T23" fmla="*/ 9 h 2121"/>
                <a:gd name="T24" fmla="*/ 1072 w 2121"/>
                <a:gd name="T25" fmla="*/ 170 h 2121"/>
                <a:gd name="T26" fmla="*/ 1017 w 2121"/>
                <a:gd name="T27" fmla="*/ 158 h 2121"/>
                <a:gd name="T28" fmla="*/ 785 w 2121"/>
                <a:gd name="T29" fmla="*/ 0 h 2121"/>
                <a:gd name="T30" fmla="*/ 749 w 2121"/>
                <a:gd name="T31" fmla="*/ 27 h 2121"/>
                <a:gd name="T32" fmla="*/ 625 w 2121"/>
                <a:gd name="T33" fmla="*/ 283 h 2121"/>
                <a:gd name="T34" fmla="*/ 572 w 2121"/>
                <a:gd name="T35" fmla="*/ 301 h 2121"/>
                <a:gd name="T36" fmla="*/ 292 w 2121"/>
                <a:gd name="T37" fmla="*/ 280 h 2121"/>
                <a:gd name="T38" fmla="*/ 274 w 2121"/>
                <a:gd name="T39" fmla="*/ 321 h 2121"/>
                <a:gd name="T40" fmla="*/ 295 w 2121"/>
                <a:gd name="T41" fmla="*/ 605 h 2121"/>
                <a:gd name="T42" fmla="*/ 257 w 2121"/>
                <a:gd name="T43" fmla="*/ 646 h 2121"/>
                <a:gd name="T44" fmla="*/ 4 w 2121"/>
                <a:gd name="T45" fmla="*/ 768 h 2121"/>
                <a:gd name="T46" fmla="*/ 9 w 2121"/>
                <a:gd name="T47" fmla="*/ 814 h 2121"/>
                <a:gd name="T48" fmla="*/ 169 w 2121"/>
                <a:gd name="T49" fmla="*/ 1049 h 2121"/>
                <a:gd name="T50" fmla="*/ 158 w 2121"/>
                <a:gd name="T51" fmla="*/ 1104 h 2121"/>
                <a:gd name="T52" fmla="*/ 0 w 2121"/>
                <a:gd name="T53" fmla="*/ 1336 h 2121"/>
                <a:gd name="T54" fmla="*/ 25 w 2121"/>
                <a:gd name="T55" fmla="*/ 1372 h 2121"/>
                <a:gd name="T56" fmla="*/ 283 w 2121"/>
                <a:gd name="T57" fmla="*/ 1496 h 2121"/>
                <a:gd name="T58" fmla="*/ 299 w 2121"/>
                <a:gd name="T59" fmla="*/ 1549 h 2121"/>
                <a:gd name="T60" fmla="*/ 279 w 2121"/>
                <a:gd name="T61" fmla="*/ 1830 h 2121"/>
                <a:gd name="T62" fmla="*/ 320 w 2121"/>
                <a:gd name="T63" fmla="*/ 1847 h 2121"/>
                <a:gd name="T64" fmla="*/ 605 w 2121"/>
                <a:gd name="T65" fmla="*/ 1826 h 2121"/>
                <a:gd name="T66" fmla="*/ 646 w 2121"/>
                <a:gd name="T67" fmla="*/ 1864 h 2121"/>
                <a:gd name="T68" fmla="*/ 768 w 2121"/>
                <a:gd name="T69" fmla="*/ 2117 h 2121"/>
                <a:gd name="T70" fmla="*/ 813 w 2121"/>
                <a:gd name="T71" fmla="*/ 2113 h 2121"/>
                <a:gd name="T72" fmla="*/ 1049 w 2121"/>
                <a:gd name="T73" fmla="*/ 1952 h 2121"/>
                <a:gd name="T74" fmla="*/ 1104 w 2121"/>
                <a:gd name="T75" fmla="*/ 1965 h 2121"/>
                <a:gd name="T76" fmla="*/ 1336 w 2121"/>
                <a:gd name="T77" fmla="*/ 2121 h 2121"/>
                <a:gd name="T78" fmla="*/ 1372 w 2121"/>
                <a:gd name="T79" fmla="*/ 2096 h 2121"/>
                <a:gd name="T80" fmla="*/ 1496 w 2121"/>
                <a:gd name="T81" fmla="*/ 1838 h 2121"/>
                <a:gd name="T82" fmla="*/ 1549 w 2121"/>
                <a:gd name="T83" fmla="*/ 1822 h 2121"/>
                <a:gd name="T84" fmla="*/ 1829 w 2121"/>
                <a:gd name="T85" fmla="*/ 1842 h 2121"/>
                <a:gd name="T86" fmla="*/ 1847 w 2121"/>
                <a:gd name="T87" fmla="*/ 1801 h 2121"/>
                <a:gd name="T88" fmla="*/ 1826 w 2121"/>
                <a:gd name="T89" fmla="*/ 1516 h 2121"/>
                <a:gd name="T90" fmla="*/ 1864 w 2121"/>
                <a:gd name="T91" fmla="*/ 1475 h 2121"/>
                <a:gd name="T92" fmla="*/ 2117 w 2121"/>
                <a:gd name="T93" fmla="*/ 1353 h 2121"/>
                <a:gd name="T94" fmla="*/ 2112 w 2121"/>
                <a:gd name="T95" fmla="*/ 1308 h 2121"/>
                <a:gd name="T96" fmla="*/ 943 w 2121"/>
                <a:gd name="T97" fmla="*/ 496 h 2121"/>
                <a:gd name="T98" fmla="*/ 1035 w 2121"/>
                <a:gd name="T99" fmla="*/ 1624 h 2121"/>
                <a:gd name="T100" fmla="*/ 981 w 2121"/>
                <a:gd name="T101" fmla="*/ 1597 h 2121"/>
                <a:gd name="T102" fmla="*/ 946 w 2121"/>
                <a:gd name="T103" fmla="*/ 1547 h 2121"/>
                <a:gd name="T104" fmla="*/ 936 w 2121"/>
                <a:gd name="T105" fmla="*/ 1494 h 2121"/>
                <a:gd name="T106" fmla="*/ 952 w 2121"/>
                <a:gd name="T107" fmla="*/ 1426 h 2121"/>
                <a:gd name="T108" fmla="*/ 991 w 2121"/>
                <a:gd name="T109" fmla="*/ 1380 h 2121"/>
                <a:gd name="T110" fmla="*/ 1048 w 2121"/>
                <a:gd name="T111" fmla="*/ 1360 h 2121"/>
                <a:gd name="T112" fmla="*/ 1098 w 2121"/>
                <a:gd name="T113" fmla="*/ 1365 h 2121"/>
                <a:gd name="T114" fmla="*/ 1149 w 2121"/>
                <a:gd name="T115" fmla="*/ 1396 h 2121"/>
                <a:gd name="T116" fmla="*/ 1180 w 2121"/>
                <a:gd name="T117" fmla="*/ 1451 h 2121"/>
                <a:gd name="T118" fmla="*/ 1185 w 2121"/>
                <a:gd name="T119" fmla="*/ 1508 h 2121"/>
                <a:gd name="T120" fmla="*/ 1166 w 2121"/>
                <a:gd name="T121" fmla="*/ 1569 h 2121"/>
                <a:gd name="T122" fmla="*/ 1124 w 2121"/>
                <a:gd name="T123" fmla="*/ 1611 h 2121"/>
                <a:gd name="T124" fmla="*/ 1060 w 2121"/>
                <a:gd name="T125" fmla="*/ 1626 h 2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1" h="2121">
                  <a:moveTo>
                    <a:pt x="1963" y="1104"/>
                  </a:moveTo>
                  <a:lnTo>
                    <a:pt x="1963" y="1104"/>
                  </a:lnTo>
                  <a:lnTo>
                    <a:pt x="1957" y="1095"/>
                  </a:lnTo>
                  <a:lnTo>
                    <a:pt x="1954" y="1084"/>
                  </a:lnTo>
                  <a:lnTo>
                    <a:pt x="1952" y="1072"/>
                  </a:lnTo>
                  <a:lnTo>
                    <a:pt x="1950" y="1061"/>
                  </a:lnTo>
                  <a:lnTo>
                    <a:pt x="1952" y="1049"/>
                  </a:lnTo>
                  <a:lnTo>
                    <a:pt x="1954" y="1038"/>
                  </a:lnTo>
                  <a:lnTo>
                    <a:pt x="1957" y="1028"/>
                  </a:lnTo>
                  <a:lnTo>
                    <a:pt x="1963" y="1019"/>
                  </a:lnTo>
                  <a:lnTo>
                    <a:pt x="2112" y="814"/>
                  </a:lnTo>
                  <a:lnTo>
                    <a:pt x="2112" y="814"/>
                  </a:lnTo>
                  <a:lnTo>
                    <a:pt x="2118" y="804"/>
                  </a:lnTo>
                  <a:lnTo>
                    <a:pt x="2120" y="795"/>
                  </a:lnTo>
                  <a:lnTo>
                    <a:pt x="2121" y="786"/>
                  </a:lnTo>
                  <a:lnTo>
                    <a:pt x="2120" y="777"/>
                  </a:lnTo>
                  <a:lnTo>
                    <a:pt x="2117" y="768"/>
                  </a:lnTo>
                  <a:lnTo>
                    <a:pt x="2112" y="761"/>
                  </a:lnTo>
                  <a:lnTo>
                    <a:pt x="2104" y="754"/>
                  </a:lnTo>
                  <a:lnTo>
                    <a:pt x="2096" y="749"/>
                  </a:lnTo>
                  <a:lnTo>
                    <a:pt x="1864" y="646"/>
                  </a:lnTo>
                  <a:lnTo>
                    <a:pt x="1864" y="646"/>
                  </a:lnTo>
                  <a:lnTo>
                    <a:pt x="1854" y="642"/>
                  </a:lnTo>
                  <a:lnTo>
                    <a:pt x="1846" y="633"/>
                  </a:lnTo>
                  <a:lnTo>
                    <a:pt x="1838" y="625"/>
                  </a:lnTo>
                  <a:lnTo>
                    <a:pt x="1831" y="616"/>
                  </a:lnTo>
                  <a:lnTo>
                    <a:pt x="1826" y="605"/>
                  </a:lnTo>
                  <a:lnTo>
                    <a:pt x="1823" y="595"/>
                  </a:lnTo>
                  <a:lnTo>
                    <a:pt x="1822" y="583"/>
                  </a:lnTo>
                  <a:lnTo>
                    <a:pt x="1822" y="572"/>
                  </a:lnTo>
                  <a:lnTo>
                    <a:pt x="1847" y="321"/>
                  </a:lnTo>
                  <a:lnTo>
                    <a:pt x="1847" y="321"/>
                  </a:lnTo>
                  <a:lnTo>
                    <a:pt x="1847" y="310"/>
                  </a:lnTo>
                  <a:lnTo>
                    <a:pt x="1846" y="301"/>
                  </a:lnTo>
                  <a:lnTo>
                    <a:pt x="1841" y="293"/>
                  </a:lnTo>
                  <a:lnTo>
                    <a:pt x="1836" y="286"/>
                  </a:lnTo>
                  <a:lnTo>
                    <a:pt x="1829" y="280"/>
                  </a:lnTo>
                  <a:lnTo>
                    <a:pt x="1820" y="276"/>
                  </a:lnTo>
                  <a:lnTo>
                    <a:pt x="1811" y="274"/>
                  </a:lnTo>
                  <a:lnTo>
                    <a:pt x="1800" y="274"/>
                  </a:lnTo>
                  <a:lnTo>
                    <a:pt x="1549" y="300"/>
                  </a:lnTo>
                  <a:lnTo>
                    <a:pt x="1549" y="300"/>
                  </a:lnTo>
                  <a:lnTo>
                    <a:pt x="1538" y="301"/>
                  </a:lnTo>
                  <a:lnTo>
                    <a:pt x="1528" y="298"/>
                  </a:lnTo>
                  <a:lnTo>
                    <a:pt x="1516" y="295"/>
                  </a:lnTo>
                  <a:lnTo>
                    <a:pt x="1505" y="290"/>
                  </a:lnTo>
                  <a:lnTo>
                    <a:pt x="1496" y="283"/>
                  </a:lnTo>
                  <a:lnTo>
                    <a:pt x="1488" y="276"/>
                  </a:lnTo>
                  <a:lnTo>
                    <a:pt x="1481" y="267"/>
                  </a:lnTo>
                  <a:lnTo>
                    <a:pt x="1475" y="257"/>
                  </a:lnTo>
                  <a:lnTo>
                    <a:pt x="1372" y="27"/>
                  </a:lnTo>
                  <a:lnTo>
                    <a:pt x="1372" y="27"/>
                  </a:lnTo>
                  <a:lnTo>
                    <a:pt x="1367" y="17"/>
                  </a:lnTo>
                  <a:lnTo>
                    <a:pt x="1360" y="10"/>
                  </a:lnTo>
                  <a:lnTo>
                    <a:pt x="1353" y="5"/>
                  </a:lnTo>
                  <a:lnTo>
                    <a:pt x="1345" y="1"/>
                  </a:lnTo>
                  <a:lnTo>
                    <a:pt x="1336" y="0"/>
                  </a:lnTo>
                  <a:lnTo>
                    <a:pt x="1326" y="1"/>
                  </a:lnTo>
                  <a:lnTo>
                    <a:pt x="1317" y="3"/>
                  </a:lnTo>
                  <a:lnTo>
                    <a:pt x="1308" y="9"/>
                  </a:lnTo>
                  <a:lnTo>
                    <a:pt x="1104" y="158"/>
                  </a:lnTo>
                  <a:lnTo>
                    <a:pt x="1104" y="158"/>
                  </a:lnTo>
                  <a:lnTo>
                    <a:pt x="1093" y="164"/>
                  </a:lnTo>
                  <a:lnTo>
                    <a:pt x="1083" y="167"/>
                  </a:lnTo>
                  <a:lnTo>
                    <a:pt x="1072" y="170"/>
                  </a:lnTo>
                  <a:lnTo>
                    <a:pt x="1060" y="171"/>
                  </a:lnTo>
                  <a:lnTo>
                    <a:pt x="1049" y="170"/>
                  </a:lnTo>
                  <a:lnTo>
                    <a:pt x="1038" y="167"/>
                  </a:lnTo>
                  <a:lnTo>
                    <a:pt x="1028" y="164"/>
                  </a:lnTo>
                  <a:lnTo>
                    <a:pt x="1017" y="158"/>
                  </a:lnTo>
                  <a:lnTo>
                    <a:pt x="813" y="9"/>
                  </a:lnTo>
                  <a:lnTo>
                    <a:pt x="813" y="9"/>
                  </a:lnTo>
                  <a:lnTo>
                    <a:pt x="804" y="3"/>
                  </a:lnTo>
                  <a:lnTo>
                    <a:pt x="795" y="1"/>
                  </a:lnTo>
                  <a:lnTo>
                    <a:pt x="785" y="0"/>
                  </a:lnTo>
                  <a:lnTo>
                    <a:pt x="777" y="1"/>
                  </a:lnTo>
                  <a:lnTo>
                    <a:pt x="768" y="5"/>
                  </a:lnTo>
                  <a:lnTo>
                    <a:pt x="761" y="10"/>
                  </a:lnTo>
                  <a:lnTo>
                    <a:pt x="754" y="17"/>
                  </a:lnTo>
                  <a:lnTo>
                    <a:pt x="749" y="27"/>
                  </a:lnTo>
                  <a:lnTo>
                    <a:pt x="646" y="257"/>
                  </a:lnTo>
                  <a:lnTo>
                    <a:pt x="646" y="257"/>
                  </a:lnTo>
                  <a:lnTo>
                    <a:pt x="640" y="267"/>
                  </a:lnTo>
                  <a:lnTo>
                    <a:pt x="633" y="276"/>
                  </a:lnTo>
                  <a:lnTo>
                    <a:pt x="625" y="283"/>
                  </a:lnTo>
                  <a:lnTo>
                    <a:pt x="616" y="290"/>
                  </a:lnTo>
                  <a:lnTo>
                    <a:pt x="605" y="295"/>
                  </a:lnTo>
                  <a:lnTo>
                    <a:pt x="594" y="298"/>
                  </a:lnTo>
                  <a:lnTo>
                    <a:pt x="583" y="301"/>
                  </a:lnTo>
                  <a:lnTo>
                    <a:pt x="572" y="301"/>
                  </a:lnTo>
                  <a:lnTo>
                    <a:pt x="320" y="274"/>
                  </a:lnTo>
                  <a:lnTo>
                    <a:pt x="320" y="274"/>
                  </a:lnTo>
                  <a:lnTo>
                    <a:pt x="310" y="274"/>
                  </a:lnTo>
                  <a:lnTo>
                    <a:pt x="301" y="276"/>
                  </a:lnTo>
                  <a:lnTo>
                    <a:pt x="292" y="280"/>
                  </a:lnTo>
                  <a:lnTo>
                    <a:pt x="285" y="286"/>
                  </a:lnTo>
                  <a:lnTo>
                    <a:pt x="279" y="293"/>
                  </a:lnTo>
                  <a:lnTo>
                    <a:pt x="275" y="301"/>
                  </a:lnTo>
                  <a:lnTo>
                    <a:pt x="274" y="310"/>
                  </a:lnTo>
                  <a:lnTo>
                    <a:pt x="274" y="321"/>
                  </a:lnTo>
                  <a:lnTo>
                    <a:pt x="299" y="572"/>
                  </a:lnTo>
                  <a:lnTo>
                    <a:pt x="299" y="572"/>
                  </a:lnTo>
                  <a:lnTo>
                    <a:pt x="299" y="583"/>
                  </a:lnTo>
                  <a:lnTo>
                    <a:pt x="298" y="595"/>
                  </a:lnTo>
                  <a:lnTo>
                    <a:pt x="295" y="605"/>
                  </a:lnTo>
                  <a:lnTo>
                    <a:pt x="290" y="616"/>
                  </a:lnTo>
                  <a:lnTo>
                    <a:pt x="283" y="625"/>
                  </a:lnTo>
                  <a:lnTo>
                    <a:pt x="275" y="633"/>
                  </a:lnTo>
                  <a:lnTo>
                    <a:pt x="267" y="642"/>
                  </a:lnTo>
                  <a:lnTo>
                    <a:pt x="257" y="646"/>
                  </a:lnTo>
                  <a:lnTo>
                    <a:pt x="27" y="749"/>
                  </a:lnTo>
                  <a:lnTo>
                    <a:pt x="27" y="749"/>
                  </a:lnTo>
                  <a:lnTo>
                    <a:pt x="17" y="754"/>
                  </a:lnTo>
                  <a:lnTo>
                    <a:pt x="10" y="761"/>
                  </a:lnTo>
                  <a:lnTo>
                    <a:pt x="4" y="768"/>
                  </a:lnTo>
                  <a:lnTo>
                    <a:pt x="1" y="777"/>
                  </a:lnTo>
                  <a:lnTo>
                    <a:pt x="0" y="786"/>
                  </a:lnTo>
                  <a:lnTo>
                    <a:pt x="1" y="795"/>
                  </a:lnTo>
                  <a:lnTo>
                    <a:pt x="3" y="804"/>
                  </a:lnTo>
                  <a:lnTo>
                    <a:pt x="9" y="814"/>
                  </a:lnTo>
                  <a:lnTo>
                    <a:pt x="158" y="1019"/>
                  </a:lnTo>
                  <a:lnTo>
                    <a:pt x="158" y="1019"/>
                  </a:lnTo>
                  <a:lnTo>
                    <a:pt x="164" y="1028"/>
                  </a:lnTo>
                  <a:lnTo>
                    <a:pt x="167" y="1038"/>
                  </a:lnTo>
                  <a:lnTo>
                    <a:pt x="169" y="1049"/>
                  </a:lnTo>
                  <a:lnTo>
                    <a:pt x="171" y="1061"/>
                  </a:lnTo>
                  <a:lnTo>
                    <a:pt x="169" y="1072"/>
                  </a:lnTo>
                  <a:lnTo>
                    <a:pt x="167" y="1084"/>
                  </a:lnTo>
                  <a:lnTo>
                    <a:pt x="164" y="1095"/>
                  </a:lnTo>
                  <a:lnTo>
                    <a:pt x="158" y="1104"/>
                  </a:lnTo>
                  <a:lnTo>
                    <a:pt x="9" y="1308"/>
                  </a:lnTo>
                  <a:lnTo>
                    <a:pt x="9" y="1308"/>
                  </a:lnTo>
                  <a:lnTo>
                    <a:pt x="3" y="1317"/>
                  </a:lnTo>
                  <a:lnTo>
                    <a:pt x="1" y="1326"/>
                  </a:lnTo>
                  <a:lnTo>
                    <a:pt x="0" y="1336"/>
                  </a:lnTo>
                  <a:lnTo>
                    <a:pt x="1" y="1345"/>
                  </a:lnTo>
                  <a:lnTo>
                    <a:pt x="4" y="1353"/>
                  </a:lnTo>
                  <a:lnTo>
                    <a:pt x="9" y="1360"/>
                  </a:lnTo>
                  <a:lnTo>
                    <a:pt x="17" y="1367"/>
                  </a:lnTo>
                  <a:lnTo>
                    <a:pt x="25" y="1372"/>
                  </a:lnTo>
                  <a:lnTo>
                    <a:pt x="257" y="1475"/>
                  </a:lnTo>
                  <a:lnTo>
                    <a:pt x="257" y="1475"/>
                  </a:lnTo>
                  <a:lnTo>
                    <a:pt x="267" y="1481"/>
                  </a:lnTo>
                  <a:lnTo>
                    <a:pt x="275" y="1488"/>
                  </a:lnTo>
                  <a:lnTo>
                    <a:pt x="283" y="1496"/>
                  </a:lnTo>
                  <a:lnTo>
                    <a:pt x="290" y="1506"/>
                  </a:lnTo>
                  <a:lnTo>
                    <a:pt x="295" y="1516"/>
                  </a:lnTo>
                  <a:lnTo>
                    <a:pt x="298" y="1528"/>
                  </a:lnTo>
                  <a:lnTo>
                    <a:pt x="299" y="1538"/>
                  </a:lnTo>
                  <a:lnTo>
                    <a:pt x="299" y="1549"/>
                  </a:lnTo>
                  <a:lnTo>
                    <a:pt x="274" y="1801"/>
                  </a:lnTo>
                  <a:lnTo>
                    <a:pt x="274" y="1801"/>
                  </a:lnTo>
                  <a:lnTo>
                    <a:pt x="274" y="1811"/>
                  </a:lnTo>
                  <a:lnTo>
                    <a:pt x="275" y="1821"/>
                  </a:lnTo>
                  <a:lnTo>
                    <a:pt x="279" y="1830"/>
                  </a:lnTo>
                  <a:lnTo>
                    <a:pt x="285" y="1837"/>
                  </a:lnTo>
                  <a:lnTo>
                    <a:pt x="292" y="1842"/>
                  </a:lnTo>
                  <a:lnTo>
                    <a:pt x="301" y="1846"/>
                  </a:lnTo>
                  <a:lnTo>
                    <a:pt x="310" y="1847"/>
                  </a:lnTo>
                  <a:lnTo>
                    <a:pt x="320" y="1847"/>
                  </a:lnTo>
                  <a:lnTo>
                    <a:pt x="572" y="1822"/>
                  </a:lnTo>
                  <a:lnTo>
                    <a:pt x="572" y="1822"/>
                  </a:lnTo>
                  <a:lnTo>
                    <a:pt x="583" y="1822"/>
                  </a:lnTo>
                  <a:lnTo>
                    <a:pt x="594" y="1823"/>
                  </a:lnTo>
                  <a:lnTo>
                    <a:pt x="605" y="1826"/>
                  </a:lnTo>
                  <a:lnTo>
                    <a:pt x="616" y="1832"/>
                  </a:lnTo>
                  <a:lnTo>
                    <a:pt x="625" y="1838"/>
                  </a:lnTo>
                  <a:lnTo>
                    <a:pt x="633" y="1846"/>
                  </a:lnTo>
                  <a:lnTo>
                    <a:pt x="640" y="1854"/>
                  </a:lnTo>
                  <a:lnTo>
                    <a:pt x="646" y="1864"/>
                  </a:lnTo>
                  <a:lnTo>
                    <a:pt x="749" y="2096"/>
                  </a:lnTo>
                  <a:lnTo>
                    <a:pt x="749" y="2096"/>
                  </a:lnTo>
                  <a:lnTo>
                    <a:pt x="754" y="2104"/>
                  </a:lnTo>
                  <a:lnTo>
                    <a:pt x="761" y="2112"/>
                  </a:lnTo>
                  <a:lnTo>
                    <a:pt x="768" y="2117"/>
                  </a:lnTo>
                  <a:lnTo>
                    <a:pt x="777" y="2120"/>
                  </a:lnTo>
                  <a:lnTo>
                    <a:pt x="785" y="2121"/>
                  </a:lnTo>
                  <a:lnTo>
                    <a:pt x="795" y="2121"/>
                  </a:lnTo>
                  <a:lnTo>
                    <a:pt x="804" y="2118"/>
                  </a:lnTo>
                  <a:lnTo>
                    <a:pt x="813" y="2113"/>
                  </a:lnTo>
                  <a:lnTo>
                    <a:pt x="1017" y="1965"/>
                  </a:lnTo>
                  <a:lnTo>
                    <a:pt x="1017" y="1965"/>
                  </a:lnTo>
                  <a:lnTo>
                    <a:pt x="1028" y="1959"/>
                  </a:lnTo>
                  <a:lnTo>
                    <a:pt x="1038" y="1954"/>
                  </a:lnTo>
                  <a:lnTo>
                    <a:pt x="1049" y="1952"/>
                  </a:lnTo>
                  <a:lnTo>
                    <a:pt x="1060" y="1952"/>
                  </a:lnTo>
                  <a:lnTo>
                    <a:pt x="1072" y="1952"/>
                  </a:lnTo>
                  <a:lnTo>
                    <a:pt x="1084" y="1954"/>
                  </a:lnTo>
                  <a:lnTo>
                    <a:pt x="1094" y="1959"/>
                  </a:lnTo>
                  <a:lnTo>
                    <a:pt x="1104" y="1965"/>
                  </a:lnTo>
                  <a:lnTo>
                    <a:pt x="1308" y="2113"/>
                  </a:lnTo>
                  <a:lnTo>
                    <a:pt x="1308" y="2113"/>
                  </a:lnTo>
                  <a:lnTo>
                    <a:pt x="1317" y="2118"/>
                  </a:lnTo>
                  <a:lnTo>
                    <a:pt x="1326" y="2121"/>
                  </a:lnTo>
                  <a:lnTo>
                    <a:pt x="1336" y="2121"/>
                  </a:lnTo>
                  <a:lnTo>
                    <a:pt x="1345" y="2120"/>
                  </a:lnTo>
                  <a:lnTo>
                    <a:pt x="1353" y="2117"/>
                  </a:lnTo>
                  <a:lnTo>
                    <a:pt x="1360" y="2112"/>
                  </a:lnTo>
                  <a:lnTo>
                    <a:pt x="1367" y="2104"/>
                  </a:lnTo>
                  <a:lnTo>
                    <a:pt x="1372" y="2096"/>
                  </a:lnTo>
                  <a:lnTo>
                    <a:pt x="1475" y="1864"/>
                  </a:lnTo>
                  <a:lnTo>
                    <a:pt x="1475" y="1864"/>
                  </a:lnTo>
                  <a:lnTo>
                    <a:pt x="1481" y="1854"/>
                  </a:lnTo>
                  <a:lnTo>
                    <a:pt x="1488" y="1846"/>
                  </a:lnTo>
                  <a:lnTo>
                    <a:pt x="1496" y="1838"/>
                  </a:lnTo>
                  <a:lnTo>
                    <a:pt x="1505" y="1832"/>
                  </a:lnTo>
                  <a:lnTo>
                    <a:pt x="1516" y="1826"/>
                  </a:lnTo>
                  <a:lnTo>
                    <a:pt x="1526" y="1823"/>
                  </a:lnTo>
                  <a:lnTo>
                    <a:pt x="1538" y="1822"/>
                  </a:lnTo>
                  <a:lnTo>
                    <a:pt x="1549" y="1822"/>
                  </a:lnTo>
                  <a:lnTo>
                    <a:pt x="1800" y="1847"/>
                  </a:lnTo>
                  <a:lnTo>
                    <a:pt x="1800" y="1847"/>
                  </a:lnTo>
                  <a:lnTo>
                    <a:pt x="1811" y="1847"/>
                  </a:lnTo>
                  <a:lnTo>
                    <a:pt x="1820" y="1846"/>
                  </a:lnTo>
                  <a:lnTo>
                    <a:pt x="1829" y="1842"/>
                  </a:lnTo>
                  <a:lnTo>
                    <a:pt x="1837" y="1837"/>
                  </a:lnTo>
                  <a:lnTo>
                    <a:pt x="1841" y="1830"/>
                  </a:lnTo>
                  <a:lnTo>
                    <a:pt x="1846" y="1821"/>
                  </a:lnTo>
                  <a:lnTo>
                    <a:pt x="1847" y="1811"/>
                  </a:lnTo>
                  <a:lnTo>
                    <a:pt x="1847" y="1801"/>
                  </a:lnTo>
                  <a:lnTo>
                    <a:pt x="1822" y="1549"/>
                  </a:lnTo>
                  <a:lnTo>
                    <a:pt x="1822" y="1549"/>
                  </a:lnTo>
                  <a:lnTo>
                    <a:pt x="1822" y="1538"/>
                  </a:lnTo>
                  <a:lnTo>
                    <a:pt x="1823" y="1528"/>
                  </a:lnTo>
                  <a:lnTo>
                    <a:pt x="1826" y="1516"/>
                  </a:lnTo>
                  <a:lnTo>
                    <a:pt x="1832" y="1506"/>
                  </a:lnTo>
                  <a:lnTo>
                    <a:pt x="1838" y="1496"/>
                  </a:lnTo>
                  <a:lnTo>
                    <a:pt x="1846" y="1488"/>
                  </a:lnTo>
                  <a:lnTo>
                    <a:pt x="1854" y="1481"/>
                  </a:lnTo>
                  <a:lnTo>
                    <a:pt x="1864" y="1475"/>
                  </a:lnTo>
                  <a:lnTo>
                    <a:pt x="2096" y="1372"/>
                  </a:lnTo>
                  <a:lnTo>
                    <a:pt x="2096" y="1372"/>
                  </a:lnTo>
                  <a:lnTo>
                    <a:pt x="2104" y="1367"/>
                  </a:lnTo>
                  <a:lnTo>
                    <a:pt x="2111" y="1360"/>
                  </a:lnTo>
                  <a:lnTo>
                    <a:pt x="2117" y="1353"/>
                  </a:lnTo>
                  <a:lnTo>
                    <a:pt x="2120" y="1345"/>
                  </a:lnTo>
                  <a:lnTo>
                    <a:pt x="2121" y="1336"/>
                  </a:lnTo>
                  <a:lnTo>
                    <a:pt x="2120" y="1326"/>
                  </a:lnTo>
                  <a:lnTo>
                    <a:pt x="2118" y="1317"/>
                  </a:lnTo>
                  <a:lnTo>
                    <a:pt x="2112" y="1308"/>
                  </a:lnTo>
                  <a:lnTo>
                    <a:pt x="1963" y="1104"/>
                  </a:lnTo>
                  <a:close/>
                  <a:moveTo>
                    <a:pt x="1180" y="496"/>
                  </a:moveTo>
                  <a:lnTo>
                    <a:pt x="1153" y="1250"/>
                  </a:lnTo>
                  <a:lnTo>
                    <a:pt x="969" y="1250"/>
                  </a:lnTo>
                  <a:lnTo>
                    <a:pt x="943" y="496"/>
                  </a:lnTo>
                  <a:lnTo>
                    <a:pt x="1180" y="496"/>
                  </a:lnTo>
                  <a:close/>
                  <a:moveTo>
                    <a:pt x="1060" y="1626"/>
                  </a:moveTo>
                  <a:lnTo>
                    <a:pt x="1060" y="1626"/>
                  </a:lnTo>
                  <a:lnTo>
                    <a:pt x="1048" y="1625"/>
                  </a:lnTo>
                  <a:lnTo>
                    <a:pt x="1035" y="1624"/>
                  </a:lnTo>
                  <a:lnTo>
                    <a:pt x="1023" y="1620"/>
                  </a:lnTo>
                  <a:lnTo>
                    <a:pt x="1011" y="1616"/>
                  </a:lnTo>
                  <a:lnTo>
                    <a:pt x="1001" y="1611"/>
                  </a:lnTo>
                  <a:lnTo>
                    <a:pt x="990" y="1604"/>
                  </a:lnTo>
                  <a:lnTo>
                    <a:pt x="981" y="1597"/>
                  </a:lnTo>
                  <a:lnTo>
                    <a:pt x="973" y="1589"/>
                  </a:lnTo>
                  <a:lnTo>
                    <a:pt x="964" y="1579"/>
                  </a:lnTo>
                  <a:lnTo>
                    <a:pt x="957" y="1569"/>
                  </a:lnTo>
                  <a:lnTo>
                    <a:pt x="952" y="1558"/>
                  </a:lnTo>
                  <a:lnTo>
                    <a:pt x="946" y="1547"/>
                  </a:lnTo>
                  <a:lnTo>
                    <a:pt x="942" y="1534"/>
                  </a:lnTo>
                  <a:lnTo>
                    <a:pt x="939" y="1521"/>
                  </a:lnTo>
                  <a:lnTo>
                    <a:pt x="936" y="1508"/>
                  </a:lnTo>
                  <a:lnTo>
                    <a:pt x="936" y="1494"/>
                  </a:lnTo>
                  <a:lnTo>
                    <a:pt x="936" y="1494"/>
                  </a:lnTo>
                  <a:lnTo>
                    <a:pt x="936" y="1479"/>
                  </a:lnTo>
                  <a:lnTo>
                    <a:pt x="939" y="1465"/>
                  </a:lnTo>
                  <a:lnTo>
                    <a:pt x="942" y="1451"/>
                  </a:lnTo>
                  <a:lnTo>
                    <a:pt x="946" y="1438"/>
                  </a:lnTo>
                  <a:lnTo>
                    <a:pt x="952" y="1426"/>
                  </a:lnTo>
                  <a:lnTo>
                    <a:pt x="957" y="1415"/>
                  </a:lnTo>
                  <a:lnTo>
                    <a:pt x="964" y="1405"/>
                  </a:lnTo>
                  <a:lnTo>
                    <a:pt x="973" y="1396"/>
                  </a:lnTo>
                  <a:lnTo>
                    <a:pt x="982" y="1387"/>
                  </a:lnTo>
                  <a:lnTo>
                    <a:pt x="991" y="1380"/>
                  </a:lnTo>
                  <a:lnTo>
                    <a:pt x="1002" y="1374"/>
                  </a:lnTo>
                  <a:lnTo>
                    <a:pt x="1012" y="1369"/>
                  </a:lnTo>
                  <a:lnTo>
                    <a:pt x="1024" y="1365"/>
                  </a:lnTo>
                  <a:lnTo>
                    <a:pt x="1036" y="1362"/>
                  </a:lnTo>
                  <a:lnTo>
                    <a:pt x="1048" y="1360"/>
                  </a:lnTo>
                  <a:lnTo>
                    <a:pt x="1060" y="1359"/>
                  </a:lnTo>
                  <a:lnTo>
                    <a:pt x="1060" y="1359"/>
                  </a:lnTo>
                  <a:lnTo>
                    <a:pt x="1073" y="1360"/>
                  </a:lnTo>
                  <a:lnTo>
                    <a:pt x="1086" y="1362"/>
                  </a:lnTo>
                  <a:lnTo>
                    <a:pt x="1098" y="1365"/>
                  </a:lnTo>
                  <a:lnTo>
                    <a:pt x="1110" y="1369"/>
                  </a:lnTo>
                  <a:lnTo>
                    <a:pt x="1121" y="1374"/>
                  </a:lnTo>
                  <a:lnTo>
                    <a:pt x="1131" y="1380"/>
                  </a:lnTo>
                  <a:lnTo>
                    <a:pt x="1140" y="1387"/>
                  </a:lnTo>
                  <a:lnTo>
                    <a:pt x="1149" y="1396"/>
                  </a:lnTo>
                  <a:lnTo>
                    <a:pt x="1158" y="1405"/>
                  </a:lnTo>
                  <a:lnTo>
                    <a:pt x="1165" y="1415"/>
                  </a:lnTo>
                  <a:lnTo>
                    <a:pt x="1171" y="1426"/>
                  </a:lnTo>
                  <a:lnTo>
                    <a:pt x="1175" y="1438"/>
                  </a:lnTo>
                  <a:lnTo>
                    <a:pt x="1180" y="1451"/>
                  </a:lnTo>
                  <a:lnTo>
                    <a:pt x="1182" y="1465"/>
                  </a:lnTo>
                  <a:lnTo>
                    <a:pt x="1185" y="1479"/>
                  </a:lnTo>
                  <a:lnTo>
                    <a:pt x="1185" y="1494"/>
                  </a:lnTo>
                  <a:lnTo>
                    <a:pt x="1185" y="1494"/>
                  </a:lnTo>
                  <a:lnTo>
                    <a:pt x="1185" y="1508"/>
                  </a:lnTo>
                  <a:lnTo>
                    <a:pt x="1182" y="1521"/>
                  </a:lnTo>
                  <a:lnTo>
                    <a:pt x="1180" y="1534"/>
                  </a:lnTo>
                  <a:lnTo>
                    <a:pt x="1176" y="1547"/>
                  </a:lnTo>
                  <a:lnTo>
                    <a:pt x="1172" y="1558"/>
                  </a:lnTo>
                  <a:lnTo>
                    <a:pt x="1166" y="1569"/>
                  </a:lnTo>
                  <a:lnTo>
                    <a:pt x="1159" y="1579"/>
                  </a:lnTo>
                  <a:lnTo>
                    <a:pt x="1152" y="1589"/>
                  </a:lnTo>
                  <a:lnTo>
                    <a:pt x="1144" y="1597"/>
                  </a:lnTo>
                  <a:lnTo>
                    <a:pt x="1134" y="1604"/>
                  </a:lnTo>
                  <a:lnTo>
                    <a:pt x="1124" y="1611"/>
                  </a:lnTo>
                  <a:lnTo>
                    <a:pt x="1113" y="1616"/>
                  </a:lnTo>
                  <a:lnTo>
                    <a:pt x="1100" y="1620"/>
                  </a:lnTo>
                  <a:lnTo>
                    <a:pt x="1089" y="1624"/>
                  </a:lnTo>
                  <a:lnTo>
                    <a:pt x="1075" y="1625"/>
                  </a:lnTo>
                  <a:lnTo>
                    <a:pt x="1060" y="1626"/>
                  </a:lnTo>
                  <a:lnTo>
                    <a:pt x="1060" y="1626"/>
                  </a:lnTo>
                  <a:close/>
                </a:path>
              </a:pathLst>
            </a:custGeom>
            <a:solidFill>
              <a:srgbClr val="A80000"/>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nvGrpSpPr>
            <p:cNvPr id="87" name="Group 86"/>
            <p:cNvGrpSpPr/>
            <p:nvPr/>
          </p:nvGrpSpPr>
          <p:grpSpPr>
            <a:xfrm>
              <a:off x="6111290" y="3249714"/>
              <a:ext cx="735043" cy="605398"/>
              <a:chOff x="5645589" y="2847848"/>
              <a:chExt cx="720696" cy="593581"/>
            </a:xfrm>
            <a:solidFill>
              <a:srgbClr val="3999C6"/>
            </a:solidFill>
          </p:grpSpPr>
          <p:grpSp>
            <p:nvGrpSpPr>
              <p:cNvPr id="107" name="Group 106"/>
              <p:cNvGrpSpPr/>
              <p:nvPr/>
            </p:nvGrpSpPr>
            <p:grpSpPr>
              <a:xfrm>
                <a:off x="5645589" y="2847848"/>
                <a:ext cx="720696" cy="593581"/>
                <a:chOff x="1841714" y="-2671763"/>
                <a:chExt cx="2016126" cy="1660525"/>
              </a:xfrm>
              <a:grpFill/>
            </p:grpSpPr>
            <p:sp>
              <p:nvSpPr>
                <p:cNvPr id="109" name="Freeform 7"/>
                <p:cNvSpPr>
                  <a:spLocks/>
                </p:cNvSpPr>
                <p:nvPr/>
              </p:nvSpPr>
              <p:spPr bwMode="auto">
                <a:xfrm>
                  <a:off x="3264114" y="-2671763"/>
                  <a:ext cx="587375" cy="603250"/>
                </a:xfrm>
                <a:custGeom>
                  <a:avLst/>
                  <a:gdLst>
                    <a:gd name="T0" fmla="*/ 736 w 740"/>
                    <a:gd name="T1" fmla="*/ 0 h 759"/>
                    <a:gd name="T2" fmla="*/ 740 w 740"/>
                    <a:gd name="T3" fmla="*/ 270 h 759"/>
                    <a:gd name="T4" fmla="*/ 0 w 740"/>
                    <a:gd name="T5" fmla="*/ 759 h 759"/>
                    <a:gd name="T6" fmla="*/ 0 w 740"/>
                    <a:gd name="T7" fmla="*/ 759 h 759"/>
                    <a:gd name="T8" fmla="*/ 1 w 740"/>
                    <a:gd name="T9" fmla="*/ 274 h 759"/>
                    <a:gd name="T10" fmla="*/ 1 w 740"/>
                    <a:gd name="T11" fmla="*/ 274 h 759"/>
                    <a:gd name="T12" fmla="*/ 187 w 740"/>
                    <a:gd name="T13" fmla="*/ 208 h 759"/>
                    <a:gd name="T14" fmla="*/ 374 w 740"/>
                    <a:gd name="T15" fmla="*/ 143 h 759"/>
                    <a:gd name="T16" fmla="*/ 466 w 740"/>
                    <a:gd name="T17" fmla="*/ 108 h 759"/>
                    <a:gd name="T18" fmla="*/ 557 w 740"/>
                    <a:gd name="T19" fmla="*/ 74 h 759"/>
                    <a:gd name="T20" fmla="*/ 646 w 740"/>
                    <a:gd name="T21" fmla="*/ 38 h 759"/>
                    <a:gd name="T22" fmla="*/ 736 w 740"/>
                    <a:gd name="T23" fmla="*/ 0 h 759"/>
                    <a:gd name="T24" fmla="*/ 736 w 740"/>
                    <a:gd name="T25"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759">
                      <a:moveTo>
                        <a:pt x="736" y="0"/>
                      </a:moveTo>
                      <a:lnTo>
                        <a:pt x="740" y="270"/>
                      </a:lnTo>
                      <a:lnTo>
                        <a:pt x="0" y="759"/>
                      </a:lnTo>
                      <a:lnTo>
                        <a:pt x="0" y="759"/>
                      </a:lnTo>
                      <a:lnTo>
                        <a:pt x="1" y="274"/>
                      </a:lnTo>
                      <a:lnTo>
                        <a:pt x="1" y="274"/>
                      </a:lnTo>
                      <a:lnTo>
                        <a:pt x="187" y="208"/>
                      </a:lnTo>
                      <a:lnTo>
                        <a:pt x="374" y="143"/>
                      </a:lnTo>
                      <a:lnTo>
                        <a:pt x="466" y="108"/>
                      </a:lnTo>
                      <a:lnTo>
                        <a:pt x="557" y="74"/>
                      </a:lnTo>
                      <a:lnTo>
                        <a:pt x="646" y="38"/>
                      </a:lnTo>
                      <a:lnTo>
                        <a:pt x="736" y="0"/>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10" name="Freeform 8"/>
                <p:cNvSpPr>
                  <a:spLocks/>
                </p:cNvSpPr>
                <p:nvPr/>
              </p:nvSpPr>
              <p:spPr bwMode="auto">
                <a:xfrm>
                  <a:off x="2533864" y="-2662238"/>
                  <a:ext cx="631825" cy="593725"/>
                </a:xfrm>
                <a:custGeom>
                  <a:avLst/>
                  <a:gdLst>
                    <a:gd name="T0" fmla="*/ 0 w 796"/>
                    <a:gd name="T1" fmla="*/ 0 h 747"/>
                    <a:gd name="T2" fmla="*/ 0 w 796"/>
                    <a:gd name="T3" fmla="*/ 0 h 747"/>
                    <a:gd name="T4" fmla="*/ 197 w 796"/>
                    <a:gd name="T5" fmla="*/ 74 h 747"/>
                    <a:gd name="T6" fmla="*/ 393 w 796"/>
                    <a:gd name="T7" fmla="*/ 148 h 747"/>
                    <a:gd name="T8" fmla="*/ 492 w 796"/>
                    <a:gd name="T9" fmla="*/ 184 h 747"/>
                    <a:gd name="T10" fmla="*/ 593 w 796"/>
                    <a:gd name="T11" fmla="*/ 219 h 747"/>
                    <a:gd name="T12" fmla="*/ 693 w 796"/>
                    <a:gd name="T13" fmla="*/ 254 h 747"/>
                    <a:gd name="T14" fmla="*/ 796 w 796"/>
                    <a:gd name="T15" fmla="*/ 287 h 747"/>
                    <a:gd name="T16" fmla="*/ 796 w 796"/>
                    <a:gd name="T17" fmla="*/ 287 h 747"/>
                    <a:gd name="T18" fmla="*/ 796 w 796"/>
                    <a:gd name="T19" fmla="*/ 747 h 747"/>
                    <a:gd name="T20" fmla="*/ 796 w 796"/>
                    <a:gd name="T21" fmla="*/ 747 h 747"/>
                    <a:gd name="T22" fmla="*/ 595 w 796"/>
                    <a:gd name="T23" fmla="*/ 714 h 747"/>
                    <a:gd name="T24" fmla="*/ 397 w 796"/>
                    <a:gd name="T25" fmla="*/ 680 h 747"/>
                    <a:gd name="T26" fmla="*/ 198 w 796"/>
                    <a:gd name="T27" fmla="*/ 645 h 747"/>
                    <a:gd name="T28" fmla="*/ 0 w 796"/>
                    <a:gd name="T29" fmla="*/ 610 h 747"/>
                    <a:gd name="T30" fmla="*/ 0 w 796"/>
                    <a:gd name="T31" fmla="*/ 610 h 747"/>
                    <a:gd name="T32" fmla="*/ 0 w 796"/>
                    <a:gd name="T33" fmla="*/ 0 h 747"/>
                    <a:gd name="T34" fmla="*/ 0 w 796"/>
                    <a:gd name="T35"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6" h="747">
                      <a:moveTo>
                        <a:pt x="0" y="0"/>
                      </a:moveTo>
                      <a:lnTo>
                        <a:pt x="0" y="0"/>
                      </a:lnTo>
                      <a:lnTo>
                        <a:pt x="197" y="74"/>
                      </a:lnTo>
                      <a:lnTo>
                        <a:pt x="393" y="148"/>
                      </a:lnTo>
                      <a:lnTo>
                        <a:pt x="492" y="184"/>
                      </a:lnTo>
                      <a:lnTo>
                        <a:pt x="593" y="219"/>
                      </a:lnTo>
                      <a:lnTo>
                        <a:pt x="693" y="254"/>
                      </a:lnTo>
                      <a:lnTo>
                        <a:pt x="796" y="287"/>
                      </a:lnTo>
                      <a:lnTo>
                        <a:pt x="796" y="287"/>
                      </a:lnTo>
                      <a:lnTo>
                        <a:pt x="796" y="747"/>
                      </a:lnTo>
                      <a:lnTo>
                        <a:pt x="796" y="747"/>
                      </a:lnTo>
                      <a:lnTo>
                        <a:pt x="595" y="714"/>
                      </a:lnTo>
                      <a:lnTo>
                        <a:pt x="397" y="680"/>
                      </a:lnTo>
                      <a:lnTo>
                        <a:pt x="198" y="645"/>
                      </a:lnTo>
                      <a:lnTo>
                        <a:pt x="0" y="610"/>
                      </a:lnTo>
                      <a:lnTo>
                        <a:pt x="0" y="61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11" name="Freeform 9"/>
                <p:cNvSpPr>
                  <a:spLocks/>
                </p:cNvSpPr>
                <p:nvPr/>
              </p:nvSpPr>
              <p:spPr bwMode="auto">
                <a:xfrm>
                  <a:off x="1841714" y="-2641601"/>
                  <a:ext cx="592138" cy="957263"/>
                </a:xfrm>
                <a:custGeom>
                  <a:avLst/>
                  <a:gdLst>
                    <a:gd name="T0" fmla="*/ 0 w 747"/>
                    <a:gd name="T1" fmla="*/ 261 h 1207"/>
                    <a:gd name="T2" fmla="*/ 0 w 747"/>
                    <a:gd name="T3" fmla="*/ 261 h 1207"/>
                    <a:gd name="T4" fmla="*/ 0 w 747"/>
                    <a:gd name="T5" fmla="*/ 1207 h 1207"/>
                    <a:gd name="T6" fmla="*/ 747 w 747"/>
                    <a:gd name="T7" fmla="*/ 596 h 1207"/>
                    <a:gd name="T8" fmla="*/ 747 w 747"/>
                    <a:gd name="T9" fmla="*/ 596 h 1207"/>
                    <a:gd name="T10" fmla="*/ 747 w 747"/>
                    <a:gd name="T11" fmla="*/ 0 h 1207"/>
                    <a:gd name="T12" fmla="*/ 0 w 747"/>
                    <a:gd name="T13" fmla="*/ 261 h 1207"/>
                  </a:gdLst>
                  <a:ahLst/>
                  <a:cxnLst>
                    <a:cxn ang="0">
                      <a:pos x="T0" y="T1"/>
                    </a:cxn>
                    <a:cxn ang="0">
                      <a:pos x="T2" y="T3"/>
                    </a:cxn>
                    <a:cxn ang="0">
                      <a:pos x="T4" y="T5"/>
                    </a:cxn>
                    <a:cxn ang="0">
                      <a:pos x="T6" y="T7"/>
                    </a:cxn>
                    <a:cxn ang="0">
                      <a:pos x="T8" y="T9"/>
                    </a:cxn>
                    <a:cxn ang="0">
                      <a:pos x="T10" y="T11"/>
                    </a:cxn>
                    <a:cxn ang="0">
                      <a:pos x="T12" y="T13"/>
                    </a:cxn>
                  </a:cxnLst>
                  <a:rect l="0" t="0" r="r" b="b"/>
                  <a:pathLst>
                    <a:path w="747" h="1207">
                      <a:moveTo>
                        <a:pt x="0" y="261"/>
                      </a:moveTo>
                      <a:lnTo>
                        <a:pt x="0" y="261"/>
                      </a:lnTo>
                      <a:lnTo>
                        <a:pt x="0" y="1207"/>
                      </a:lnTo>
                      <a:lnTo>
                        <a:pt x="747" y="596"/>
                      </a:lnTo>
                      <a:lnTo>
                        <a:pt x="747" y="596"/>
                      </a:lnTo>
                      <a:lnTo>
                        <a:pt x="747" y="0"/>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12" name="Freeform 10"/>
                <p:cNvSpPr>
                  <a:spLocks/>
                </p:cNvSpPr>
                <p:nvPr/>
              </p:nvSpPr>
              <p:spPr bwMode="auto">
                <a:xfrm>
                  <a:off x="3275227" y="-1890713"/>
                  <a:ext cx="1588" cy="3175"/>
                </a:xfrm>
                <a:custGeom>
                  <a:avLst/>
                  <a:gdLst>
                    <a:gd name="T0" fmla="*/ 0 w 3"/>
                    <a:gd name="T1" fmla="*/ 5 h 5"/>
                    <a:gd name="T2" fmla="*/ 3 w 3"/>
                    <a:gd name="T3" fmla="*/ 4 h 5"/>
                    <a:gd name="T4" fmla="*/ 3 w 3"/>
                    <a:gd name="T5" fmla="*/ 4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3" y="4"/>
                      </a:lnTo>
                      <a:lnTo>
                        <a:pt x="3" y="4"/>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13" name="Freeform 11"/>
                <p:cNvSpPr>
                  <a:spLocks/>
                </p:cNvSpPr>
                <p:nvPr/>
              </p:nvSpPr>
              <p:spPr bwMode="auto">
                <a:xfrm>
                  <a:off x="3264114" y="-2325688"/>
                  <a:ext cx="593725" cy="503238"/>
                </a:xfrm>
                <a:custGeom>
                  <a:avLst/>
                  <a:gdLst>
                    <a:gd name="T0" fmla="*/ 736 w 748"/>
                    <a:gd name="T1" fmla="*/ 0 h 634"/>
                    <a:gd name="T2" fmla="*/ 17 w 748"/>
                    <a:gd name="T3" fmla="*/ 551 h 634"/>
                    <a:gd name="T4" fmla="*/ 17 w 748"/>
                    <a:gd name="T5" fmla="*/ 551 h 634"/>
                    <a:gd name="T6" fmla="*/ 12 w 748"/>
                    <a:gd name="T7" fmla="*/ 565 h 634"/>
                    <a:gd name="T8" fmla="*/ 6 w 748"/>
                    <a:gd name="T9" fmla="*/ 588 h 634"/>
                    <a:gd name="T10" fmla="*/ 1 w 748"/>
                    <a:gd name="T11" fmla="*/ 614 h 634"/>
                    <a:gd name="T12" fmla="*/ 0 w 748"/>
                    <a:gd name="T13" fmla="*/ 626 h 634"/>
                    <a:gd name="T14" fmla="*/ 1 w 748"/>
                    <a:gd name="T15" fmla="*/ 634 h 634"/>
                    <a:gd name="T16" fmla="*/ 1 w 748"/>
                    <a:gd name="T17" fmla="*/ 634 h 634"/>
                    <a:gd name="T18" fmla="*/ 125 w 748"/>
                    <a:gd name="T19" fmla="*/ 565 h 634"/>
                    <a:gd name="T20" fmla="*/ 380 w 748"/>
                    <a:gd name="T21" fmla="*/ 420 h 634"/>
                    <a:gd name="T22" fmla="*/ 748 w 748"/>
                    <a:gd name="T23" fmla="*/ 212 h 634"/>
                    <a:gd name="T24" fmla="*/ 736 w 748"/>
                    <a:gd name="T2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8" h="634">
                      <a:moveTo>
                        <a:pt x="736" y="0"/>
                      </a:moveTo>
                      <a:lnTo>
                        <a:pt x="17" y="551"/>
                      </a:lnTo>
                      <a:lnTo>
                        <a:pt x="17" y="551"/>
                      </a:lnTo>
                      <a:lnTo>
                        <a:pt x="12" y="565"/>
                      </a:lnTo>
                      <a:lnTo>
                        <a:pt x="6" y="588"/>
                      </a:lnTo>
                      <a:lnTo>
                        <a:pt x="1" y="614"/>
                      </a:lnTo>
                      <a:lnTo>
                        <a:pt x="0" y="626"/>
                      </a:lnTo>
                      <a:lnTo>
                        <a:pt x="1" y="634"/>
                      </a:lnTo>
                      <a:lnTo>
                        <a:pt x="1" y="634"/>
                      </a:lnTo>
                      <a:lnTo>
                        <a:pt x="125" y="565"/>
                      </a:lnTo>
                      <a:lnTo>
                        <a:pt x="380" y="420"/>
                      </a:lnTo>
                      <a:lnTo>
                        <a:pt x="748" y="212"/>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14" name="Freeform 12"/>
                <p:cNvSpPr>
                  <a:spLocks/>
                </p:cNvSpPr>
                <p:nvPr/>
              </p:nvSpPr>
              <p:spPr bwMode="auto">
                <a:xfrm>
                  <a:off x="3668927" y="-2049463"/>
                  <a:ext cx="188913" cy="563563"/>
                </a:xfrm>
                <a:custGeom>
                  <a:avLst/>
                  <a:gdLst>
                    <a:gd name="T0" fmla="*/ 237 w 237"/>
                    <a:gd name="T1" fmla="*/ 610 h 709"/>
                    <a:gd name="T2" fmla="*/ 0 w 237"/>
                    <a:gd name="T3" fmla="*/ 709 h 709"/>
                    <a:gd name="T4" fmla="*/ 0 w 237"/>
                    <a:gd name="T5" fmla="*/ 709 h 709"/>
                    <a:gd name="T6" fmla="*/ 0 w 237"/>
                    <a:gd name="T7" fmla="*/ 124 h 709"/>
                    <a:gd name="T8" fmla="*/ 0 w 237"/>
                    <a:gd name="T9" fmla="*/ 124 h 709"/>
                    <a:gd name="T10" fmla="*/ 1 w 237"/>
                    <a:gd name="T11" fmla="*/ 125 h 709"/>
                    <a:gd name="T12" fmla="*/ 3 w 237"/>
                    <a:gd name="T13" fmla="*/ 125 h 709"/>
                    <a:gd name="T14" fmla="*/ 11 w 237"/>
                    <a:gd name="T15" fmla="*/ 123 h 709"/>
                    <a:gd name="T16" fmla="*/ 21 w 237"/>
                    <a:gd name="T17" fmla="*/ 118 h 709"/>
                    <a:gd name="T18" fmla="*/ 37 w 237"/>
                    <a:gd name="T19" fmla="*/ 112 h 709"/>
                    <a:gd name="T20" fmla="*/ 75 w 237"/>
                    <a:gd name="T21" fmla="*/ 92 h 709"/>
                    <a:gd name="T22" fmla="*/ 118 w 237"/>
                    <a:gd name="T23" fmla="*/ 69 h 709"/>
                    <a:gd name="T24" fmla="*/ 199 w 237"/>
                    <a:gd name="T25" fmla="*/ 21 h 709"/>
                    <a:gd name="T26" fmla="*/ 237 w 237"/>
                    <a:gd name="T27" fmla="*/ 0 h 709"/>
                    <a:gd name="T28" fmla="*/ 237 w 237"/>
                    <a:gd name="T29" fmla="*/ 61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 h="709">
                      <a:moveTo>
                        <a:pt x="237" y="610"/>
                      </a:moveTo>
                      <a:lnTo>
                        <a:pt x="0" y="709"/>
                      </a:lnTo>
                      <a:lnTo>
                        <a:pt x="0" y="709"/>
                      </a:lnTo>
                      <a:lnTo>
                        <a:pt x="0" y="124"/>
                      </a:lnTo>
                      <a:lnTo>
                        <a:pt x="0" y="124"/>
                      </a:lnTo>
                      <a:lnTo>
                        <a:pt x="1" y="125"/>
                      </a:lnTo>
                      <a:lnTo>
                        <a:pt x="3" y="125"/>
                      </a:lnTo>
                      <a:lnTo>
                        <a:pt x="11" y="123"/>
                      </a:lnTo>
                      <a:lnTo>
                        <a:pt x="21" y="118"/>
                      </a:lnTo>
                      <a:lnTo>
                        <a:pt x="37" y="112"/>
                      </a:lnTo>
                      <a:lnTo>
                        <a:pt x="75" y="92"/>
                      </a:lnTo>
                      <a:lnTo>
                        <a:pt x="118" y="69"/>
                      </a:lnTo>
                      <a:lnTo>
                        <a:pt x="199" y="21"/>
                      </a:lnTo>
                      <a:lnTo>
                        <a:pt x="237" y="0"/>
                      </a:lnTo>
                      <a:lnTo>
                        <a:pt x="237"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15" name="Freeform 13"/>
                <p:cNvSpPr>
                  <a:spLocks/>
                </p:cNvSpPr>
                <p:nvPr/>
              </p:nvSpPr>
              <p:spPr bwMode="auto">
                <a:xfrm>
                  <a:off x="2533864" y="-2000251"/>
                  <a:ext cx="631825" cy="198438"/>
                </a:xfrm>
                <a:custGeom>
                  <a:avLst/>
                  <a:gdLst>
                    <a:gd name="T0" fmla="*/ 0 w 796"/>
                    <a:gd name="T1" fmla="*/ 0 h 250"/>
                    <a:gd name="T2" fmla="*/ 0 w 796"/>
                    <a:gd name="T3" fmla="*/ 0 h 250"/>
                    <a:gd name="T4" fmla="*/ 99 w 796"/>
                    <a:gd name="T5" fmla="*/ 16 h 250"/>
                    <a:gd name="T6" fmla="*/ 197 w 796"/>
                    <a:gd name="T7" fmla="*/ 34 h 250"/>
                    <a:gd name="T8" fmla="*/ 392 w 796"/>
                    <a:gd name="T9" fmla="*/ 69 h 250"/>
                    <a:gd name="T10" fmla="*/ 490 w 796"/>
                    <a:gd name="T11" fmla="*/ 86 h 250"/>
                    <a:gd name="T12" fmla="*/ 590 w 796"/>
                    <a:gd name="T13" fmla="*/ 101 h 250"/>
                    <a:gd name="T14" fmla="*/ 692 w 796"/>
                    <a:gd name="T15" fmla="*/ 114 h 250"/>
                    <a:gd name="T16" fmla="*/ 744 w 796"/>
                    <a:gd name="T17" fmla="*/ 120 h 250"/>
                    <a:gd name="T18" fmla="*/ 796 w 796"/>
                    <a:gd name="T19" fmla="*/ 125 h 250"/>
                    <a:gd name="T20" fmla="*/ 796 w 796"/>
                    <a:gd name="T21" fmla="*/ 125 h 250"/>
                    <a:gd name="T22" fmla="*/ 796 w 796"/>
                    <a:gd name="T23" fmla="*/ 250 h 250"/>
                    <a:gd name="T24" fmla="*/ 796 w 796"/>
                    <a:gd name="T25" fmla="*/ 250 h 250"/>
                    <a:gd name="T26" fmla="*/ 698 w 796"/>
                    <a:gd name="T27" fmla="*/ 230 h 250"/>
                    <a:gd name="T28" fmla="*/ 601 w 796"/>
                    <a:gd name="T29" fmla="*/ 211 h 250"/>
                    <a:gd name="T30" fmla="*/ 505 w 796"/>
                    <a:gd name="T31" fmla="*/ 192 h 250"/>
                    <a:gd name="T32" fmla="*/ 406 w 796"/>
                    <a:gd name="T33" fmla="*/ 172 h 250"/>
                    <a:gd name="T34" fmla="*/ 308 w 796"/>
                    <a:gd name="T35" fmla="*/ 154 h 250"/>
                    <a:gd name="T36" fmla="*/ 208 w 796"/>
                    <a:gd name="T37" fmla="*/ 137 h 250"/>
                    <a:gd name="T38" fmla="*/ 157 w 796"/>
                    <a:gd name="T39" fmla="*/ 130 h 250"/>
                    <a:gd name="T40" fmla="*/ 105 w 796"/>
                    <a:gd name="T41" fmla="*/ 124 h 250"/>
                    <a:gd name="T42" fmla="*/ 53 w 796"/>
                    <a:gd name="T43" fmla="*/ 118 h 250"/>
                    <a:gd name="T44" fmla="*/ 0 w 796"/>
                    <a:gd name="T45" fmla="*/ 113 h 250"/>
                    <a:gd name="T46" fmla="*/ 0 w 796"/>
                    <a:gd name="T47" fmla="*/ 113 h 250"/>
                    <a:gd name="T48" fmla="*/ 0 w 796"/>
                    <a:gd name="T49" fmla="*/ 0 h 250"/>
                    <a:gd name="T50" fmla="*/ 0 w 796"/>
                    <a:gd name="T51"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6" h="250">
                      <a:moveTo>
                        <a:pt x="0" y="0"/>
                      </a:moveTo>
                      <a:lnTo>
                        <a:pt x="0" y="0"/>
                      </a:lnTo>
                      <a:lnTo>
                        <a:pt x="99" y="16"/>
                      </a:lnTo>
                      <a:lnTo>
                        <a:pt x="197" y="34"/>
                      </a:lnTo>
                      <a:lnTo>
                        <a:pt x="392" y="69"/>
                      </a:lnTo>
                      <a:lnTo>
                        <a:pt x="490" y="86"/>
                      </a:lnTo>
                      <a:lnTo>
                        <a:pt x="590" y="101"/>
                      </a:lnTo>
                      <a:lnTo>
                        <a:pt x="692" y="114"/>
                      </a:lnTo>
                      <a:lnTo>
                        <a:pt x="744" y="120"/>
                      </a:lnTo>
                      <a:lnTo>
                        <a:pt x="796" y="125"/>
                      </a:lnTo>
                      <a:lnTo>
                        <a:pt x="796" y="125"/>
                      </a:lnTo>
                      <a:lnTo>
                        <a:pt x="796" y="250"/>
                      </a:lnTo>
                      <a:lnTo>
                        <a:pt x="796" y="250"/>
                      </a:lnTo>
                      <a:lnTo>
                        <a:pt x="698" y="230"/>
                      </a:lnTo>
                      <a:lnTo>
                        <a:pt x="601" y="211"/>
                      </a:lnTo>
                      <a:lnTo>
                        <a:pt x="505" y="192"/>
                      </a:lnTo>
                      <a:lnTo>
                        <a:pt x="406" y="172"/>
                      </a:lnTo>
                      <a:lnTo>
                        <a:pt x="308" y="154"/>
                      </a:lnTo>
                      <a:lnTo>
                        <a:pt x="208" y="137"/>
                      </a:lnTo>
                      <a:lnTo>
                        <a:pt x="157" y="130"/>
                      </a:lnTo>
                      <a:lnTo>
                        <a:pt x="105" y="124"/>
                      </a:lnTo>
                      <a:lnTo>
                        <a:pt x="53" y="118"/>
                      </a:lnTo>
                      <a:lnTo>
                        <a:pt x="0" y="113"/>
                      </a:lnTo>
                      <a:lnTo>
                        <a:pt x="0" y="11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16" name="Freeform 14"/>
                <p:cNvSpPr>
                  <a:spLocks/>
                </p:cNvSpPr>
                <p:nvPr/>
              </p:nvSpPr>
              <p:spPr bwMode="auto">
                <a:xfrm>
                  <a:off x="1851239" y="-1979613"/>
                  <a:ext cx="582613" cy="760413"/>
                </a:xfrm>
                <a:custGeom>
                  <a:avLst/>
                  <a:gdLst>
                    <a:gd name="T0" fmla="*/ 710 w 735"/>
                    <a:gd name="T1" fmla="*/ 0 h 959"/>
                    <a:gd name="T2" fmla="*/ 7 w 735"/>
                    <a:gd name="T3" fmla="*/ 713 h 959"/>
                    <a:gd name="T4" fmla="*/ 0 w 735"/>
                    <a:gd name="T5" fmla="*/ 959 h 959"/>
                    <a:gd name="T6" fmla="*/ 735 w 735"/>
                    <a:gd name="T7" fmla="*/ 12 h 959"/>
                    <a:gd name="T8" fmla="*/ 735 w 735"/>
                    <a:gd name="T9" fmla="*/ 12 h 959"/>
                    <a:gd name="T10" fmla="*/ 731 w 735"/>
                    <a:gd name="T11" fmla="*/ 6 h 959"/>
                    <a:gd name="T12" fmla="*/ 730 w 735"/>
                    <a:gd name="T13" fmla="*/ 3 h 959"/>
                    <a:gd name="T14" fmla="*/ 727 w 735"/>
                    <a:gd name="T15" fmla="*/ 1 h 959"/>
                    <a:gd name="T16" fmla="*/ 719 w 735"/>
                    <a:gd name="T17" fmla="*/ 0 h 959"/>
                    <a:gd name="T18" fmla="*/ 710 w 735"/>
                    <a:gd name="T19" fmla="*/ 0 h 959"/>
                    <a:gd name="T20" fmla="*/ 710 w 735"/>
                    <a:gd name="T21" fmla="*/ 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5" h="959">
                      <a:moveTo>
                        <a:pt x="710" y="0"/>
                      </a:moveTo>
                      <a:lnTo>
                        <a:pt x="7" y="713"/>
                      </a:lnTo>
                      <a:lnTo>
                        <a:pt x="0" y="959"/>
                      </a:lnTo>
                      <a:lnTo>
                        <a:pt x="735" y="12"/>
                      </a:lnTo>
                      <a:lnTo>
                        <a:pt x="735" y="12"/>
                      </a:lnTo>
                      <a:lnTo>
                        <a:pt x="731" y="6"/>
                      </a:lnTo>
                      <a:lnTo>
                        <a:pt x="730" y="3"/>
                      </a:lnTo>
                      <a:lnTo>
                        <a:pt x="727" y="1"/>
                      </a:lnTo>
                      <a:lnTo>
                        <a:pt x="719" y="0"/>
                      </a:lnTo>
                      <a:lnTo>
                        <a:pt x="710" y="0"/>
                      </a:lnTo>
                      <a:lnTo>
                        <a:pt x="7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17" name="Freeform 15"/>
                <p:cNvSpPr>
                  <a:spLocks/>
                </p:cNvSpPr>
                <p:nvPr/>
              </p:nvSpPr>
              <p:spPr bwMode="auto">
                <a:xfrm>
                  <a:off x="3273639" y="-1911351"/>
                  <a:ext cx="319088" cy="593725"/>
                </a:xfrm>
                <a:custGeom>
                  <a:avLst/>
                  <a:gdLst>
                    <a:gd name="T0" fmla="*/ 387 w 402"/>
                    <a:gd name="T1" fmla="*/ 0 h 747"/>
                    <a:gd name="T2" fmla="*/ 387 w 402"/>
                    <a:gd name="T3" fmla="*/ 0 h 747"/>
                    <a:gd name="T4" fmla="*/ 392 w 402"/>
                    <a:gd name="T5" fmla="*/ 33 h 747"/>
                    <a:gd name="T6" fmla="*/ 396 w 402"/>
                    <a:gd name="T7" fmla="*/ 66 h 747"/>
                    <a:gd name="T8" fmla="*/ 398 w 402"/>
                    <a:gd name="T9" fmla="*/ 100 h 747"/>
                    <a:gd name="T10" fmla="*/ 401 w 402"/>
                    <a:gd name="T11" fmla="*/ 137 h 747"/>
                    <a:gd name="T12" fmla="*/ 402 w 402"/>
                    <a:gd name="T13" fmla="*/ 209 h 747"/>
                    <a:gd name="T14" fmla="*/ 401 w 402"/>
                    <a:gd name="T15" fmla="*/ 284 h 747"/>
                    <a:gd name="T16" fmla="*/ 398 w 402"/>
                    <a:gd name="T17" fmla="*/ 437 h 747"/>
                    <a:gd name="T18" fmla="*/ 398 w 402"/>
                    <a:gd name="T19" fmla="*/ 512 h 747"/>
                    <a:gd name="T20" fmla="*/ 399 w 402"/>
                    <a:gd name="T21" fmla="*/ 585 h 747"/>
                    <a:gd name="T22" fmla="*/ 1 w 402"/>
                    <a:gd name="T23" fmla="*/ 747 h 747"/>
                    <a:gd name="T24" fmla="*/ 1 w 402"/>
                    <a:gd name="T25" fmla="*/ 747 h 747"/>
                    <a:gd name="T26" fmla="*/ 0 w 402"/>
                    <a:gd name="T27" fmla="*/ 633 h 747"/>
                    <a:gd name="T28" fmla="*/ 1 w 402"/>
                    <a:gd name="T29" fmla="*/ 543 h 747"/>
                    <a:gd name="T30" fmla="*/ 4 w 402"/>
                    <a:gd name="T31" fmla="*/ 414 h 747"/>
                    <a:gd name="T32" fmla="*/ 4 w 402"/>
                    <a:gd name="T33" fmla="*/ 363 h 747"/>
                    <a:gd name="T34" fmla="*/ 5 w 402"/>
                    <a:gd name="T35" fmla="*/ 313 h 747"/>
                    <a:gd name="T36" fmla="*/ 4 w 402"/>
                    <a:gd name="T37" fmla="*/ 261 h 747"/>
                    <a:gd name="T38" fmla="*/ 1 w 402"/>
                    <a:gd name="T39" fmla="*/ 198 h 747"/>
                    <a:gd name="T40" fmla="*/ 1 w 402"/>
                    <a:gd name="T41" fmla="*/ 198 h 747"/>
                    <a:gd name="T42" fmla="*/ 50 w 402"/>
                    <a:gd name="T43" fmla="*/ 174 h 747"/>
                    <a:gd name="T44" fmla="*/ 98 w 402"/>
                    <a:gd name="T45" fmla="*/ 150 h 747"/>
                    <a:gd name="T46" fmla="*/ 197 w 402"/>
                    <a:gd name="T47" fmla="*/ 102 h 747"/>
                    <a:gd name="T48" fmla="*/ 246 w 402"/>
                    <a:gd name="T49" fmla="*/ 77 h 747"/>
                    <a:gd name="T50" fmla="*/ 294 w 402"/>
                    <a:gd name="T51" fmla="*/ 53 h 747"/>
                    <a:gd name="T52" fmla="*/ 341 w 402"/>
                    <a:gd name="T53" fmla="*/ 26 h 747"/>
                    <a:gd name="T54" fmla="*/ 387 w 402"/>
                    <a:gd name="T55" fmla="*/ 0 h 747"/>
                    <a:gd name="T56" fmla="*/ 387 w 402"/>
                    <a:gd name="T57"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2" h="747">
                      <a:moveTo>
                        <a:pt x="387" y="0"/>
                      </a:moveTo>
                      <a:lnTo>
                        <a:pt x="387" y="0"/>
                      </a:lnTo>
                      <a:lnTo>
                        <a:pt x="392" y="33"/>
                      </a:lnTo>
                      <a:lnTo>
                        <a:pt x="396" y="66"/>
                      </a:lnTo>
                      <a:lnTo>
                        <a:pt x="398" y="100"/>
                      </a:lnTo>
                      <a:lnTo>
                        <a:pt x="401" y="137"/>
                      </a:lnTo>
                      <a:lnTo>
                        <a:pt x="402" y="209"/>
                      </a:lnTo>
                      <a:lnTo>
                        <a:pt x="401" y="284"/>
                      </a:lnTo>
                      <a:lnTo>
                        <a:pt x="398" y="437"/>
                      </a:lnTo>
                      <a:lnTo>
                        <a:pt x="398" y="512"/>
                      </a:lnTo>
                      <a:lnTo>
                        <a:pt x="399" y="585"/>
                      </a:lnTo>
                      <a:lnTo>
                        <a:pt x="1" y="747"/>
                      </a:lnTo>
                      <a:lnTo>
                        <a:pt x="1" y="747"/>
                      </a:lnTo>
                      <a:lnTo>
                        <a:pt x="0" y="633"/>
                      </a:lnTo>
                      <a:lnTo>
                        <a:pt x="1" y="543"/>
                      </a:lnTo>
                      <a:lnTo>
                        <a:pt x="4" y="414"/>
                      </a:lnTo>
                      <a:lnTo>
                        <a:pt x="4" y="363"/>
                      </a:lnTo>
                      <a:lnTo>
                        <a:pt x="5" y="313"/>
                      </a:lnTo>
                      <a:lnTo>
                        <a:pt x="4" y="261"/>
                      </a:lnTo>
                      <a:lnTo>
                        <a:pt x="1" y="198"/>
                      </a:lnTo>
                      <a:lnTo>
                        <a:pt x="1" y="198"/>
                      </a:lnTo>
                      <a:lnTo>
                        <a:pt x="50" y="174"/>
                      </a:lnTo>
                      <a:lnTo>
                        <a:pt x="98" y="150"/>
                      </a:lnTo>
                      <a:lnTo>
                        <a:pt x="197" y="102"/>
                      </a:lnTo>
                      <a:lnTo>
                        <a:pt x="246" y="77"/>
                      </a:lnTo>
                      <a:lnTo>
                        <a:pt x="294" y="53"/>
                      </a:lnTo>
                      <a:lnTo>
                        <a:pt x="341" y="26"/>
                      </a:lnTo>
                      <a:lnTo>
                        <a:pt x="387" y="0"/>
                      </a:lnTo>
                      <a:lnTo>
                        <a:pt x="3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18" name="Freeform 16"/>
                <p:cNvSpPr>
                  <a:spLocks/>
                </p:cNvSpPr>
                <p:nvPr/>
              </p:nvSpPr>
              <p:spPr bwMode="auto">
                <a:xfrm>
                  <a:off x="2533864" y="-1822451"/>
                  <a:ext cx="376238" cy="444500"/>
                </a:xfrm>
                <a:custGeom>
                  <a:avLst/>
                  <a:gdLst>
                    <a:gd name="T0" fmla="*/ 0 w 473"/>
                    <a:gd name="T1" fmla="*/ 0 h 561"/>
                    <a:gd name="T2" fmla="*/ 0 w 473"/>
                    <a:gd name="T3" fmla="*/ 0 h 561"/>
                    <a:gd name="T4" fmla="*/ 122 w 473"/>
                    <a:gd name="T5" fmla="*/ 15 h 561"/>
                    <a:gd name="T6" fmla="*/ 182 w 473"/>
                    <a:gd name="T7" fmla="*/ 23 h 561"/>
                    <a:gd name="T8" fmla="*/ 242 w 473"/>
                    <a:gd name="T9" fmla="*/ 32 h 561"/>
                    <a:gd name="T10" fmla="*/ 301 w 473"/>
                    <a:gd name="T11" fmla="*/ 41 h 561"/>
                    <a:gd name="T12" fmla="*/ 359 w 473"/>
                    <a:gd name="T13" fmla="*/ 52 h 561"/>
                    <a:gd name="T14" fmla="*/ 416 w 473"/>
                    <a:gd name="T15" fmla="*/ 63 h 561"/>
                    <a:gd name="T16" fmla="*/ 473 w 473"/>
                    <a:gd name="T17" fmla="*/ 75 h 561"/>
                    <a:gd name="T18" fmla="*/ 473 w 473"/>
                    <a:gd name="T19" fmla="*/ 75 h 561"/>
                    <a:gd name="T20" fmla="*/ 473 w 473"/>
                    <a:gd name="T21" fmla="*/ 561 h 561"/>
                    <a:gd name="T22" fmla="*/ 473 w 473"/>
                    <a:gd name="T23" fmla="*/ 561 h 561"/>
                    <a:gd name="T24" fmla="*/ 357 w 473"/>
                    <a:gd name="T25" fmla="*/ 528 h 561"/>
                    <a:gd name="T26" fmla="*/ 239 w 473"/>
                    <a:gd name="T27" fmla="*/ 495 h 561"/>
                    <a:gd name="T28" fmla="*/ 120 w 473"/>
                    <a:gd name="T29" fmla="*/ 465 h 561"/>
                    <a:gd name="T30" fmla="*/ 0 w 473"/>
                    <a:gd name="T31" fmla="*/ 436 h 561"/>
                    <a:gd name="T32" fmla="*/ 0 w 473"/>
                    <a:gd name="T33" fmla="*/ 436 h 561"/>
                    <a:gd name="T34" fmla="*/ 0 w 473"/>
                    <a:gd name="T35" fmla="*/ 0 h 561"/>
                    <a:gd name="T36" fmla="*/ 0 w 473"/>
                    <a:gd name="T37"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3" h="561">
                      <a:moveTo>
                        <a:pt x="0" y="0"/>
                      </a:moveTo>
                      <a:lnTo>
                        <a:pt x="0" y="0"/>
                      </a:lnTo>
                      <a:lnTo>
                        <a:pt x="122" y="15"/>
                      </a:lnTo>
                      <a:lnTo>
                        <a:pt x="182" y="23"/>
                      </a:lnTo>
                      <a:lnTo>
                        <a:pt x="242" y="32"/>
                      </a:lnTo>
                      <a:lnTo>
                        <a:pt x="301" y="41"/>
                      </a:lnTo>
                      <a:lnTo>
                        <a:pt x="359" y="52"/>
                      </a:lnTo>
                      <a:lnTo>
                        <a:pt x="416" y="63"/>
                      </a:lnTo>
                      <a:lnTo>
                        <a:pt x="473" y="75"/>
                      </a:lnTo>
                      <a:lnTo>
                        <a:pt x="473" y="75"/>
                      </a:lnTo>
                      <a:lnTo>
                        <a:pt x="473" y="561"/>
                      </a:lnTo>
                      <a:lnTo>
                        <a:pt x="473" y="561"/>
                      </a:lnTo>
                      <a:lnTo>
                        <a:pt x="357" y="528"/>
                      </a:lnTo>
                      <a:lnTo>
                        <a:pt x="239" y="495"/>
                      </a:lnTo>
                      <a:lnTo>
                        <a:pt x="120" y="465"/>
                      </a:lnTo>
                      <a:lnTo>
                        <a:pt x="0" y="436"/>
                      </a:lnTo>
                      <a:lnTo>
                        <a:pt x="0" y="43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19" name="Freeform 17"/>
                <p:cNvSpPr>
                  <a:spLocks/>
                </p:cNvSpPr>
                <p:nvPr/>
              </p:nvSpPr>
              <p:spPr bwMode="auto">
                <a:xfrm>
                  <a:off x="2136989" y="-1762126"/>
                  <a:ext cx="296863" cy="573088"/>
                </a:xfrm>
                <a:custGeom>
                  <a:avLst/>
                  <a:gdLst>
                    <a:gd name="T0" fmla="*/ 362 w 374"/>
                    <a:gd name="T1" fmla="*/ 0 h 723"/>
                    <a:gd name="T2" fmla="*/ 374 w 374"/>
                    <a:gd name="T3" fmla="*/ 648 h 723"/>
                    <a:gd name="T4" fmla="*/ 374 w 374"/>
                    <a:gd name="T5" fmla="*/ 648 h 723"/>
                    <a:gd name="T6" fmla="*/ 347 w 374"/>
                    <a:gd name="T7" fmla="*/ 658 h 723"/>
                    <a:gd name="T8" fmla="*/ 322 w 374"/>
                    <a:gd name="T9" fmla="*/ 667 h 723"/>
                    <a:gd name="T10" fmla="*/ 271 w 374"/>
                    <a:gd name="T11" fmla="*/ 689 h 723"/>
                    <a:gd name="T12" fmla="*/ 246 w 374"/>
                    <a:gd name="T13" fmla="*/ 699 h 723"/>
                    <a:gd name="T14" fmla="*/ 219 w 374"/>
                    <a:gd name="T15" fmla="*/ 707 h 723"/>
                    <a:gd name="T16" fmla="*/ 191 w 374"/>
                    <a:gd name="T17" fmla="*/ 716 h 723"/>
                    <a:gd name="T18" fmla="*/ 162 w 374"/>
                    <a:gd name="T19" fmla="*/ 723 h 723"/>
                    <a:gd name="T20" fmla="*/ 162 w 374"/>
                    <a:gd name="T21" fmla="*/ 723 h 723"/>
                    <a:gd name="T22" fmla="*/ 143 w 374"/>
                    <a:gd name="T23" fmla="*/ 684 h 723"/>
                    <a:gd name="T24" fmla="*/ 123 w 374"/>
                    <a:gd name="T25" fmla="*/ 646 h 723"/>
                    <a:gd name="T26" fmla="*/ 86 w 374"/>
                    <a:gd name="T27" fmla="*/ 568 h 723"/>
                    <a:gd name="T28" fmla="*/ 66 w 374"/>
                    <a:gd name="T29" fmla="*/ 531 h 723"/>
                    <a:gd name="T30" fmla="*/ 46 w 374"/>
                    <a:gd name="T31" fmla="*/ 493 h 723"/>
                    <a:gd name="T32" fmla="*/ 24 w 374"/>
                    <a:gd name="T33" fmla="*/ 458 h 723"/>
                    <a:gd name="T34" fmla="*/ 12 w 374"/>
                    <a:gd name="T35" fmla="*/ 441 h 723"/>
                    <a:gd name="T36" fmla="*/ 0 w 374"/>
                    <a:gd name="T37" fmla="*/ 424 h 723"/>
                    <a:gd name="T38" fmla="*/ 0 w 374"/>
                    <a:gd name="T39" fmla="*/ 424 h 723"/>
                    <a:gd name="T40" fmla="*/ 22 w 374"/>
                    <a:gd name="T41" fmla="*/ 396 h 723"/>
                    <a:gd name="T42" fmla="*/ 42 w 374"/>
                    <a:gd name="T43" fmla="*/ 368 h 723"/>
                    <a:gd name="T44" fmla="*/ 87 w 374"/>
                    <a:gd name="T45" fmla="*/ 314 h 723"/>
                    <a:gd name="T46" fmla="*/ 132 w 374"/>
                    <a:gd name="T47" fmla="*/ 262 h 723"/>
                    <a:gd name="T48" fmla="*/ 179 w 374"/>
                    <a:gd name="T49" fmla="*/ 210 h 723"/>
                    <a:gd name="T50" fmla="*/ 271 w 374"/>
                    <a:gd name="T51" fmla="*/ 107 h 723"/>
                    <a:gd name="T52" fmla="*/ 317 w 374"/>
                    <a:gd name="T53" fmla="*/ 54 h 723"/>
                    <a:gd name="T54" fmla="*/ 362 w 374"/>
                    <a:gd name="T55" fmla="*/ 0 h 723"/>
                    <a:gd name="T56" fmla="*/ 362 w 374"/>
                    <a:gd name="T57"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723">
                      <a:moveTo>
                        <a:pt x="362" y="0"/>
                      </a:moveTo>
                      <a:lnTo>
                        <a:pt x="374" y="648"/>
                      </a:lnTo>
                      <a:lnTo>
                        <a:pt x="374" y="648"/>
                      </a:lnTo>
                      <a:lnTo>
                        <a:pt x="347" y="658"/>
                      </a:lnTo>
                      <a:lnTo>
                        <a:pt x="322" y="667"/>
                      </a:lnTo>
                      <a:lnTo>
                        <a:pt x="271" y="689"/>
                      </a:lnTo>
                      <a:lnTo>
                        <a:pt x="246" y="699"/>
                      </a:lnTo>
                      <a:lnTo>
                        <a:pt x="219" y="707"/>
                      </a:lnTo>
                      <a:lnTo>
                        <a:pt x="191" y="716"/>
                      </a:lnTo>
                      <a:lnTo>
                        <a:pt x="162" y="723"/>
                      </a:lnTo>
                      <a:lnTo>
                        <a:pt x="162" y="723"/>
                      </a:lnTo>
                      <a:lnTo>
                        <a:pt x="143" y="684"/>
                      </a:lnTo>
                      <a:lnTo>
                        <a:pt x="123" y="646"/>
                      </a:lnTo>
                      <a:lnTo>
                        <a:pt x="86" y="568"/>
                      </a:lnTo>
                      <a:lnTo>
                        <a:pt x="66" y="531"/>
                      </a:lnTo>
                      <a:lnTo>
                        <a:pt x="46" y="493"/>
                      </a:lnTo>
                      <a:lnTo>
                        <a:pt x="24" y="458"/>
                      </a:lnTo>
                      <a:lnTo>
                        <a:pt x="12" y="441"/>
                      </a:lnTo>
                      <a:lnTo>
                        <a:pt x="0" y="424"/>
                      </a:lnTo>
                      <a:lnTo>
                        <a:pt x="0" y="424"/>
                      </a:lnTo>
                      <a:lnTo>
                        <a:pt x="22" y="396"/>
                      </a:lnTo>
                      <a:lnTo>
                        <a:pt x="42" y="368"/>
                      </a:lnTo>
                      <a:lnTo>
                        <a:pt x="87" y="314"/>
                      </a:lnTo>
                      <a:lnTo>
                        <a:pt x="132" y="262"/>
                      </a:lnTo>
                      <a:lnTo>
                        <a:pt x="179" y="210"/>
                      </a:lnTo>
                      <a:lnTo>
                        <a:pt x="271" y="107"/>
                      </a:lnTo>
                      <a:lnTo>
                        <a:pt x="317" y="54"/>
                      </a:lnTo>
                      <a:lnTo>
                        <a:pt x="362" y="0"/>
                      </a:lnTo>
                      <a:lnTo>
                        <a:pt x="3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20" name="Freeform 18"/>
                <p:cNvSpPr>
                  <a:spLocks/>
                </p:cNvSpPr>
                <p:nvPr/>
              </p:nvSpPr>
              <p:spPr bwMode="auto">
                <a:xfrm>
                  <a:off x="2997414" y="-1743076"/>
                  <a:ext cx="168275" cy="434975"/>
                </a:xfrm>
                <a:custGeom>
                  <a:avLst/>
                  <a:gdLst>
                    <a:gd name="T0" fmla="*/ 0 w 212"/>
                    <a:gd name="T1" fmla="*/ 0 h 547"/>
                    <a:gd name="T2" fmla="*/ 0 w 212"/>
                    <a:gd name="T3" fmla="*/ 0 h 547"/>
                    <a:gd name="T4" fmla="*/ 26 w 212"/>
                    <a:gd name="T5" fmla="*/ 6 h 547"/>
                    <a:gd name="T6" fmla="*/ 53 w 212"/>
                    <a:gd name="T7" fmla="*/ 9 h 547"/>
                    <a:gd name="T8" fmla="*/ 80 w 212"/>
                    <a:gd name="T9" fmla="*/ 13 h 547"/>
                    <a:gd name="T10" fmla="*/ 108 w 212"/>
                    <a:gd name="T11" fmla="*/ 15 h 547"/>
                    <a:gd name="T12" fmla="*/ 137 w 212"/>
                    <a:gd name="T13" fmla="*/ 19 h 547"/>
                    <a:gd name="T14" fmla="*/ 164 w 212"/>
                    <a:gd name="T15" fmla="*/ 23 h 547"/>
                    <a:gd name="T16" fmla="*/ 189 w 212"/>
                    <a:gd name="T17" fmla="*/ 29 h 547"/>
                    <a:gd name="T18" fmla="*/ 201 w 212"/>
                    <a:gd name="T19" fmla="*/ 32 h 547"/>
                    <a:gd name="T20" fmla="*/ 212 w 212"/>
                    <a:gd name="T21" fmla="*/ 37 h 547"/>
                    <a:gd name="T22" fmla="*/ 212 w 212"/>
                    <a:gd name="T23" fmla="*/ 37 h 547"/>
                    <a:gd name="T24" fmla="*/ 212 w 212"/>
                    <a:gd name="T25" fmla="*/ 547 h 547"/>
                    <a:gd name="T26" fmla="*/ 212 w 212"/>
                    <a:gd name="T27" fmla="*/ 547 h 547"/>
                    <a:gd name="T28" fmla="*/ 188 w 212"/>
                    <a:gd name="T29" fmla="*/ 538 h 547"/>
                    <a:gd name="T30" fmla="*/ 163 w 212"/>
                    <a:gd name="T31" fmla="*/ 531 h 547"/>
                    <a:gd name="T32" fmla="*/ 137 w 212"/>
                    <a:gd name="T33" fmla="*/ 524 h 547"/>
                    <a:gd name="T34" fmla="*/ 111 w 212"/>
                    <a:gd name="T35" fmla="*/ 518 h 547"/>
                    <a:gd name="T36" fmla="*/ 56 w 212"/>
                    <a:gd name="T37" fmla="*/ 507 h 547"/>
                    <a:gd name="T38" fmla="*/ 0 w 212"/>
                    <a:gd name="T39" fmla="*/ 497 h 547"/>
                    <a:gd name="T40" fmla="*/ 0 w 212"/>
                    <a:gd name="T41" fmla="*/ 497 h 547"/>
                    <a:gd name="T42" fmla="*/ 0 w 212"/>
                    <a:gd name="T43" fmla="*/ 0 h 547"/>
                    <a:gd name="T44" fmla="*/ 0 w 212"/>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547">
                      <a:moveTo>
                        <a:pt x="0" y="0"/>
                      </a:moveTo>
                      <a:lnTo>
                        <a:pt x="0" y="0"/>
                      </a:lnTo>
                      <a:lnTo>
                        <a:pt x="26" y="6"/>
                      </a:lnTo>
                      <a:lnTo>
                        <a:pt x="53" y="9"/>
                      </a:lnTo>
                      <a:lnTo>
                        <a:pt x="80" y="13"/>
                      </a:lnTo>
                      <a:lnTo>
                        <a:pt x="108" y="15"/>
                      </a:lnTo>
                      <a:lnTo>
                        <a:pt x="137" y="19"/>
                      </a:lnTo>
                      <a:lnTo>
                        <a:pt x="164" y="23"/>
                      </a:lnTo>
                      <a:lnTo>
                        <a:pt x="189" y="29"/>
                      </a:lnTo>
                      <a:lnTo>
                        <a:pt x="201" y="32"/>
                      </a:lnTo>
                      <a:lnTo>
                        <a:pt x="212" y="37"/>
                      </a:lnTo>
                      <a:lnTo>
                        <a:pt x="212" y="37"/>
                      </a:lnTo>
                      <a:lnTo>
                        <a:pt x="212" y="547"/>
                      </a:lnTo>
                      <a:lnTo>
                        <a:pt x="212" y="547"/>
                      </a:lnTo>
                      <a:lnTo>
                        <a:pt x="188" y="538"/>
                      </a:lnTo>
                      <a:lnTo>
                        <a:pt x="163" y="531"/>
                      </a:lnTo>
                      <a:lnTo>
                        <a:pt x="137" y="524"/>
                      </a:lnTo>
                      <a:lnTo>
                        <a:pt x="111" y="518"/>
                      </a:lnTo>
                      <a:lnTo>
                        <a:pt x="56" y="507"/>
                      </a:lnTo>
                      <a:lnTo>
                        <a:pt x="0" y="497"/>
                      </a:lnTo>
                      <a:lnTo>
                        <a:pt x="0" y="49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21" name="Freeform 19"/>
                <p:cNvSpPr>
                  <a:spLocks/>
                </p:cNvSpPr>
                <p:nvPr/>
              </p:nvSpPr>
              <p:spPr bwMode="auto">
                <a:xfrm>
                  <a:off x="3668927" y="-1465263"/>
                  <a:ext cx="188913" cy="276225"/>
                </a:xfrm>
                <a:custGeom>
                  <a:avLst/>
                  <a:gdLst>
                    <a:gd name="T0" fmla="*/ 237 w 237"/>
                    <a:gd name="T1" fmla="*/ 262 h 349"/>
                    <a:gd name="T2" fmla="*/ 237 w 237"/>
                    <a:gd name="T3" fmla="*/ 262 h 349"/>
                    <a:gd name="T4" fmla="*/ 180 w 237"/>
                    <a:gd name="T5" fmla="*/ 286 h 349"/>
                    <a:gd name="T6" fmla="*/ 123 w 237"/>
                    <a:gd name="T7" fmla="*/ 310 h 349"/>
                    <a:gd name="T8" fmla="*/ 94 w 237"/>
                    <a:gd name="T9" fmla="*/ 321 h 349"/>
                    <a:gd name="T10" fmla="*/ 64 w 237"/>
                    <a:gd name="T11" fmla="*/ 331 h 349"/>
                    <a:gd name="T12" fmla="*/ 32 w 237"/>
                    <a:gd name="T13" fmla="*/ 341 h 349"/>
                    <a:gd name="T14" fmla="*/ 0 w 237"/>
                    <a:gd name="T15" fmla="*/ 349 h 349"/>
                    <a:gd name="T16" fmla="*/ 0 w 237"/>
                    <a:gd name="T17" fmla="*/ 349 h 349"/>
                    <a:gd name="T18" fmla="*/ 0 w 237"/>
                    <a:gd name="T19" fmla="*/ 100 h 349"/>
                    <a:gd name="T20" fmla="*/ 0 w 237"/>
                    <a:gd name="T21" fmla="*/ 100 h 349"/>
                    <a:gd name="T22" fmla="*/ 30 w 237"/>
                    <a:gd name="T23" fmla="*/ 90 h 349"/>
                    <a:gd name="T24" fmla="*/ 60 w 237"/>
                    <a:gd name="T25" fmla="*/ 79 h 349"/>
                    <a:gd name="T26" fmla="*/ 92 w 237"/>
                    <a:gd name="T27" fmla="*/ 67 h 349"/>
                    <a:gd name="T28" fmla="*/ 123 w 237"/>
                    <a:gd name="T29" fmla="*/ 54 h 349"/>
                    <a:gd name="T30" fmla="*/ 183 w 237"/>
                    <a:gd name="T31" fmla="*/ 26 h 349"/>
                    <a:gd name="T32" fmla="*/ 237 w 237"/>
                    <a:gd name="T33" fmla="*/ 0 h 349"/>
                    <a:gd name="T34" fmla="*/ 237 w 237"/>
                    <a:gd name="T35" fmla="*/ 26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349">
                      <a:moveTo>
                        <a:pt x="237" y="262"/>
                      </a:moveTo>
                      <a:lnTo>
                        <a:pt x="237" y="262"/>
                      </a:lnTo>
                      <a:lnTo>
                        <a:pt x="180" y="286"/>
                      </a:lnTo>
                      <a:lnTo>
                        <a:pt x="123" y="310"/>
                      </a:lnTo>
                      <a:lnTo>
                        <a:pt x="94" y="321"/>
                      </a:lnTo>
                      <a:lnTo>
                        <a:pt x="64" y="331"/>
                      </a:lnTo>
                      <a:lnTo>
                        <a:pt x="32" y="341"/>
                      </a:lnTo>
                      <a:lnTo>
                        <a:pt x="0" y="349"/>
                      </a:lnTo>
                      <a:lnTo>
                        <a:pt x="0" y="349"/>
                      </a:lnTo>
                      <a:lnTo>
                        <a:pt x="0" y="100"/>
                      </a:lnTo>
                      <a:lnTo>
                        <a:pt x="0" y="100"/>
                      </a:lnTo>
                      <a:lnTo>
                        <a:pt x="30" y="90"/>
                      </a:lnTo>
                      <a:lnTo>
                        <a:pt x="60" y="79"/>
                      </a:lnTo>
                      <a:lnTo>
                        <a:pt x="92" y="67"/>
                      </a:lnTo>
                      <a:lnTo>
                        <a:pt x="123" y="54"/>
                      </a:lnTo>
                      <a:lnTo>
                        <a:pt x="183" y="26"/>
                      </a:lnTo>
                      <a:lnTo>
                        <a:pt x="237" y="0"/>
                      </a:lnTo>
                      <a:lnTo>
                        <a:pt x="237"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22" name="Freeform 20"/>
                <p:cNvSpPr>
                  <a:spLocks/>
                </p:cNvSpPr>
                <p:nvPr/>
              </p:nvSpPr>
              <p:spPr bwMode="auto">
                <a:xfrm>
                  <a:off x="2533864" y="-1377951"/>
                  <a:ext cx="376238" cy="268288"/>
                </a:xfrm>
                <a:custGeom>
                  <a:avLst/>
                  <a:gdLst>
                    <a:gd name="T0" fmla="*/ 0 w 473"/>
                    <a:gd name="T1" fmla="*/ 0 h 336"/>
                    <a:gd name="T2" fmla="*/ 0 w 473"/>
                    <a:gd name="T3" fmla="*/ 0 h 336"/>
                    <a:gd name="T4" fmla="*/ 31 w 473"/>
                    <a:gd name="T5" fmla="*/ 5 h 336"/>
                    <a:gd name="T6" fmla="*/ 63 w 473"/>
                    <a:gd name="T7" fmla="*/ 11 h 336"/>
                    <a:gd name="T8" fmla="*/ 92 w 473"/>
                    <a:gd name="T9" fmla="*/ 17 h 336"/>
                    <a:gd name="T10" fmla="*/ 122 w 473"/>
                    <a:gd name="T11" fmla="*/ 24 h 336"/>
                    <a:gd name="T12" fmla="*/ 180 w 473"/>
                    <a:gd name="T13" fmla="*/ 40 h 336"/>
                    <a:gd name="T14" fmla="*/ 237 w 473"/>
                    <a:gd name="T15" fmla="*/ 55 h 336"/>
                    <a:gd name="T16" fmla="*/ 293 w 473"/>
                    <a:gd name="T17" fmla="*/ 72 h 336"/>
                    <a:gd name="T18" fmla="*/ 351 w 473"/>
                    <a:gd name="T19" fmla="*/ 88 h 336"/>
                    <a:gd name="T20" fmla="*/ 380 w 473"/>
                    <a:gd name="T21" fmla="*/ 94 h 336"/>
                    <a:gd name="T22" fmla="*/ 410 w 473"/>
                    <a:gd name="T23" fmla="*/ 101 h 336"/>
                    <a:gd name="T24" fmla="*/ 442 w 473"/>
                    <a:gd name="T25" fmla="*/ 107 h 336"/>
                    <a:gd name="T26" fmla="*/ 473 w 473"/>
                    <a:gd name="T27" fmla="*/ 112 h 336"/>
                    <a:gd name="T28" fmla="*/ 473 w 473"/>
                    <a:gd name="T29" fmla="*/ 112 h 336"/>
                    <a:gd name="T30" fmla="*/ 473 w 473"/>
                    <a:gd name="T31" fmla="*/ 336 h 336"/>
                    <a:gd name="T32" fmla="*/ 473 w 473"/>
                    <a:gd name="T33" fmla="*/ 336 h 336"/>
                    <a:gd name="T34" fmla="*/ 411 w 473"/>
                    <a:gd name="T35" fmla="*/ 316 h 336"/>
                    <a:gd name="T36" fmla="*/ 352 w 473"/>
                    <a:gd name="T37" fmla="*/ 295 h 336"/>
                    <a:gd name="T38" fmla="*/ 291 w 473"/>
                    <a:gd name="T39" fmla="*/ 273 h 336"/>
                    <a:gd name="T40" fmla="*/ 233 w 473"/>
                    <a:gd name="T41" fmla="*/ 252 h 336"/>
                    <a:gd name="T42" fmla="*/ 116 w 473"/>
                    <a:gd name="T43" fmla="*/ 207 h 336"/>
                    <a:gd name="T44" fmla="*/ 0 w 473"/>
                    <a:gd name="T45" fmla="*/ 162 h 336"/>
                    <a:gd name="T46" fmla="*/ 0 w 473"/>
                    <a:gd name="T47" fmla="*/ 162 h 336"/>
                    <a:gd name="T48" fmla="*/ 0 w 473"/>
                    <a:gd name="T49" fmla="*/ 0 h 336"/>
                    <a:gd name="T50" fmla="*/ 0 w 473"/>
                    <a:gd name="T5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3" h="336">
                      <a:moveTo>
                        <a:pt x="0" y="0"/>
                      </a:moveTo>
                      <a:lnTo>
                        <a:pt x="0" y="0"/>
                      </a:lnTo>
                      <a:lnTo>
                        <a:pt x="31" y="5"/>
                      </a:lnTo>
                      <a:lnTo>
                        <a:pt x="63" y="11"/>
                      </a:lnTo>
                      <a:lnTo>
                        <a:pt x="92" y="17"/>
                      </a:lnTo>
                      <a:lnTo>
                        <a:pt x="122" y="24"/>
                      </a:lnTo>
                      <a:lnTo>
                        <a:pt x="180" y="40"/>
                      </a:lnTo>
                      <a:lnTo>
                        <a:pt x="237" y="55"/>
                      </a:lnTo>
                      <a:lnTo>
                        <a:pt x="293" y="72"/>
                      </a:lnTo>
                      <a:lnTo>
                        <a:pt x="351" y="88"/>
                      </a:lnTo>
                      <a:lnTo>
                        <a:pt x="380" y="94"/>
                      </a:lnTo>
                      <a:lnTo>
                        <a:pt x="410" y="101"/>
                      </a:lnTo>
                      <a:lnTo>
                        <a:pt x="442" y="107"/>
                      </a:lnTo>
                      <a:lnTo>
                        <a:pt x="473" y="112"/>
                      </a:lnTo>
                      <a:lnTo>
                        <a:pt x="473" y="112"/>
                      </a:lnTo>
                      <a:lnTo>
                        <a:pt x="473" y="336"/>
                      </a:lnTo>
                      <a:lnTo>
                        <a:pt x="473" y="336"/>
                      </a:lnTo>
                      <a:lnTo>
                        <a:pt x="411" y="316"/>
                      </a:lnTo>
                      <a:lnTo>
                        <a:pt x="352" y="295"/>
                      </a:lnTo>
                      <a:lnTo>
                        <a:pt x="291" y="273"/>
                      </a:lnTo>
                      <a:lnTo>
                        <a:pt x="233" y="252"/>
                      </a:lnTo>
                      <a:lnTo>
                        <a:pt x="116" y="207"/>
                      </a:lnTo>
                      <a:lnTo>
                        <a:pt x="0" y="162"/>
                      </a:lnTo>
                      <a:lnTo>
                        <a:pt x="0" y="16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23" name="Freeform 21"/>
                <p:cNvSpPr>
                  <a:spLocks/>
                </p:cNvSpPr>
                <p:nvPr/>
              </p:nvSpPr>
              <p:spPr bwMode="auto">
                <a:xfrm>
                  <a:off x="1841714" y="-1357313"/>
                  <a:ext cx="336550" cy="334963"/>
                </a:xfrm>
                <a:custGeom>
                  <a:avLst/>
                  <a:gdLst>
                    <a:gd name="T0" fmla="*/ 286 w 424"/>
                    <a:gd name="T1" fmla="*/ 0 h 423"/>
                    <a:gd name="T2" fmla="*/ 424 w 424"/>
                    <a:gd name="T3" fmla="*/ 248 h 423"/>
                    <a:gd name="T4" fmla="*/ 424 w 424"/>
                    <a:gd name="T5" fmla="*/ 248 h 423"/>
                    <a:gd name="T6" fmla="*/ 400 w 424"/>
                    <a:gd name="T7" fmla="*/ 263 h 423"/>
                    <a:gd name="T8" fmla="*/ 375 w 424"/>
                    <a:gd name="T9" fmla="*/ 276 h 423"/>
                    <a:gd name="T10" fmla="*/ 326 w 424"/>
                    <a:gd name="T11" fmla="*/ 300 h 423"/>
                    <a:gd name="T12" fmla="*/ 274 w 424"/>
                    <a:gd name="T13" fmla="*/ 323 h 423"/>
                    <a:gd name="T14" fmla="*/ 220 w 424"/>
                    <a:gd name="T15" fmla="*/ 345 h 423"/>
                    <a:gd name="T16" fmla="*/ 166 w 424"/>
                    <a:gd name="T17" fmla="*/ 366 h 423"/>
                    <a:gd name="T18" fmla="*/ 111 w 424"/>
                    <a:gd name="T19" fmla="*/ 385 h 423"/>
                    <a:gd name="T20" fmla="*/ 0 w 424"/>
                    <a:gd name="T21" fmla="*/ 423 h 423"/>
                    <a:gd name="T22" fmla="*/ 286 w 424"/>
                    <a:gd name="T23" fmla="*/ 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4" h="423">
                      <a:moveTo>
                        <a:pt x="286" y="0"/>
                      </a:moveTo>
                      <a:lnTo>
                        <a:pt x="424" y="248"/>
                      </a:lnTo>
                      <a:lnTo>
                        <a:pt x="424" y="248"/>
                      </a:lnTo>
                      <a:lnTo>
                        <a:pt x="400" y="263"/>
                      </a:lnTo>
                      <a:lnTo>
                        <a:pt x="375" y="276"/>
                      </a:lnTo>
                      <a:lnTo>
                        <a:pt x="326" y="300"/>
                      </a:lnTo>
                      <a:lnTo>
                        <a:pt x="274" y="323"/>
                      </a:lnTo>
                      <a:lnTo>
                        <a:pt x="220" y="345"/>
                      </a:lnTo>
                      <a:lnTo>
                        <a:pt x="166" y="366"/>
                      </a:lnTo>
                      <a:lnTo>
                        <a:pt x="111" y="385"/>
                      </a:lnTo>
                      <a:lnTo>
                        <a:pt x="0" y="423"/>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24" name="Freeform 22"/>
                <p:cNvSpPr>
                  <a:spLocks/>
                </p:cNvSpPr>
                <p:nvPr/>
              </p:nvSpPr>
              <p:spPr bwMode="auto">
                <a:xfrm>
                  <a:off x="3275227" y="-1347788"/>
                  <a:ext cx="315913" cy="325438"/>
                </a:xfrm>
                <a:custGeom>
                  <a:avLst/>
                  <a:gdLst>
                    <a:gd name="T0" fmla="*/ 398 w 398"/>
                    <a:gd name="T1" fmla="*/ 0 h 411"/>
                    <a:gd name="T2" fmla="*/ 398 w 398"/>
                    <a:gd name="T3" fmla="*/ 0 h 411"/>
                    <a:gd name="T4" fmla="*/ 398 w 398"/>
                    <a:gd name="T5" fmla="*/ 262 h 411"/>
                    <a:gd name="T6" fmla="*/ 398 w 398"/>
                    <a:gd name="T7" fmla="*/ 262 h 411"/>
                    <a:gd name="T8" fmla="*/ 299 w 398"/>
                    <a:gd name="T9" fmla="*/ 296 h 411"/>
                    <a:gd name="T10" fmla="*/ 250 w 398"/>
                    <a:gd name="T11" fmla="*/ 313 h 411"/>
                    <a:gd name="T12" fmla="*/ 200 w 398"/>
                    <a:gd name="T13" fmla="*/ 331 h 411"/>
                    <a:gd name="T14" fmla="*/ 151 w 398"/>
                    <a:gd name="T15" fmla="*/ 350 h 411"/>
                    <a:gd name="T16" fmla="*/ 104 w 398"/>
                    <a:gd name="T17" fmla="*/ 370 h 411"/>
                    <a:gd name="T18" fmla="*/ 58 w 398"/>
                    <a:gd name="T19" fmla="*/ 390 h 411"/>
                    <a:gd name="T20" fmla="*/ 12 w 398"/>
                    <a:gd name="T21" fmla="*/ 411 h 411"/>
                    <a:gd name="T22" fmla="*/ 12 w 398"/>
                    <a:gd name="T23" fmla="*/ 411 h 411"/>
                    <a:gd name="T24" fmla="*/ 10 w 398"/>
                    <a:gd name="T25" fmla="*/ 307 h 411"/>
                    <a:gd name="T26" fmla="*/ 6 w 398"/>
                    <a:gd name="T27" fmla="*/ 217 h 411"/>
                    <a:gd name="T28" fmla="*/ 3 w 398"/>
                    <a:gd name="T29" fmla="*/ 175 h 411"/>
                    <a:gd name="T30" fmla="*/ 0 w 398"/>
                    <a:gd name="T31" fmla="*/ 137 h 411"/>
                    <a:gd name="T32" fmla="*/ 0 w 398"/>
                    <a:gd name="T33" fmla="*/ 137 h 411"/>
                    <a:gd name="T34" fmla="*/ 50 w 398"/>
                    <a:gd name="T35" fmla="*/ 120 h 411"/>
                    <a:gd name="T36" fmla="*/ 99 w 398"/>
                    <a:gd name="T37" fmla="*/ 102 h 411"/>
                    <a:gd name="T38" fmla="*/ 196 w 398"/>
                    <a:gd name="T39" fmla="*/ 66 h 411"/>
                    <a:gd name="T40" fmla="*/ 246 w 398"/>
                    <a:gd name="T41" fmla="*/ 47 h 411"/>
                    <a:gd name="T42" fmla="*/ 296 w 398"/>
                    <a:gd name="T43" fmla="*/ 31 h 411"/>
                    <a:gd name="T44" fmla="*/ 346 w 398"/>
                    <a:gd name="T45" fmla="*/ 15 h 411"/>
                    <a:gd name="T46" fmla="*/ 398 w 398"/>
                    <a:gd name="T47" fmla="*/ 0 h 411"/>
                    <a:gd name="T48" fmla="*/ 398 w 398"/>
                    <a:gd name="T4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8" h="411">
                      <a:moveTo>
                        <a:pt x="398" y="0"/>
                      </a:moveTo>
                      <a:lnTo>
                        <a:pt x="398" y="0"/>
                      </a:lnTo>
                      <a:lnTo>
                        <a:pt x="398" y="262"/>
                      </a:lnTo>
                      <a:lnTo>
                        <a:pt x="398" y="262"/>
                      </a:lnTo>
                      <a:lnTo>
                        <a:pt x="299" y="296"/>
                      </a:lnTo>
                      <a:lnTo>
                        <a:pt x="250" y="313"/>
                      </a:lnTo>
                      <a:lnTo>
                        <a:pt x="200" y="331"/>
                      </a:lnTo>
                      <a:lnTo>
                        <a:pt x="151" y="350"/>
                      </a:lnTo>
                      <a:lnTo>
                        <a:pt x="104" y="370"/>
                      </a:lnTo>
                      <a:lnTo>
                        <a:pt x="58" y="390"/>
                      </a:lnTo>
                      <a:lnTo>
                        <a:pt x="12" y="411"/>
                      </a:lnTo>
                      <a:lnTo>
                        <a:pt x="12" y="411"/>
                      </a:lnTo>
                      <a:lnTo>
                        <a:pt x="10" y="307"/>
                      </a:lnTo>
                      <a:lnTo>
                        <a:pt x="6" y="217"/>
                      </a:lnTo>
                      <a:lnTo>
                        <a:pt x="3" y="175"/>
                      </a:lnTo>
                      <a:lnTo>
                        <a:pt x="0" y="137"/>
                      </a:lnTo>
                      <a:lnTo>
                        <a:pt x="0" y="137"/>
                      </a:lnTo>
                      <a:lnTo>
                        <a:pt x="50" y="120"/>
                      </a:lnTo>
                      <a:lnTo>
                        <a:pt x="99" y="102"/>
                      </a:lnTo>
                      <a:lnTo>
                        <a:pt x="196" y="66"/>
                      </a:lnTo>
                      <a:lnTo>
                        <a:pt x="246" y="47"/>
                      </a:lnTo>
                      <a:lnTo>
                        <a:pt x="296" y="31"/>
                      </a:lnTo>
                      <a:lnTo>
                        <a:pt x="346" y="15"/>
                      </a:lnTo>
                      <a:lnTo>
                        <a:pt x="398" y="0"/>
                      </a:lnTo>
                      <a:lnTo>
                        <a:pt x="3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sp>
              <p:nvSpPr>
                <p:cNvPr id="125" name="Freeform 23"/>
                <p:cNvSpPr>
                  <a:spLocks/>
                </p:cNvSpPr>
                <p:nvPr/>
              </p:nvSpPr>
              <p:spPr bwMode="auto">
                <a:xfrm>
                  <a:off x="2997414" y="-1258888"/>
                  <a:ext cx="168275" cy="247650"/>
                </a:xfrm>
                <a:custGeom>
                  <a:avLst/>
                  <a:gdLst>
                    <a:gd name="T0" fmla="*/ 0 w 212"/>
                    <a:gd name="T1" fmla="*/ 0 h 311"/>
                    <a:gd name="T2" fmla="*/ 0 w 212"/>
                    <a:gd name="T3" fmla="*/ 0 h 311"/>
                    <a:gd name="T4" fmla="*/ 51 w 212"/>
                    <a:gd name="T5" fmla="*/ 14 h 311"/>
                    <a:gd name="T6" fmla="*/ 102 w 212"/>
                    <a:gd name="T7" fmla="*/ 29 h 311"/>
                    <a:gd name="T8" fmla="*/ 128 w 212"/>
                    <a:gd name="T9" fmla="*/ 35 h 311"/>
                    <a:gd name="T10" fmla="*/ 155 w 212"/>
                    <a:gd name="T11" fmla="*/ 41 h 311"/>
                    <a:gd name="T12" fmla="*/ 183 w 212"/>
                    <a:gd name="T13" fmla="*/ 46 h 311"/>
                    <a:gd name="T14" fmla="*/ 212 w 212"/>
                    <a:gd name="T15" fmla="*/ 50 h 311"/>
                    <a:gd name="T16" fmla="*/ 212 w 212"/>
                    <a:gd name="T17" fmla="*/ 50 h 311"/>
                    <a:gd name="T18" fmla="*/ 212 w 212"/>
                    <a:gd name="T19" fmla="*/ 311 h 311"/>
                    <a:gd name="T20" fmla="*/ 212 w 212"/>
                    <a:gd name="T21" fmla="*/ 311 h 311"/>
                    <a:gd name="T22" fmla="*/ 163 w 212"/>
                    <a:gd name="T23" fmla="*/ 292 h 311"/>
                    <a:gd name="T24" fmla="*/ 112 w 212"/>
                    <a:gd name="T25" fmla="*/ 275 h 311"/>
                    <a:gd name="T26" fmla="*/ 85 w 212"/>
                    <a:gd name="T27" fmla="*/ 266 h 311"/>
                    <a:gd name="T28" fmla="*/ 59 w 212"/>
                    <a:gd name="T29" fmla="*/ 259 h 311"/>
                    <a:gd name="T30" fmla="*/ 30 w 212"/>
                    <a:gd name="T31" fmla="*/ 253 h 311"/>
                    <a:gd name="T32" fmla="*/ 0 w 212"/>
                    <a:gd name="T33" fmla="*/ 248 h 311"/>
                    <a:gd name="T34" fmla="*/ 0 w 212"/>
                    <a:gd name="T35" fmla="*/ 248 h 311"/>
                    <a:gd name="T36" fmla="*/ 0 w 212"/>
                    <a:gd name="T37" fmla="*/ 0 h 311"/>
                    <a:gd name="T38" fmla="*/ 0 w 212"/>
                    <a:gd name="T3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311">
                      <a:moveTo>
                        <a:pt x="0" y="0"/>
                      </a:moveTo>
                      <a:lnTo>
                        <a:pt x="0" y="0"/>
                      </a:lnTo>
                      <a:lnTo>
                        <a:pt x="51" y="14"/>
                      </a:lnTo>
                      <a:lnTo>
                        <a:pt x="102" y="29"/>
                      </a:lnTo>
                      <a:lnTo>
                        <a:pt x="128" y="35"/>
                      </a:lnTo>
                      <a:lnTo>
                        <a:pt x="155" y="41"/>
                      </a:lnTo>
                      <a:lnTo>
                        <a:pt x="183" y="46"/>
                      </a:lnTo>
                      <a:lnTo>
                        <a:pt x="212" y="50"/>
                      </a:lnTo>
                      <a:lnTo>
                        <a:pt x="212" y="50"/>
                      </a:lnTo>
                      <a:lnTo>
                        <a:pt x="212" y="311"/>
                      </a:lnTo>
                      <a:lnTo>
                        <a:pt x="212" y="311"/>
                      </a:lnTo>
                      <a:lnTo>
                        <a:pt x="163" y="292"/>
                      </a:lnTo>
                      <a:lnTo>
                        <a:pt x="112" y="275"/>
                      </a:lnTo>
                      <a:lnTo>
                        <a:pt x="85" y="266"/>
                      </a:lnTo>
                      <a:lnTo>
                        <a:pt x="59" y="259"/>
                      </a:lnTo>
                      <a:lnTo>
                        <a:pt x="30" y="253"/>
                      </a:lnTo>
                      <a:lnTo>
                        <a:pt x="0" y="248"/>
                      </a:lnTo>
                      <a:lnTo>
                        <a:pt x="0" y="24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832510">
                    <a:defRPr/>
                  </a:pPr>
                  <a:endParaRPr lang="en-US" sz="1632" kern="0">
                    <a:solidFill>
                      <a:srgbClr val="505050"/>
                    </a:solidFill>
                  </a:endParaRPr>
                </a:p>
              </p:txBody>
            </p:sp>
          </p:grpSp>
          <p:sp>
            <p:nvSpPr>
              <p:cNvPr id="108" name="Freeform 132"/>
              <p:cNvSpPr>
                <a:spLocks noEditPoints="1"/>
              </p:cNvSpPr>
              <p:nvPr/>
            </p:nvSpPr>
            <p:spPr bwMode="black">
              <a:xfrm>
                <a:off x="5705201" y="2940494"/>
                <a:ext cx="82041" cy="13369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cxnSp>
          <p:nvCxnSpPr>
            <p:cNvPr id="88" name="Straight Arrow Connector 87"/>
            <p:cNvCxnSpPr/>
            <p:nvPr/>
          </p:nvCxnSpPr>
          <p:spPr>
            <a:xfrm>
              <a:off x="5940854" y="3303573"/>
              <a:ext cx="0" cy="560894"/>
            </a:xfrm>
            <a:prstGeom prst="straightConnector1">
              <a:avLst/>
            </a:prstGeom>
            <a:ln w="19050">
              <a:solidFill>
                <a:schemeClr val="tx1">
                  <a:lumMod val="60000"/>
                  <a:lumOff val="4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89" name="Group 88"/>
            <p:cNvGrpSpPr/>
            <p:nvPr/>
          </p:nvGrpSpPr>
          <p:grpSpPr>
            <a:xfrm>
              <a:off x="5389512" y="3188895"/>
              <a:ext cx="245238" cy="206589"/>
              <a:chOff x="5389512" y="3188895"/>
              <a:chExt cx="245238" cy="206589"/>
            </a:xfrm>
          </p:grpSpPr>
          <p:sp>
            <p:nvSpPr>
              <p:cNvPr id="105" name="Freeform 17"/>
              <p:cNvSpPr>
                <a:spLocks noEditPoints="1"/>
              </p:cNvSpPr>
              <p:nvPr/>
            </p:nvSpPr>
            <p:spPr bwMode="auto">
              <a:xfrm>
                <a:off x="5426755" y="3188895"/>
                <a:ext cx="207995" cy="153888"/>
              </a:xfrm>
              <a:custGeom>
                <a:avLst/>
                <a:gdLst>
                  <a:gd name="T0" fmla="*/ 482 w 1778"/>
                  <a:gd name="T1" fmla="*/ 15 h 1315"/>
                  <a:gd name="T2" fmla="*/ 471 w 1778"/>
                  <a:gd name="T3" fmla="*/ 9 h 1315"/>
                  <a:gd name="T4" fmla="*/ 450 w 1778"/>
                  <a:gd name="T5" fmla="*/ 2 h 1315"/>
                  <a:gd name="T6" fmla="*/ 428 w 1778"/>
                  <a:gd name="T7" fmla="*/ 0 h 1315"/>
                  <a:gd name="T8" fmla="*/ 405 w 1778"/>
                  <a:gd name="T9" fmla="*/ 1 h 1315"/>
                  <a:gd name="T10" fmla="*/ 384 w 1778"/>
                  <a:gd name="T11" fmla="*/ 7 h 1315"/>
                  <a:gd name="T12" fmla="*/ 365 w 1778"/>
                  <a:gd name="T13" fmla="*/ 16 h 1315"/>
                  <a:gd name="T14" fmla="*/ 347 w 1778"/>
                  <a:gd name="T15" fmla="*/ 30 h 1315"/>
                  <a:gd name="T16" fmla="*/ 332 w 1778"/>
                  <a:gd name="T17" fmla="*/ 47 h 1315"/>
                  <a:gd name="T18" fmla="*/ 16 w 1778"/>
                  <a:gd name="T19" fmla="*/ 593 h 1315"/>
                  <a:gd name="T20" fmla="*/ 10 w 1778"/>
                  <a:gd name="T21" fmla="*/ 604 h 1315"/>
                  <a:gd name="T22" fmla="*/ 3 w 1778"/>
                  <a:gd name="T23" fmla="*/ 626 h 1315"/>
                  <a:gd name="T24" fmla="*/ 0 w 1778"/>
                  <a:gd name="T25" fmla="*/ 647 h 1315"/>
                  <a:gd name="T26" fmla="*/ 2 w 1778"/>
                  <a:gd name="T27" fmla="*/ 670 h 1315"/>
                  <a:gd name="T28" fmla="*/ 7 w 1778"/>
                  <a:gd name="T29" fmla="*/ 691 h 1315"/>
                  <a:gd name="T30" fmla="*/ 17 w 1778"/>
                  <a:gd name="T31" fmla="*/ 711 h 1315"/>
                  <a:gd name="T32" fmla="*/ 31 w 1778"/>
                  <a:gd name="T33" fmla="*/ 729 h 1315"/>
                  <a:gd name="T34" fmla="*/ 47 w 1778"/>
                  <a:gd name="T35" fmla="*/ 743 h 1315"/>
                  <a:gd name="T36" fmla="*/ 1000 w 1778"/>
                  <a:gd name="T37" fmla="*/ 1295 h 1315"/>
                  <a:gd name="T38" fmla="*/ 1011 w 1778"/>
                  <a:gd name="T39" fmla="*/ 1301 h 1315"/>
                  <a:gd name="T40" fmla="*/ 1034 w 1778"/>
                  <a:gd name="T41" fmla="*/ 1309 h 1315"/>
                  <a:gd name="T42" fmla="*/ 1059 w 1778"/>
                  <a:gd name="T43" fmla="*/ 1314 h 1315"/>
                  <a:gd name="T44" fmla="*/ 1085 w 1778"/>
                  <a:gd name="T45" fmla="*/ 1315 h 1315"/>
                  <a:gd name="T46" fmla="*/ 1110 w 1778"/>
                  <a:gd name="T47" fmla="*/ 1314 h 1315"/>
                  <a:gd name="T48" fmla="*/ 1136 w 1778"/>
                  <a:gd name="T49" fmla="*/ 1309 h 1315"/>
                  <a:gd name="T50" fmla="*/ 1160 w 1778"/>
                  <a:gd name="T51" fmla="*/ 1301 h 1315"/>
                  <a:gd name="T52" fmla="*/ 1182 w 1778"/>
                  <a:gd name="T53" fmla="*/ 1289 h 1315"/>
                  <a:gd name="T54" fmla="*/ 1743 w 1778"/>
                  <a:gd name="T55" fmla="*/ 865 h 1315"/>
                  <a:gd name="T56" fmla="*/ 1751 w 1778"/>
                  <a:gd name="T57" fmla="*/ 857 h 1315"/>
                  <a:gd name="T58" fmla="*/ 1765 w 1778"/>
                  <a:gd name="T59" fmla="*/ 842 h 1315"/>
                  <a:gd name="T60" fmla="*/ 1774 w 1778"/>
                  <a:gd name="T61" fmla="*/ 825 h 1315"/>
                  <a:gd name="T62" fmla="*/ 1778 w 1778"/>
                  <a:gd name="T63" fmla="*/ 808 h 1315"/>
                  <a:gd name="T64" fmla="*/ 1777 w 1778"/>
                  <a:gd name="T65" fmla="*/ 790 h 1315"/>
                  <a:gd name="T66" fmla="*/ 1771 w 1778"/>
                  <a:gd name="T67" fmla="*/ 774 h 1315"/>
                  <a:gd name="T68" fmla="*/ 1760 w 1778"/>
                  <a:gd name="T69" fmla="*/ 759 h 1315"/>
                  <a:gd name="T70" fmla="*/ 1744 w 1778"/>
                  <a:gd name="T71" fmla="*/ 744 h 1315"/>
                  <a:gd name="T72" fmla="*/ 1734 w 1778"/>
                  <a:gd name="T73" fmla="*/ 739 h 1315"/>
                  <a:gd name="T74" fmla="*/ 1478 w 1778"/>
                  <a:gd name="T75" fmla="*/ 906 h 1315"/>
                  <a:gd name="T76" fmla="*/ 1470 w 1778"/>
                  <a:gd name="T77" fmla="*/ 911 h 1315"/>
                  <a:gd name="T78" fmla="*/ 1451 w 1778"/>
                  <a:gd name="T79" fmla="*/ 918 h 1315"/>
                  <a:gd name="T80" fmla="*/ 1431 w 1778"/>
                  <a:gd name="T81" fmla="*/ 919 h 1315"/>
                  <a:gd name="T82" fmla="*/ 1411 w 1778"/>
                  <a:gd name="T83" fmla="*/ 914 h 1315"/>
                  <a:gd name="T84" fmla="*/ 374 w 1778"/>
                  <a:gd name="T85" fmla="*/ 317 h 1315"/>
                  <a:gd name="T86" fmla="*/ 367 w 1778"/>
                  <a:gd name="T87" fmla="*/ 311 h 1315"/>
                  <a:gd name="T88" fmla="*/ 356 w 1778"/>
                  <a:gd name="T89" fmla="*/ 297 h 1315"/>
                  <a:gd name="T90" fmla="*/ 352 w 1778"/>
                  <a:gd name="T91" fmla="*/ 281 h 1315"/>
                  <a:gd name="T92" fmla="*/ 354 w 1778"/>
                  <a:gd name="T93" fmla="*/ 263 h 1315"/>
                  <a:gd name="T94" fmla="*/ 407 w 1778"/>
                  <a:gd name="T95" fmla="*/ 171 h 1315"/>
                  <a:gd name="T96" fmla="*/ 411 w 1778"/>
                  <a:gd name="T97" fmla="*/ 163 h 1315"/>
                  <a:gd name="T98" fmla="*/ 425 w 1778"/>
                  <a:gd name="T99" fmla="*/ 152 h 1315"/>
                  <a:gd name="T100" fmla="*/ 443 w 1778"/>
                  <a:gd name="T101" fmla="*/ 147 h 1315"/>
                  <a:gd name="T102" fmla="*/ 461 w 1778"/>
                  <a:gd name="T103" fmla="*/ 150 h 1315"/>
                  <a:gd name="T104" fmla="*/ 1566 w 1778"/>
                  <a:gd name="T105" fmla="*/ 787 h 1315"/>
                  <a:gd name="T106" fmla="*/ 1573 w 1778"/>
                  <a:gd name="T107" fmla="*/ 791 h 1315"/>
                  <a:gd name="T108" fmla="*/ 1582 w 1778"/>
                  <a:gd name="T109" fmla="*/ 804 h 1315"/>
                  <a:gd name="T110" fmla="*/ 1582 w 1778"/>
                  <a:gd name="T111" fmla="*/ 818 h 1315"/>
                  <a:gd name="T112" fmla="*/ 1575 w 1778"/>
                  <a:gd name="T113" fmla="*/ 831 h 1315"/>
                  <a:gd name="T114" fmla="*/ 1569 w 1778"/>
                  <a:gd name="T115" fmla="*/ 837 h 1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78" h="1315">
                    <a:moveTo>
                      <a:pt x="1734" y="739"/>
                    </a:moveTo>
                    <a:lnTo>
                      <a:pt x="482" y="15"/>
                    </a:lnTo>
                    <a:lnTo>
                      <a:pt x="482" y="15"/>
                    </a:lnTo>
                    <a:lnTo>
                      <a:pt x="471" y="9"/>
                    </a:lnTo>
                    <a:lnTo>
                      <a:pt x="461" y="6"/>
                    </a:lnTo>
                    <a:lnTo>
                      <a:pt x="450" y="2"/>
                    </a:lnTo>
                    <a:lnTo>
                      <a:pt x="439" y="1"/>
                    </a:lnTo>
                    <a:lnTo>
                      <a:pt x="428" y="0"/>
                    </a:lnTo>
                    <a:lnTo>
                      <a:pt x="417" y="0"/>
                    </a:lnTo>
                    <a:lnTo>
                      <a:pt x="405" y="1"/>
                    </a:lnTo>
                    <a:lnTo>
                      <a:pt x="395" y="3"/>
                    </a:lnTo>
                    <a:lnTo>
                      <a:pt x="384" y="7"/>
                    </a:lnTo>
                    <a:lnTo>
                      <a:pt x="375" y="12"/>
                    </a:lnTo>
                    <a:lnTo>
                      <a:pt x="365" y="16"/>
                    </a:lnTo>
                    <a:lnTo>
                      <a:pt x="355" y="23"/>
                    </a:lnTo>
                    <a:lnTo>
                      <a:pt x="347" y="30"/>
                    </a:lnTo>
                    <a:lnTo>
                      <a:pt x="339" y="38"/>
                    </a:lnTo>
                    <a:lnTo>
                      <a:pt x="332" y="47"/>
                    </a:lnTo>
                    <a:lnTo>
                      <a:pt x="326" y="57"/>
                    </a:lnTo>
                    <a:lnTo>
                      <a:pt x="16" y="593"/>
                    </a:lnTo>
                    <a:lnTo>
                      <a:pt x="16" y="593"/>
                    </a:lnTo>
                    <a:lnTo>
                      <a:pt x="10" y="604"/>
                    </a:lnTo>
                    <a:lnTo>
                      <a:pt x="6" y="615"/>
                    </a:lnTo>
                    <a:lnTo>
                      <a:pt x="3" y="626"/>
                    </a:lnTo>
                    <a:lnTo>
                      <a:pt x="2" y="637"/>
                    </a:lnTo>
                    <a:lnTo>
                      <a:pt x="0" y="647"/>
                    </a:lnTo>
                    <a:lnTo>
                      <a:pt x="0" y="659"/>
                    </a:lnTo>
                    <a:lnTo>
                      <a:pt x="2" y="670"/>
                    </a:lnTo>
                    <a:lnTo>
                      <a:pt x="4" y="680"/>
                    </a:lnTo>
                    <a:lnTo>
                      <a:pt x="7" y="691"/>
                    </a:lnTo>
                    <a:lnTo>
                      <a:pt x="12" y="701"/>
                    </a:lnTo>
                    <a:lnTo>
                      <a:pt x="17" y="711"/>
                    </a:lnTo>
                    <a:lnTo>
                      <a:pt x="24" y="720"/>
                    </a:lnTo>
                    <a:lnTo>
                      <a:pt x="31" y="729"/>
                    </a:lnTo>
                    <a:lnTo>
                      <a:pt x="39" y="736"/>
                    </a:lnTo>
                    <a:lnTo>
                      <a:pt x="47" y="743"/>
                    </a:lnTo>
                    <a:lnTo>
                      <a:pt x="58" y="750"/>
                    </a:lnTo>
                    <a:lnTo>
                      <a:pt x="1000" y="1295"/>
                    </a:lnTo>
                    <a:lnTo>
                      <a:pt x="1000" y="1295"/>
                    </a:lnTo>
                    <a:lnTo>
                      <a:pt x="1011" y="1301"/>
                    </a:lnTo>
                    <a:lnTo>
                      <a:pt x="1023" y="1305"/>
                    </a:lnTo>
                    <a:lnTo>
                      <a:pt x="1034" y="1309"/>
                    </a:lnTo>
                    <a:lnTo>
                      <a:pt x="1046" y="1311"/>
                    </a:lnTo>
                    <a:lnTo>
                      <a:pt x="1059" y="1314"/>
                    </a:lnTo>
                    <a:lnTo>
                      <a:pt x="1072" y="1315"/>
                    </a:lnTo>
                    <a:lnTo>
                      <a:pt x="1085" y="1315"/>
                    </a:lnTo>
                    <a:lnTo>
                      <a:pt x="1097" y="1315"/>
                    </a:lnTo>
                    <a:lnTo>
                      <a:pt x="1110" y="1314"/>
                    </a:lnTo>
                    <a:lnTo>
                      <a:pt x="1123" y="1311"/>
                    </a:lnTo>
                    <a:lnTo>
                      <a:pt x="1136" y="1309"/>
                    </a:lnTo>
                    <a:lnTo>
                      <a:pt x="1148" y="1305"/>
                    </a:lnTo>
                    <a:lnTo>
                      <a:pt x="1160" y="1301"/>
                    </a:lnTo>
                    <a:lnTo>
                      <a:pt x="1171" y="1296"/>
                    </a:lnTo>
                    <a:lnTo>
                      <a:pt x="1182" y="1289"/>
                    </a:lnTo>
                    <a:lnTo>
                      <a:pt x="1191" y="1283"/>
                    </a:lnTo>
                    <a:lnTo>
                      <a:pt x="1743" y="865"/>
                    </a:lnTo>
                    <a:lnTo>
                      <a:pt x="1743" y="865"/>
                    </a:lnTo>
                    <a:lnTo>
                      <a:pt x="1751" y="857"/>
                    </a:lnTo>
                    <a:lnTo>
                      <a:pt x="1759" y="850"/>
                    </a:lnTo>
                    <a:lnTo>
                      <a:pt x="1765" y="842"/>
                    </a:lnTo>
                    <a:lnTo>
                      <a:pt x="1771" y="833"/>
                    </a:lnTo>
                    <a:lnTo>
                      <a:pt x="1774" y="825"/>
                    </a:lnTo>
                    <a:lnTo>
                      <a:pt x="1777" y="816"/>
                    </a:lnTo>
                    <a:lnTo>
                      <a:pt x="1778" y="808"/>
                    </a:lnTo>
                    <a:lnTo>
                      <a:pt x="1778" y="800"/>
                    </a:lnTo>
                    <a:lnTo>
                      <a:pt x="1777" y="790"/>
                    </a:lnTo>
                    <a:lnTo>
                      <a:pt x="1774" y="782"/>
                    </a:lnTo>
                    <a:lnTo>
                      <a:pt x="1771" y="774"/>
                    </a:lnTo>
                    <a:lnTo>
                      <a:pt x="1766" y="766"/>
                    </a:lnTo>
                    <a:lnTo>
                      <a:pt x="1760" y="759"/>
                    </a:lnTo>
                    <a:lnTo>
                      <a:pt x="1753" y="752"/>
                    </a:lnTo>
                    <a:lnTo>
                      <a:pt x="1744" y="744"/>
                    </a:lnTo>
                    <a:lnTo>
                      <a:pt x="1734" y="739"/>
                    </a:lnTo>
                    <a:lnTo>
                      <a:pt x="1734" y="739"/>
                    </a:lnTo>
                    <a:close/>
                    <a:moveTo>
                      <a:pt x="1569" y="837"/>
                    </a:moveTo>
                    <a:lnTo>
                      <a:pt x="1478" y="906"/>
                    </a:lnTo>
                    <a:lnTo>
                      <a:pt x="1478" y="906"/>
                    </a:lnTo>
                    <a:lnTo>
                      <a:pt x="1470" y="911"/>
                    </a:lnTo>
                    <a:lnTo>
                      <a:pt x="1462" y="915"/>
                    </a:lnTo>
                    <a:lnTo>
                      <a:pt x="1451" y="918"/>
                    </a:lnTo>
                    <a:lnTo>
                      <a:pt x="1441" y="919"/>
                    </a:lnTo>
                    <a:lnTo>
                      <a:pt x="1431" y="919"/>
                    </a:lnTo>
                    <a:lnTo>
                      <a:pt x="1421" y="918"/>
                    </a:lnTo>
                    <a:lnTo>
                      <a:pt x="1411" y="914"/>
                    </a:lnTo>
                    <a:lnTo>
                      <a:pt x="1402" y="911"/>
                    </a:lnTo>
                    <a:lnTo>
                      <a:pt x="374" y="317"/>
                    </a:lnTo>
                    <a:lnTo>
                      <a:pt x="374" y="317"/>
                    </a:lnTo>
                    <a:lnTo>
                      <a:pt x="367" y="311"/>
                    </a:lnTo>
                    <a:lnTo>
                      <a:pt x="361" y="305"/>
                    </a:lnTo>
                    <a:lnTo>
                      <a:pt x="356" y="297"/>
                    </a:lnTo>
                    <a:lnTo>
                      <a:pt x="353" y="289"/>
                    </a:lnTo>
                    <a:lnTo>
                      <a:pt x="352" y="281"/>
                    </a:lnTo>
                    <a:lnTo>
                      <a:pt x="352" y="271"/>
                    </a:lnTo>
                    <a:lnTo>
                      <a:pt x="354" y="263"/>
                    </a:lnTo>
                    <a:lnTo>
                      <a:pt x="357" y="255"/>
                    </a:lnTo>
                    <a:lnTo>
                      <a:pt x="407" y="171"/>
                    </a:lnTo>
                    <a:lnTo>
                      <a:pt x="407" y="171"/>
                    </a:lnTo>
                    <a:lnTo>
                      <a:pt x="411" y="163"/>
                    </a:lnTo>
                    <a:lnTo>
                      <a:pt x="418" y="157"/>
                    </a:lnTo>
                    <a:lnTo>
                      <a:pt x="425" y="152"/>
                    </a:lnTo>
                    <a:lnTo>
                      <a:pt x="434" y="149"/>
                    </a:lnTo>
                    <a:lnTo>
                      <a:pt x="443" y="147"/>
                    </a:lnTo>
                    <a:lnTo>
                      <a:pt x="451" y="147"/>
                    </a:lnTo>
                    <a:lnTo>
                      <a:pt x="461" y="150"/>
                    </a:lnTo>
                    <a:lnTo>
                      <a:pt x="469" y="153"/>
                    </a:lnTo>
                    <a:lnTo>
                      <a:pt x="1566" y="787"/>
                    </a:lnTo>
                    <a:lnTo>
                      <a:pt x="1566" y="787"/>
                    </a:lnTo>
                    <a:lnTo>
                      <a:pt x="1573" y="791"/>
                    </a:lnTo>
                    <a:lnTo>
                      <a:pt x="1579" y="798"/>
                    </a:lnTo>
                    <a:lnTo>
                      <a:pt x="1582" y="804"/>
                    </a:lnTo>
                    <a:lnTo>
                      <a:pt x="1583" y="811"/>
                    </a:lnTo>
                    <a:lnTo>
                      <a:pt x="1582" y="818"/>
                    </a:lnTo>
                    <a:lnTo>
                      <a:pt x="1580" y="825"/>
                    </a:lnTo>
                    <a:lnTo>
                      <a:pt x="1575" y="831"/>
                    </a:lnTo>
                    <a:lnTo>
                      <a:pt x="1569" y="837"/>
                    </a:lnTo>
                    <a:lnTo>
                      <a:pt x="1569" y="837"/>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6" name="Freeform 18"/>
              <p:cNvSpPr>
                <a:spLocks/>
              </p:cNvSpPr>
              <p:nvPr/>
            </p:nvSpPr>
            <p:spPr bwMode="auto">
              <a:xfrm>
                <a:off x="5389512" y="3274622"/>
                <a:ext cx="137024" cy="120862"/>
              </a:xfrm>
              <a:custGeom>
                <a:avLst/>
                <a:gdLst>
                  <a:gd name="T0" fmla="*/ 1030 w 1172"/>
                  <a:gd name="T1" fmla="*/ 0 h 1034"/>
                  <a:gd name="T2" fmla="*/ 623 w 1172"/>
                  <a:gd name="T3" fmla="*/ 404 h 1034"/>
                  <a:gd name="T4" fmla="*/ 619 w 1172"/>
                  <a:gd name="T5" fmla="*/ 404 h 1034"/>
                  <a:gd name="T6" fmla="*/ 588 w 1172"/>
                  <a:gd name="T7" fmla="*/ 407 h 1034"/>
                  <a:gd name="T8" fmla="*/ 561 w 1172"/>
                  <a:gd name="T9" fmla="*/ 417 h 1034"/>
                  <a:gd name="T10" fmla="*/ 537 w 1172"/>
                  <a:gd name="T11" fmla="*/ 431 h 1034"/>
                  <a:gd name="T12" fmla="*/ 516 w 1172"/>
                  <a:gd name="T13" fmla="*/ 450 h 1034"/>
                  <a:gd name="T14" fmla="*/ 283 w 1172"/>
                  <a:gd name="T15" fmla="*/ 215 h 1034"/>
                  <a:gd name="T16" fmla="*/ 281 w 1172"/>
                  <a:gd name="T17" fmla="*/ 200 h 1034"/>
                  <a:gd name="T18" fmla="*/ 272 w 1172"/>
                  <a:gd name="T19" fmla="*/ 172 h 1034"/>
                  <a:gd name="T20" fmla="*/ 256 w 1172"/>
                  <a:gd name="T21" fmla="*/ 145 h 1034"/>
                  <a:gd name="T22" fmla="*/ 233 w 1172"/>
                  <a:gd name="T23" fmla="*/ 125 h 1034"/>
                  <a:gd name="T24" fmla="*/ 64 w 1172"/>
                  <a:gd name="T25" fmla="*/ 47 h 1034"/>
                  <a:gd name="T26" fmla="*/ 51 w 1172"/>
                  <a:gd name="T27" fmla="*/ 43 h 1034"/>
                  <a:gd name="T28" fmla="*/ 39 w 1172"/>
                  <a:gd name="T29" fmla="*/ 42 h 1034"/>
                  <a:gd name="T30" fmla="*/ 28 w 1172"/>
                  <a:gd name="T31" fmla="*/ 43 h 1034"/>
                  <a:gd name="T32" fmla="*/ 19 w 1172"/>
                  <a:gd name="T33" fmla="*/ 48 h 1034"/>
                  <a:gd name="T34" fmla="*/ 11 w 1172"/>
                  <a:gd name="T35" fmla="*/ 54 h 1034"/>
                  <a:gd name="T36" fmla="*/ 5 w 1172"/>
                  <a:gd name="T37" fmla="*/ 63 h 1034"/>
                  <a:gd name="T38" fmla="*/ 2 w 1172"/>
                  <a:gd name="T39" fmla="*/ 75 h 1034"/>
                  <a:gd name="T40" fmla="*/ 0 w 1172"/>
                  <a:gd name="T41" fmla="*/ 988 h 1034"/>
                  <a:gd name="T42" fmla="*/ 2 w 1172"/>
                  <a:gd name="T43" fmla="*/ 1001 h 1034"/>
                  <a:gd name="T44" fmla="*/ 5 w 1172"/>
                  <a:gd name="T45" fmla="*/ 1013 h 1034"/>
                  <a:gd name="T46" fmla="*/ 11 w 1172"/>
                  <a:gd name="T47" fmla="*/ 1021 h 1034"/>
                  <a:gd name="T48" fmla="*/ 19 w 1172"/>
                  <a:gd name="T49" fmla="*/ 1028 h 1034"/>
                  <a:gd name="T50" fmla="*/ 28 w 1172"/>
                  <a:gd name="T51" fmla="*/ 1033 h 1034"/>
                  <a:gd name="T52" fmla="*/ 39 w 1172"/>
                  <a:gd name="T53" fmla="*/ 1034 h 1034"/>
                  <a:gd name="T54" fmla="*/ 51 w 1172"/>
                  <a:gd name="T55" fmla="*/ 1033 h 1034"/>
                  <a:gd name="T56" fmla="*/ 221 w 1172"/>
                  <a:gd name="T57" fmla="*/ 958 h 1034"/>
                  <a:gd name="T58" fmla="*/ 233 w 1172"/>
                  <a:gd name="T59" fmla="*/ 951 h 1034"/>
                  <a:gd name="T60" fmla="*/ 256 w 1172"/>
                  <a:gd name="T61" fmla="*/ 931 h 1034"/>
                  <a:gd name="T62" fmla="*/ 272 w 1172"/>
                  <a:gd name="T63" fmla="*/ 904 h 1034"/>
                  <a:gd name="T64" fmla="*/ 281 w 1172"/>
                  <a:gd name="T65" fmla="*/ 876 h 1034"/>
                  <a:gd name="T66" fmla="*/ 283 w 1172"/>
                  <a:gd name="T67" fmla="*/ 652 h 1034"/>
                  <a:gd name="T68" fmla="*/ 534 w 1172"/>
                  <a:gd name="T69" fmla="*/ 652 h 1034"/>
                  <a:gd name="T70" fmla="*/ 552 w 1172"/>
                  <a:gd name="T71" fmla="*/ 664 h 1034"/>
                  <a:gd name="T72" fmla="*/ 573 w 1172"/>
                  <a:gd name="T73" fmla="*/ 673 h 1034"/>
                  <a:gd name="T74" fmla="*/ 595 w 1172"/>
                  <a:gd name="T75" fmla="*/ 679 h 1034"/>
                  <a:gd name="T76" fmla="*/ 619 w 1172"/>
                  <a:gd name="T77" fmla="*/ 681 h 1034"/>
                  <a:gd name="T78" fmla="*/ 631 w 1172"/>
                  <a:gd name="T79" fmla="*/ 680 h 1034"/>
                  <a:gd name="T80" fmla="*/ 657 w 1172"/>
                  <a:gd name="T81" fmla="*/ 676 h 1034"/>
                  <a:gd name="T82" fmla="*/ 681 w 1172"/>
                  <a:gd name="T83" fmla="*/ 666 h 1034"/>
                  <a:gd name="T84" fmla="*/ 702 w 1172"/>
                  <a:gd name="T85" fmla="*/ 652 h 1034"/>
                  <a:gd name="T86" fmla="*/ 720 w 1172"/>
                  <a:gd name="T87" fmla="*/ 636 h 1034"/>
                  <a:gd name="T88" fmla="*/ 736 w 1172"/>
                  <a:gd name="T89" fmla="*/ 616 h 1034"/>
                  <a:gd name="T90" fmla="*/ 747 w 1172"/>
                  <a:gd name="T91" fmla="*/ 592 h 1034"/>
                  <a:gd name="T92" fmla="*/ 754 w 1172"/>
                  <a:gd name="T93" fmla="*/ 568 h 1034"/>
                  <a:gd name="T94" fmla="*/ 756 w 1172"/>
                  <a:gd name="T95" fmla="*/ 555 h 1034"/>
                  <a:gd name="T96" fmla="*/ 911 w 1172"/>
                  <a:gd name="T97" fmla="*/ 403 h 1034"/>
                  <a:gd name="T98" fmla="*/ 1030 w 1172"/>
                  <a:gd name="T99" fmla="*/ 0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2" h="1034">
                    <a:moveTo>
                      <a:pt x="1030" y="0"/>
                    </a:moveTo>
                    <a:lnTo>
                      <a:pt x="1030" y="0"/>
                    </a:lnTo>
                    <a:lnTo>
                      <a:pt x="623" y="404"/>
                    </a:lnTo>
                    <a:lnTo>
                      <a:pt x="623" y="404"/>
                    </a:lnTo>
                    <a:lnTo>
                      <a:pt x="619" y="404"/>
                    </a:lnTo>
                    <a:lnTo>
                      <a:pt x="619" y="404"/>
                    </a:lnTo>
                    <a:lnTo>
                      <a:pt x="603" y="405"/>
                    </a:lnTo>
                    <a:lnTo>
                      <a:pt x="588" y="407"/>
                    </a:lnTo>
                    <a:lnTo>
                      <a:pt x="574" y="411"/>
                    </a:lnTo>
                    <a:lnTo>
                      <a:pt x="561" y="417"/>
                    </a:lnTo>
                    <a:lnTo>
                      <a:pt x="548" y="423"/>
                    </a:lnTo>
                    <a:lnTo>
                      <a:pt x="537" y="431"/>
                    </a:lnTo>
                    <a:lnTo>
                      <a:pt x="525" y="440"/>
                    </a:lnTo>
                    <a:lnTo>
                      <a:pt x="516" y="450"/>
                    </a:lnTo>
                    <a:lnTo>
                      <a:pt x="283" y="450"/>
                    </a:lnTo>
                    <a:lnTo>
                      <a:pt x="283" y="215"/>
                    </a:lnTo>
                    <a:lnTo>
                      <a:pt x="283" y="215"/>
                    </a:lnTo>
                    <a:lnTo>
                      <a:pt x="281" y="200"/>
                    </a:lnTo>
                    <a:lnTo>
                      <a:pt x="278" y="186"/>
                    </a:lnTo>
                    <a:lnTo>
                      <a:pt x="272" y="172"/>
                    </a:lnTo>
                    <a:lnTo>
                      <a:pt x="265" y="158"/>
                    </a:lnTo>
                    <a:lnTo>
                      <a:pt x="256" y="145"/>
                    </a:lnTo>
                    <a:lnTo>
                      <a:pt x="245" y="135"/>
                    </a:lnTo>
                    <a:lnTo>
                      <a:pt x="233" y="125"/>
                    </a:lnTo>
                    <a:lnTo>
                      <a:pt x="221" y="118"/>
                    </a:lnTo>
                    <a:lnTo>
                      <a:pt x="64" y="47"/>
                    </a:lnTo>
                    <a:lnTo>
                      <a:pt x="64" y="47"/>
                    </a:lnTo>
                    <a:lnTo>
                      <a:pt x="51" y="43"/>
                    </a:lnTo>
                    <a:lnTo>
                      <a:pt x="45" y="42"/>
                    </a:lnTo>
                    <a:lnTo>
                      <a:pt x="39" y="42"/>
                    </a:lnTo>
                    <a:lnTo>
                      <a:pt x="33" y="42"/>
                    </a:lnTo>
                    <a:lnTo>
                      <a:pt x="28" y="43"/>
                    </a:lnTo>
                    <a:lnTo>
                      <a:pt x="24" y="46"/>
                    </a:lnTo>
                    <a:lnTo>
                      <a:pt x="19" y="48"/>
                    </a:lnTo>
                    <a:lnTo>
                      <a:pt x="14" y="50"/>
                    </a:lnTo>
                    <a:lnTo>
                      <a:pt x="11" y="54"/>
                    </a:lnTo>
                    <a:lnTo>
                      <a:pt x="9" y="58"/>
                    </a:lnTo>
                    <a:lnTo>
                      <a:pt x="5" y="63"/>
                    </a:lnTo>
                    <a:lnTo>
                      <a:pt x="3" y="69"/>
                    </a:lnTo>
                    <a:lnTo>
                      <a:pt x="2" y="75"/>
                    </a:lnTo>
                    <a:lnTo>
                      <a:pt x="0" y="88"/>
                    </a:lnTo>
                    <a:lnTo>
                      <a:pt x="0" y="988"/>
                    </a:lnTo>
                    <a:lnTo>
                      <a:pt x="0" y="988"/>
                    </a:lnTo>
                    <a:lnTo>
                      <a:pt x="2" y="1001"/>
                    </a:lnTo>
                    <a:lnTo>
                      <a:pt x="3" y="1007"/>
                    </a:lnTo>
                    <a:lnTo>
                      <a:pt x="5" y="1013"/>
                    </a:lnTo>
                    <a:lnTo>
                      <a:pt x="9" y="1017"/>
                    </a:lnTo>
                    <a:lnTo>
                      <a:pt x="11" y="1021"/>
                    </a:lnTo>
                    <a:lnTo>
                      <a:pt x="14" y="1026"/>
                    </a:lnTo>
                    <a:lnTo>
                      <a:pt x="19" y="1028"/>
                    </a:lnTo>
                    <a:lnTo>
                      <a:pt x="24" y="1030"/>
                    </a:lnTo>
                    <a:lnTo>
                      <a:pt x="28" y="1033"/>
                    </a:lnTo>
                    <a:lnTo>
                      <a:pt x="33" y="1034"/>
                    </a:lnTo>
                    <a:lnTo>
                      <a:pt x="39" y="1034"/>
                    </a:lnTo>
                    <a:lnTo>
                      <a:pt x="45" y="1034"/>
                    </a:lnTo>
                    <a:lnTo>
                      <a:pt x="51" y="1033"/>
                    </a:lnTo>
                    <a:lnTo>
                      <a:pt x="64" y="1028"/>
                    </a:lnTo>
                    <a:lnTo>
                      <a:pt x="221" y="958"/>
                    </a:lnTo>
                    <a:lnTo>
                      <a:pt x="221" y="958"/>
                    </a:lnTo>
                    <a:lnTo>
                      <a:pt x="233" y="951"/>
                    </a:lnTo>
                    <a:lnTo>
                      <a:pt x="245" y="941"/>
                    </a:lnTo>
                    <a:lnTo>
                      <a:pt x="256" y="931"/>
                    </a:lnTo>
                    <a:lnTo>
                      <a:pt x="265" y="918"/>
                    </a:lnTo>
                    <a:lnTo>
                      <a:pt x="272" y="904"/>
                    </a:lnTo>
                    <a:lnTo>
                      <a:pt x="278" y="890"/>
                    </a:lnTo>
                    <a:lnTo>
                      <a:pt x="281" y="876"/>
                    </a:lnTo>
                    <a:lnTo>
                      <a:pt x="283" y="861"/>
                    </a:lnTo>
                    <a:lnTo>
                      <a:pt x="283" y="652"/>
                    </a:lnTo>
                    <a:lnTo>
                      <a:pt x="534" y="652"/>
                    </a:lnTo>
                    <a:lnTo>
                      <a:pt x="534" y="652"/>
                    </a:lnTo>
                    <a:lnTo>
                      <a:pt x="542" y="658"/>
                    </a:lnTo>
                    <a:lnTo>
                      <a:pt x="552" y="664"/>
                    </a:lnTo>
                    <a:lnTo>
                      <a:pt x="562" y="670"/>
                    </a:lnTo>
                    <a:lnTo>
                      <a:pt x="573" y="673"/>
                    </a:lnTo>
                    <a:lnTo>
                      <a:pt x="583" y="677"/>
                    </a:lnTo>
                    <a:lnTo>
                      <a:pt x="595" y="679"/>
                    </a:lnTo>
                    <a:lnTo>
                      <a:pt x="607" y="680"/>
                    </a:lnTo>
                    <a:lnTo>
                      <a:pt x="619" y="681"/>
                    </a:lnTo>
                    <a:lnTo>
                      <a:pt x="619" y="681"/>
                    </a:lnTo>
                    <a:lnTo>
                      <a:pt x="631" y="680"/>
                    </a:lnTo>
                    <a:lnTo>
                      <a:pt x="644" y="679"/>
                    </a:lnTo>
                    <a:lnTo>
                      <a:pt x="657" y="676"/>
                    </a:lnTo>
                    <a:lnTo>
                      <a:pt x="669" y="672"/>
                    </a:lnTo>
                    <a:lnTo>
                      <a:pt x="681" y="666"/>
                    </a:lnTo>
                    <a:lnTo>
                      <a:pt x="692" y="660"/>
                    </a:lnTo>
                    <a:lnTo>
                      <a:pt x="702" y="652"/>
                    </a:lnTo>
                    <a:lnTo>
                      <a:pt x="712" y="645"/>
                    </a:lnTo>
                    <a:lnTo>
                      <a:pt x="720" y="636"/>
                    </a:lnTo>
                    <a:lnTo>
                      <a:pt x="729" y="626"/>
                    </a:lnTo>
                    <a:lnTo>
                      <a:pt x="736" y="616"/>
                    </a:lnTo>
                    <a:lnTo>
                      <a:pt x="742" y="604"/>
                    </a:lnTo>
                    <a:lnTo>
                      <a:pt x="747" y="592"/>
                    </a:lnTo>
                    <a:lnTo>
                      <a:pt x="751" y="581"/>
                    </a:lnTo>
                    <a:lnTo>
                      <a:pt x="754" y="568"/>
                    </a:lnTo>
                    <a:lnTo>
                      <a:pt x="756" y="555"/>
                    </a:lnTo>
                    <a:lnTo>
                      <a:pt x="756" y="555"/>
                    </a:lnTo>
                    <a:lnTo>
                      <a:pt x="822" y="491"/>
                    </a:lnTo>
                    <a:lnTo>
                      <a:pt x="911" y="403"/>
                    </a:lnTo>
                    <a:lnTo>
                      <a:pt x="1172" y="143"/>
                    </a:lnTo>
                    <a:lnTo>
                      <a:pt x="1030" y="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90" name="Group 89"/>
            <p:cNvGrpSpPr/>
            <p:nvPr/>
          </p:nvGrpSpPr>
          <p:grpSpPr>
            <a:xfrm>
              <a:off x="5510515" y="3387467"/>
              <a:ext cx="248468" cy="371623"/>
              <a:chOff x="7318669" y="2841239"/>
              <a:chExt cx="324255" cy="484975"/>
            </a:xfrm>
            <a:solidFill>
              <a:srgbClr val="96C414"/>
            </a:solidFill>
          </p:grpSpPr>
          <p:grpSp>
            <p:nvGrpSpPr>
              <p:cNvPr id="101" name="Group 100"/>
              <p:cNvGrpSpPr/>
              <p:nvPr/>
            </p:nvGrpSpPr>
            <p:grpSpPr>
              <a:xfrm rot="18838402">
                <a:off x="7415851" y="2841239"/>
                <a:ext cx="136144" cy="136143"/>
                <a:chOff x="1650932" y="1419541"/>
                <a:chExt cx="241187" cy="241186"/>
              </a:xfrm>
              <a:grpFill/>
            </p:grpSpPr>
            <p:sp>
              <p:nvSpPr>
                <p:cNvPr id="103" name="Freeform 45"/>
                <p:cNvSpPr>
                  <a:spLocks/>
                </p:cNvSpPr>
                <p:nvPr/>
              </p:nvSpPr>
              <p:spPr bwMode="auto">
                <a:xfrm>
                  <a:off x="1650932" y="1516367"/>
                  <a:ext cx="144360" cy="144360"/>
                </a:xfrm>
                <a:custGeom>
                  <a:avLst/>
                  <a:gdLst>
                    <a:gd name="T0" fmla="*/ 400 w 492"/>
                    <a:gd name="T1" fmla="*/ 493 h 493"/>
                    <a:gd name="T2" fmla="*/ 377 w 492"/>
                    <a:gd name="T3" fmla="*/ 487 h 493"/>
                    <a:gd name="T4" fmla="*/ 356 w 492"/>
                    <a:gd name="T5" fmla="*/ 475 h 493"/>
                    <a:gd name="T6" fmla="*/ 340 w 492"/>
                    <a:gd name="T7" fmla="*/ 456 h 493"/>
                    <a:gd name="T8" fmla="*/ 329 w 492"/>
                    <a:gd name="T9" fmla="*/ 434 h 493"/>
                    <a:gd name="T10" fmla="*/ 325 w 492"/>
                    <a:gd name="T11" fmla="*/ 410 h 493"/>
                    <a:gd name="T12" fmla="*/ 324 w 492"/>
                    <a:gd name="T13" fmla="*/ 385 h 493"/>
                    <a:gd name="T14" fmla="*/ 307 w 492"/>
                    <a:gd name="T15" fmla="*/ 315 h 493"/>
                    <a:gd name="T16" fmla="*/ 270 w 492"/>
                    <a:gd name="T17" fmla="*/ 257 h 493"/>
                    <a:gd name="T18" fmla="*/ 255 w 492"/>
                    <a:gd name="T19" fmla="*/ 239 h 493"/>
                    <a:gd name="T20" fmla="*/ 199 w 492"/>
                    <a:gd name="T21" fmla="*/ 198 h 493"/>
                    <a:gd name="T22" fmla="*/ 132 w 492"/>
                    <a:gd name="T23" fmla="*/ 174 h 493"/>
                    <a:gd name="T24" fmla="*/ 84 w 492"/>
                    <a:gd name="T25" fmla="*/ 168 h 493"/>
                    <a:gd name="T26" fmla="*/ 67 w 492"/>
                    <a:gd name="T27" fmla="*/ 167 h 493"/>
                    <a:gd name="T28" fmla="*/ 44 w 492"/>
                    <a:gd name="T29" fmla="*/ 159 h 493"/>
                    <a:gd name="T30" fmla="*/ 24 w 492"/>
                    <a:gd name="T31" fmla="*/ 144 h 493"/>
                    <a:gd name="T32" fmla="*/ 10 w 492"/>
                    <a:gd name="T33" fmla="*/ 124 h 493"/>
                    <a:gd name="T34" fmla="*/ 2 w 492"/>
                    <a:gd name="T35" fmla="*/ 102 h 493"/>
                    <a:gd name="T36" fmla="*/ 0 w 492"/>
                    <a:gd name="T37" fmla="*/ 85 h 493"/>
                    <a:gd name="T38" fmla="*/ 2 w 492"/>
                    <a:gd name="T39" fmla="*/ 67 h 493"/>
                    <a:gd name="T40" fmla="*/ 10 w 492"/>
                    <a:gd name="T41" fmla="*/ 44 h 493"/>
                    <a:gd name="T42" fmla="*/ 25 w 492"/>
                    <a:gd name="T43" fmla="*/ 25 h 493"/>
                    <a:gd name="T44" fmla="*/ 44 w 492"/>
                    <a:gd name="T45" fmla="*/ 11 h 493"/>
                    <a:gd name="T46" fmla="*/ 67 w 492"/>
                    <a:gd name="T47" fmla="*/ 3 h 493"/>
                    <a:gd name="T48" fmla="*/ 84 w 492"/>
                    <a:gd name="T49" fmla="*/ 0 h 493"/>
                    <a:gd name="T50" fmla="*/ 125 w 492"/>
                    <a:gd name="T51" fmla="*/ 3 h 493"/>
                    <a:gd name="T52" fmla="*/ 185 w 492"/>
                    <a:gd name="T53" fmla="*/ 13 h 493"/>
                    <a:gd name="T54" fmla="*/ 243 w 492"/>
                    <a:gd name="T55" fmla="*/ 33 h 493"/>
                    <a:gd name="T56" fmla="*/ 296 w 492"/>
                    <a:gd name="T57" fmla="*/ 60 h 493"/>
                    <a:gd name="T58" fmla="*/ 344 w 492"/>
                    <a:gd name="T59" fmla="*/ 94 h 493"/>
                    <a:gd name="T60" fmla="*/ 372 w 492"/>
                    <a:gd name="T61" fmla="*/ 120 h 493"/>
                    <a:gd name="T62" fmla="*/ 399 w 492"/>
                    <a:gd name="T63" fmla="*/ 149 h 493"/>
                    <a:gd name="T64" fmla="*/ 434 w 492"/>
                    <a:gd name="T65" fmla="*/ 198 h 493"/>
                    <a:gd name="T66" fmla="*/ 460 w 492"/>
                    <a:gd name="T67" fmla="*/ 251 h 493"/>
                    <a:gd name="T68" fmla="*/ 480 w 492"/>
                    <a:gd name="T69" fmla="*/ 307 h 493"/>
                    <a:gd name="T70" fmla="*/ 490 w 492"/>
                    <a:gd name="T71" fmla="*/ 367 h 493"/>
                    <a:gd name="T72" fmla="*/ 492 w 492"/>
                    <a:gd name="T73" fmla="*/ 409 h 493"/>
                    <a:gd name="T74" fmla="*/ 491 w 492"/>
                    <a:gd name="T75" fmla="*/ 426 h 493"/>
                    <a:gd name="T76" fmla="*/ 483 w 492"/>
                    <a:gd name="T77" fmla="*/ 449 h 493"/>
                    <a:gd name="T78" fmla="*/ 468 w 492"/>
                    <a:gd name="T79" fmla="*/ 469 h 493"/>
                    <a:gd name="T80" fmla="*/ 462 w 492"/>
                    <a:gd name="T81" fmla="*/ 475 h 493"/>
                    <a:gd name="T82" fmla="*/ 442 w 492"/>
                    <a:gd name="T83" fmla="*/ 487 h 493"/>
                    <a:gd name="T84" fmla="*/ 417 w 492"/>
                    <a:gd name="T85"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2" h="493">
                      <a:moveTo>
                        <a:pt x="409" y="493"/>
                      </a:moveTo>
                      <a:lnTo>
                        <a:pt x="409" y="493"/>
                      </a:lnTo>
                      <a:lnTo>
                        <a:pt x="400" y="493"/>
                      </a:lnTo>
                      <a:lnTo>
                        <a:pt x="392" y="492"/>
                      </a:lnTo>
                      <a:lnTo>
                        <a:pt x="384" y="490"/>
                      </a:lnTo>
                      <a:lnTo>
                        <a:pt x="377" y="487"/>
                      </a:lnTo>
                      <a:lnTo>
                        <a:pt x="369" y="484"/>
                      </a:lnTo>
                      <a:lnTo>
                        <a:pt x="362" y="479"/>
                      </a:lnTo>
                      <a:lnTo>
                        <a:pt x="356" y="475"/>
                      </a:lnTo>
                      <a:lnTo>
                        <a:pt x="349" y="469"/>
                      </a:lnTo>
                      <a:lnTo>
                        <a:pt x="345" y="463"/>
                      </a:lnTo>
                      <a:lnTo>
                        <a:pt x="340" y="456"/>
                      </a:lnTo>
                      <a:lnTo>
                        <a:pt x="335" y="449"/>
                      </a:lnTo>
                      <a:lnTo>
                        <a:pt x="332" y="442"/>
                      </a:lnTo>
                      <a:lnTo>
                        <a:pt x="329" y="434"/>
                      </a:lnTo>
                      <a:lnTo>
                        <a:pt x="327" y="426"/>
                      </a:lnTo>
                      <a:lnTo>
                        <a:pt x="326" y="418"/>
                      </a:lnTo>
                      <a:lnTo>
                        <a:pt x="325" y="410"/>
                      </a:lnTo>
                      <a:lnTo>
                        <a:pt x="325" y="410"/>
                      </a:lnTo>
                      <a:lnTo>
                        <a:pt x="325" y="410"/>
                      </a:lnTo>
                      <a:lnTo>
                        <a:pt x="324" y="385"/>
                      </a:lnTo>
                      <a:lnTo>
                        <a:pt x="320" y="360"/>
                      </a:lnTo>
                      <a:lnTo>
                        <a:pt x="315" y="337"/>
                      </a:lnTo>
                      <a:lnTo>
                        <a:pt x="307" y="315"/>
                      </a:lnTo>
                      <a:lnTo>
                        <a:pt x="296" y="295"/>
                      </a:lnTo>
                      <a:lnTo>
                        <a:pt x="284" y="275"/>
                      </a:lnTo>
                      <a:lnTo>
                        <a:pt x="270" y="257"/>
                      </a:lnTo>
                      <a:lnTo>
                        <a:pt x="255" y="239"/>
                      </a:lnTo>
                      <a:lnTo>
                        <a:pt x="255" y="239"/>
                      </a:lnTo>
                      <a:lnTo>
                        <a:pt x="255" y="239"/>
                      </a:lnTo>
                      <a:lnTo>
                        <a:pt x="237" y="223"/>
                      </a:lnTo>
                      <a:lnTo>
                        <a:pt x="219" y="209"/>
                      </a:lnTo>
                      <a:lnTo>
                        <a:pt x="199" y="198"/>
                      </a:lnTo>
                      <a:lnTo>
                        <a:pt x="177" y="187"/>
                      </a:lnTo>
                      <a:lnTo>
                        <a:pt x="155" y="179"/>
                      </a:lnTo>
                      <a:lnTo>
                        <a:pt x="132" y="174"/>
                      </a:lnTo>
                      <a:lnTo>
                        <a:pt x="108" y="169"/>
                      </a:lnTo>
                      <a:lnTo>
                        <a:pt x="84" y="168"/>
                      </a:lnTo>
                      <a:lnTo>
                        <a:pt x="84" y="168"/>
                      </a:lnTo>
                      <a:lnTo>
                        <a:pt x="84" y="168"/>
                      </a:lnTo>
                      <a:lnTo>
                        <a:pt x="75" y="168"/>
                      </a:lnTo>
                      <a:lnTo>
                        <a:pt x="67" y="167"/>
                      </a:lnTo>
                      <a:lnTo>
                        <a:pt x="59" y="164"/>
                      </a:lnTo>
                      <a:lnTo>
                        <a:pt x="52" y="162"/>
                      </a:lnTo>
                      <a:lnTo>
                        <a:pt x="44" y="159"/>
                      </a:lnTo>
                      <a:lnTo>
                        <a:pt x="37" y="154"/>
                      </a:lnTo>
                      <a:lnTo>
                        <a:pt x="31" y="149"/>
                      </a:lnTo>
                      <a:lnTo>
                        <a:pt x="24" y="144"/>
                      </a:lnTo>
                      <a:lnTo>
                        <a:pt x="19" y="138"/>
                      </a:lnTo>
                      <a:lnTo>
                        <a:pt x="15" y="131"/>
                      </a:lnTo>
                      <a:lnTo>
                        <a:pt x="10" y="124"/>
                      </a:lnTo>
                      <a:lnTo>
                        <a:pt x="7" y="117"/>
                      </a:lnTo>
                      <a:lnTo>
                        <a:pt x="4" y="109"/>
                      </a:lnTo>
                      <a:lnTo>
                        <a:pt x="2" y="102"/>
                      </a:lnTo>
                      <a:lnTo>
                        <a:pt x="1" y="93"/>
                      </a:lnTo>
                      <a:lnTo>
                        <a:pt x="0" y="85"/>
                      </a:lnTo>
                      <a:lnTo>
                        <a:pt x="0" y="85"/>
                      </a:lnTo>
                      <a:lnTo>
                        <a:pt x="0" y="85"/>
                      </a:lnTo>
                      <a:lnTo>
                        <a:pt x="1" y="75"/>
                      </a:lnTo>
                      <a:lnTo>
                        <a:pt x="2" y="67"/>
                      </a:lnTo>
                      <a:lnTo>
                        <a:pt x="4" y="59"/>
                      </a:lnTo>
                      <a:lnTo>
                        <a:pt x="7" y="52"/>
                      </a:lnTo>
                      <a:lnTo>
                        <a:pt x="10" y="44"/>
                      </a:lnTo>
                      <a:lnTo>
                        <a:pt x="15" y="37"/>
                      </a:lnTo>
                      <a:lnTo>
                        <a:pt x="19" y="32"/>
                      </a:lnTo>
                      <a:lnTo>
                        <a:pt x="25" y="25"/>
                      </a:lnTo>
                      <a:lnTo>
                        <a:pt x="31" y="20"/>
                      </a:lnTo>
                      <a:lnTo>
                        <a:pt x="37" y="15"/>
                      </a:lnTo>
                      <a:lnTo>
                        <a:pt x="44" y="11"/>
                      </a:lnTo>
                      <a:lnTo>
                        <a:pt x="52" y="7"/>
                      </a:lnTo>
                      <a:lnTo>
                        <a:pt x="59" y="4"/>
                      </a:lnTo>
                      <a:lnTo>
                        <a:pt x="67" y="3"/>
                      </a:lnTo>
                      <a:lnTo>
                        <a:pt x="75" y="2"/>
                      </a:lnTo>
                      <a:lnTo>
                        <a:pt x="84" y="0"/>
                      </a:lnTo>
                      <a:lnTo>
                        <a:pt x="84" y="0"/>
                      </a:lnTo>
                      <a:lnTo>
                        <a:pt x="84" y="0"/>
                      </a:lnTo>
                      <a:lnTo>
                        <a:pt x="105" y="2"/>
                      </a:lnTo>
                      <a:lnTo>
                        <a:pt x="125" y="3"/>
                      </a:lnTo>
                      <a:lnTo>
                        <a:pt x="146" y="5"/>
                      </a:lnTo>
                      <a:lnTo>
                        <a:pt x="166" y="9"/>
                      </a:lnTo>
                      <a:lnTo>
                        <a:pt x="185" y="13"/>
                      </a:lnTo>
                      <a:lnTo>
                        <a:pt x="205" y="19"/>
                      </a:lnTo>
                      <a:lnTo>
                        <a:pt x="225" y="26"/>
                      </a:lnTo>
                      <a:lnTo>
                        <a:pt x="243" y="33"/>
                      </a:lnTo>
                      <a:lnTo>
                        <a:pt x="260" y="41"/>
                      </a:lnTo>
                      <a:lnTo>
                        <a:pt x="279" y="50"/>
                      </a:lnTo>
                      <a:lnTo>
                        <a:pt x="296" y="60"/>
                      </a:lnTo>
                      <a:lnTo>
                        <a:pt x="312" y="71"/>
                      </a:lnTo>
                      <a:lnTo>
                        <a:pt x="329" y="82"/>
                      </a:lnTo>
                      <a:lnTo>
                        <a:pt x="344" y="94"/>
                      </a:lnTo>
                      <a:lnTo>
                        <a:pt x="359" y="107"/>
                      </a:lnTo>
                      <a:lnTo>
                        <a:pt x="372" y="120"/>
                      </a:lnTo>
                      <a:lnTo>
                        <a:pt x="372" y="120"/>
                      </a:lnTo>
                      <a:lnTo>
                        <a:pt x="372" y="120"/>
                      </a:lnTo>
                      <a:lnTo>
                        <a:pt x="386" y="134"/>
                      </a:lnTo>
                      <a:lnTo>
                        <a:pt x="399" y="149"/>
                      </a:lnTo>
                      <a:lnTo>
                        <a:pt x="412" y="165"/>
                      </a:lnTo>
                      <a:lnTo>
                        <a:pt x="423" y="180"/>
                      </a:lnTo>
                      <a:lnTo>
                        <a:pt x="434" y="198"/>
                      </a:lnTo>
                      <a:lnTo>
                        <a:pt x="443" y="215"/>
                      </a:lnTo>
                      <a:lnTo>
                        <a:pt x="452" y="232"/>
                      </a:lnTo>
                      <a:lnTo>
                        <a:pt x="460" y="251"/>
                      </a:lnTo>
                      <a:lnTo>
                        <a:pt x="468" y="269"/>
                      </a:lnTo>
                      <a:lnTo>
                        <a:pt x="474" y="288"/>
                      </a:lnTo>
                      <a:lnTo>
                        <a:pt x="480" y="307"/>
                      </a:lnTo>
                      <a:lnTo>
                        <a:pt x="484" y="327"/>
                      </a:lnTo>
                      <a:lnTo>
                        <a:pt x="488" y="348"/>
                      </a:lnTo>
                      <a:lnTo>
                        <a:pt x="490" y="367"/>
                      </a:lnTo>
                      <a:lnTo>
                        <a:pt x="492" y="388"/>
                      </a:lnTo>
                      <a:lnTo>
                        <a:pt x="492" y="409"/>
                      </a:lnTo>
                      <a:lnTo>
                        <a:pt x="492" y="409"/>
                      </a:lnTo>
                      <a:lnTo>
                        <a:pt x="492" y="409"/>
                      </a:lnTo>
                      <a:lnTo>
                        <a:pt x="492" y="418"/>
                      </a:lnTo>
                      <a:lnTo>
                        <a:pt x="491" y="426"/>
                      </a:lnTo>
                      <a:lnTo>
                        <a:pt x="489" y="434"/>
                      </a:lnTo>
                      <a:lnTo>
                        <a:pt x="487" y="442"/>
                      </a:lnTo>
                      <a:lnTo>
                        <a:pt x="483" y="449"/>
                      </a:lnTo>
                      <a:lnTo>
                        <a:pt x="479" y="456"/>
                      </a:lnTo>
                      <a:lnTo>
                        <a:pt x="474" y="463"/>
                      </a:lnTo>
                      <a:lnTo>
                        <a:pt x="468" y="469"/>
                      </a:lnTo>
                      <a:lnTo>
                        <a:pt x="468" y="469"/>
                      </a:lnTo>
                      <a:lnTo>
                        <a:pt x="468" y="469"/>
                      </a:lnTo>
                      <a:lnTo>
                        <a:pt x="462" y="475"/>
                      </a:lnTo>
                      <a:lnTo>
                        <a:pt x="455" y="479"/>
                      </a:lnTo>
                      <a:lnTo>
                        <a:pt x="449" y="483"/>
                      </a:lnTo>
                      <a:lnTo>
                        <a:pt x="442" y="487"/>
                      </a:lnTo>
                      <a:lnTo>
                        <a:pt x="434" y="490"/>
                      </a:lnTo>
                      <a:lnTo>
                        <a:pt x="425" y="492"/>
                      </a:lnTo>
                      <a:lnTo>
                        <a:pt x="417" y="493"/>
                      </a:lnTo>
                      <a:lnTo>
                        <a:pt x="409" y="493"/>
                      </a:lnTo>
                      <a:lnTo>
                        <a:pt x="409" y="493"/>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4" name="Freeform 46"/>
                <p:cNvSpPr>
                  <a:spLocks/>
                </p:cNvSpPr>
                <p:nvPr/>
              </p:nvSpPr>
              <p:spPr bwMode="auto">
                <a:xfrm>
                  <a:off x="1652693" y="1419541"/>
                  <a:ext cx="239426" cy="239426"/>
                </a:xfrm>
                <a:custGeom>
                  <a:avLst/>
                  <a:gdLst>
                    <a:gd name="T0" fmla="*/ 722 w 813"/>
                    <a:gd name="T1" fmla="*/ 813 h 814"/>
                    <a:gd name="T2" fmla="*/ 698 w 813"/>
                    <a:gd name="T3" fmla="*/ 807 h 814"/>
                    <a:gd name="T4" fmla="*/ 677 w 813"/>
                    <a:gd name="T5" fmla="*/ 795 h 814"/>
                    <a:gd name="T6" fmla="*/ 661 w 813"/>
                    <a:gd name="T7" fmla="*/ 776 h 814"/>
                    <a:gd name="T8" fmla="*/ 651 w 813"/>
                    <a:gd name="T9" fmla="*/ 755 h 814"/>
                    <a:gd name="T10" fmla="*/ 646 w 813"/>
                    <a:gd name="T11" fmla="*/ 730 h 814"/>
                    <a:gd name="T12" fmla="*/ 646 w 813"/>
                    <a:gd name="T13" fmla="*/ 701 h 814"/>
                    <a:gd name="T14" fmla="*/ 634 w 813"/>
                    <a:gd name="T15" fmla="*/ 616 h 814"/>
                    <a:gd name="T16" fmla="*/ 612 w 813"/>
                    <a:gd name="T17" fmla="*/ 536 h 814"/>
                    <a:gd name="T18" fmla="*/ 578 w 813"/>
                    <a:gd name="T19" fmla="*/ 461 h 814"/>
                    <a:gd name="T20" fmla="*/ 534 w 813"/>
                    <a:gd name="T21" fmla="*/ 393 h 814"/>
                    <a:gd name="T22" fmla="*/ 481 w 813"/>
                    <a:gd name="T23" fmla="*/ 332 h 814"/>
                    <a:gd name="T24" fmla="*/ 461 w 813"/>
                    <a:gd name="T25" fmla="*/ 313 h 814"/>
                    <a:gd name="T26" fmla="*/ 398 w 813"/>
                    <a:gd name="T27" fmla="*/ 263 h 814"/>
                    <a:gd name="T28" fmla="*/ 327 w 813"/>
                    <a:gd name="T29" fmla="*/ 222 h 814"/>
                    <a:gd name="T30" fmla="*/ 251 w 813"/>
                    <a:gd name="T31" fmla="*/ 192 h 814"/>
                    <a:gd name="T32" fmla="*/ 169 w 813"/>
                    <a:gd name="T33" fmla="*/ 174 h 814"/>
                    <a:gd name="T34" fmla="*/ 84 w 813"/>
                    <a:gd name="T35" fmla="*/ 167 h 814"/>
                    <a:gd name="T36" fmla="*/ 75 w 813"/>
                    <a:gd name="T37" fmla="*/ 167 h 814"/>
                    <a:gd name="T38" fmla="*/ 51 w 813"/>
                    <a:gd name="T39" fmla="*/ 161 h 814"/>
                    <a:gd name="T40" fmla="*/ 30 w 813"/>
                    <a:gd name="T41" fmla="*/ 148 h 814"/>
                    <a:gd name="T42" fmla="*/ 14 w 813"/>
                    <a:gd name="T43" fmla="*/ 130 h 814"/>
                    <a:gd name="T44" fmla="*/ 3 w 813"/>
                    <a:gd name="T45" fmla="*/ 108 h 814"/>
                    <a:gd name="T46" fmla="*/ 0 w 813"/>
                    <a:gd name="T47" fmla="*/ 83 h 814"/>
                    <a:gd name="T48" fmla="*/ 0 w 813"/>
                    <a:gd name="T49" fmla="*/ 75 h 814"/>
                    <a:gd name="T50" fmla="*/ 7 w 813"/>
                    <a:gd name="T51" fmla="*/ 50 h 814"/>
                    <a:gd name="T52" fmla="*/ 19 w 813"/>
                    <a:gd name="T53" fmla="*/ 30 h 814"/>
                    <a:gd name="T54" fmla="*/ 37 w 813"/>
                    <a:gd name="T55" fmla="*/ 13 h 814"/>
                    <a:gd name="T56" fmla="*/ 59 w 813"/>
                    <a:gd name="T57" fmla="*/ 3 h 814"/>
                    <a:gd name="T58" fmla="*/ 84 w 813"/>
                    <a:gd name="T59" fmla="*/ 0 h 814"/>
                    <a:gd name="T60" fmla="*/ 121 w 813"/>
                    <a:gd name="T61" fmla="*/ 1 h 814"/>
                    <a:gd name="T62" fmla="*/ 231 w 813"/>
                    <a:gd name="T63" fmla="*/ 15 h 814"/>
                    <a:gd name="T64" fmla="*/ 334 w 813"/>
                    <a:gd name="T65" fmla="*/ 43 h 814"/>
                    <a:gd name="T66" fmla="*/ 431 w 813"/>
                    <a:gd name="T67" fmla="*/ 87 h 814"/>
                    <a:gd name="T68" fmla="*/ 520 w 813"/>
                    <a:gd name="T69" fmla="*/ 145 h 814"/>
                    <a:gd name="T70" fmla="*/ 600 w 813"/>
                    <a:gd name="T71" fmla="*/ 213 h 814"/>
                    <a:gd name="T72" fmla="*/ 624 w 813"/>
                    <a:gd name="T73" fmla="*/ 238 h 814"/>
                    <a:gd name="T74" fmla="*/ 689 w 813"/>
                    <a:gd name="T75" fmla="*/ 322 h 814"/>
                    <a:gd name="T76" fmla="*/ 742 w 813"/>
                    <a:gd name="T77" fmla="*/ 413 h 814"/>
                    <a:gd name="T78" fmla="*/ 781 w 813"/>
                    <a:gd name="T79" fmla="*/ 512 h 814"/>
                    <a:gd name="T80" fmla="*/ 805 w 813"/>
                    <a:gd name="T81" fmla="*/ 618 h 814"/>
                    <a:gd name="T82" fmla="*/ 813 w 813"/>
                    <a:gd name="T83" fmla="*/ 729 h 814"/>
                    <a:gd name="T84" fmla="*/ 813 w 813"/>
                    <a:gd name="T85" fmla="*/ 738 h 814"/>
                    <a:gd name="T86" fmla="*/ 807 w 813"/>
                    <a:gd name="T87" fmla="*/ 762 h 814"/>
                    <a:gd name="T88" fmla="*/ 795 w 813"/>
                    <a:gd name="T89" fmla="*/ 783 h 814"/>
                    <a:gd name="T90" fmla="*/ 789 w 813"/>
                    <a:gd name="T91" fmla="*/ 789 h 814"/>
                    <a:gd name="T92" fmla="*/ 771 w 813"/>
                    <a:gd name="T93" fmla="*/ 804 h 814"/>
                    <a:gd name="T94" fmla="*/ 747 w 813"/>
                    <a:gd name="T95" fmla="*/ 812 h 814"/>
                    <a:gd name="T96" fmla="*/ 730 w 813"/>
                    <a:gd name="T97" fmla="*/ 81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3" h="814">
                      <a:moveTo>
                        <a:pt x="730" y="814"/>
                      </a:moveTo>
                      <a:lnTo>
                        <a:pt x="730" y="814"/>
                      </a:lnTo>
                      <a:lnTo>
                        <a:pt x="722" y="813"/>
                      </a:lnTo>
                      <a:lnTo>
                        <a:pt x="713" y="812"/>
                      </a:lnTo>
                      <a:lnTo>
                        <a:pt x="705" y="810"/>
                      </a:lnTo>
                      <a:lnTo>
                        <a:pt x="698" y="807"/>
                      </a:lnTo>
                      <a:lnTo>
                        <a:pt x="690" y="804"/>
                      </a:lnTo>
                      <a:lnTo>
                        <a:pt x="683" y="799"/>
                      </a:lnTo>
                      <a:lnTo>
                        <a:pt x="677" y="795"/>
                      </a:lnTo>
                      <a:lnTo>
                        <a:pt x="671" y="789"/>
                      </a:lnTo>
                      <a:lnTo>
                        <a:pt x="666" y="783"/>
                      </a:lnTo>
                      <a:lnTo>
                        <a:pt x="661" y="776"/>
                      </a:lnTo>
                      <a:lnTo>
                        <a:pt x="656" y="770"/>
                      </a:lnTo>
                      <a:lnTo>
                        <a:pt x="653" y="762"/>
                      </a:lnTo>
                      <a:lnTo>
                        <a:pt x="651" y="755"/>
                      </a:lnTo>
                      <a:lnTo>
                        <a:pt x="648" y="747"/>
                      </a:lnTo>
                      <a:lnTo>
                        <a:pt x="647" y="738"/>
                      </a:lnTo>
                      <a:lnTo>
                        <a:pt x="646" y="730"/>
                      </a:lnTo>
                      <a:lnTo>
                        <a:pt x="646" y="730"/>
                      </a:lnTo>
                      <a:lnTo>
                        <a:pt x="646" y="730"/>
                      </a:lnTo>
                      <a:lnTo>
                        <a:pt x="646" y="701"/>
                      </a:lnTo>
                      <a:lnTo>
                        <a:pt x="644" y="672"/>
                      </a:lnTo>
                      <a:lnTo>
                        <a:pt x="640" y="643"/>
                      </a:lnTo>
                      <a:lnTo>
                        <a:pt x="634" y="616"/>
                      </a:lnTo>
                      <a:lnTo>
                        <a:pt x="629" y="589"/>
                      </a:lnTo>
                      <a:lnTo>
                        <a:pt x="621" y="563"/>
                      </a:lnTo>
                      <a:lnTo>
                        <a:pt x="612" y="536"/>
                      </a:lnTo>
                      <a:lnTo>
                        <a:pt x="602" y="511"/>
                      </a:lnTo>
                      <a:lnTo>
                        <a:pt x="591" y="485"/>
                      </a:lnTo>
                      <a:lnTo>
                        <a:pt x="578" y="461"/>
                      </a:lnTo>
                      <a:lnTo>
                        <a:pt x="565" y="438"/>
                      </a:lnTo>
                      <a:lnTo>
                        <a:pt x="550" y="415"/>
                      </a:lnTo>
                      <a:lnTo>
                        <a:pt x="534" y="393"/>
                      </a:lnTo>
                      <a:lnTo>
                        <a:pt x="518" y="371"/>
                      </a:lnTo>
                      <a:lnTo>
                        <a:pt x="501" y="352"/>
                      </a:lnTo>
                      <a:lnTo>
                        <a:pt x="481" y="332"/>
                      </a:lnTo>
                      <a:lnTo>
                        <a:pt x="481" y="332"/>
                      </a:lnTo>
                      <a:lnTo>
                        <a:pt x="481" y="332"/>
                      </a:lnTo>
                      <a:lnTo>
                        <a:pt x="461" y="313"/>
                      </a:lnTo>
                      <a:lnTo>
                        <a:pt x="442" y="295"/>
                      </a:lnTo>
                      <a:lnTo>
                        <a:pt x="420" y="279"/>
                      </a:lnTo>
                      <a:lnTo>
                        <a:pt x="398" y="263"/>
                      </a:lnTo>
                      <a:lnTo>
                        <a:pt x="375" y="249"/>
                      </a:lnTo>
                      <a:lnTo>
                        <a:pt x="352" y="235"/>
                      </a:lnTo>
                      <a:lnTo>
                        <a:pt x="327" y="222"/>
                      </a:lnTo>
                      <a:lnTo>
                        <a:pt x="303" y="211"/>
                      </a:lnTo>
                      <a:lnTo>
                        <a:pt x="277" y="202"/>
                      </a:lnTo>
                      <a:lnTo>
                        <a:pt x="251" y="192"/>
                      </a:lnTo>
                      <a:lnTo>
                        <a:pt x="225" y="185"/>
                      </a:lnTo>
                      <a:lnTo>
                        <a:pt x="197" y="178"/>
                      </a:lnTo>
                      <a:lnTo>
                        <a:pt x="169" y="174"/>
                      </a:lnTo>
                      <a:lnTo>
                        <a:pt x="142" y="170"/>
                      </a:lnTo>
                      <a:lnTo>
                        <a:pt x="113" y="168"/>
                      </a:lnTo>
                      <a:lnTo>
                        <a:pt x="84" y="167"/>
                      </a:lnTo>
                      <a:lnTo>
                        <a:pt x="84" y="167"/>
                      </a:lnTo>
                      <a:lnTo>
                        <a:pt x="84" y="167"/>
                      </a:lnTo>
                      <a:lnTo>
                        <a:pt x="75" y="167"/>
                      </a:lnTo>
                      <a:lnTo>
                        <a:pt x="67" y="166"/>
                      </a:lnTo>
                      <a:lnTo>
                        <a:pt x="59" y="163"/>
                      </a:lnTo>
                      <a:lnTo>
                        <a:pt x="51" y="161"/>
                      </a:lnTo>
                      <a:lnTo>
                        <a:pt x="44" y="157"/>
                      </a:lnTo>
                      <a:lnTo>
                        <a:pt x="37" y="153"/>
                      </a:lnTo>
                      <a:lnTo>
                        <a:pt x="30" y="148"/>
                      </a:lnTo>
                      <a:lnTo>
                        <a:pt x="24" y="143"/>
                      </a:lnTo>
                      <a:lnTo>
                        <a:pt x="19" y="137"/>
                      </a:lnTo>
                      <a:lnTo>
                        <a:pt x="14" y="130"/>
                      </a:lnTo>
                      <a:lnTo>
                        <a:pt x="10" y="123"/>
                      </a:lnTo>
                      <a:lnTo>
                        <a:pt x="7" y="116"/>
                      </a:lnTo>
                      <a:lnTo>
                        <a:pt x="3" y="108"/>
                      </a:lnTo>
                      <a:lnTo>
                        <a:pt x="1" y="100"/>
                      </a:lnTo>
                      <a:lnTo>
                        <a:pt x="0" y="92"/>
                      </a:lnTo>
                      <a:lnTo>
                        <a:pt x="0" y="83"/>
                      </a:lnTo>
                      <a:lnTo>
                        <a:pt x="0" y="83"/>
                      </a:lnTo>
                      <a:lnTo>
                        <a:pt x="0" y="83"/>
                      </a:lnTo>
                      <a:lnTo>
                        <a:pt x="0" y="75"/>
                      </a:lnTo>
                      <a:lnTo>
                        <a:pt x="1" y="67"/>
                      </a:lnTo>
                      <a:lnTo>
                        <a:pt x="3" y="58"/>
                      </a:lnTo>
                      <a:lnTo>
                        <a:pt x="7" y="50"/>
                      </a:lnTo>
                      <a:lnTo>
                        <a:pt x="10" y="43"/>
                      </a:lnTo>
                      <a:lnTo>
                        <a:pt x="14" y="37"/>
                      </a:lnTo>
                      <a:lnTo>
                        <a:pt x="19" y="30"/>
                      </a:lnTo>
                      <a:lnTo>
                        <a:pt x="24" y="24"/>
                      </a:lnTo>
                      <a:lnTo>
                        <a:pt x="30" y="19"/>
                      </a:lnTo>
                      <a:lnTo>
                        <a:pt x="37" y="13"/>
                      </a:lnTo>
                      <a:lnTo>
                        <a:pt x="44" y="10"/>
                      </a:lnTo>
                      <a:lnTo>
                        <a:pt x="51" y="7"/>
                      </a:lnTo>
                      <a:lnTo>
                        <a:pt x="59" y="3"/>
                      </a:lnTo>
                      <a:lnTo>
                        <a:pt x="67" y="2"/>
                      </a:lnTo>
                      <a:lnTo>
                        <a:pt x="75" y="0"/>
                      </a:lnTo>
                      <a:lnTo>
                        <a:pt x="84" y="0"/>
                      </a:lnTo>
                      <a:lnTo>
                        <a:pt x="84" y="0"/>
                      </a:lnTo>
                      <a:lnTo>
                        <a:pt x="84" y="0"/>
                      </a:lnTo>
                      <a:lnTo>
                        <a:pt x="121" y="1"/>
                      </a:lnTo>
                      <a:lnTo>
                        <a:pt x="158" y="3"/>
                      </a:lnTo>
                      <a:lnTo>
                        <a:pt x="195" y="8"/>
                      </a:lnTo>
                      <a:lnTo>
                        <a:pt x="231" y="15"/>
                      </a:lnTo>
                      <a:lnTo>
                        <a:pt x="266" y="23"/>
                      </a:lnTo>
                      <a:lnTo>
                        <a:pt x="301" y="32"/>
                      </a:lnTo>
                      <a:lnTo>
                        <a:pt x="334" y="43"/>
                      </a:lnTo>
                      <a:lnTo>
                        <a:pt x="368" y="57"/>
                      </a:lnTo>
                      <a:lnTo>
                        <a:pt x="400" y="71"/>
                      </a:lnTo>
                      <a:lnTo>
                        <a:pt x="431" y="87"/>
                      </a:lnTo>
                      <a:lnTo>
                        <a:pt x="462" y="106"/>
                      </a:lnTo>
                      <a:lnTo>
                        <a:pt x="491" y="124"/>
                      </a:lnTo>
                      <a:lnTo>
                        <a:pt x="520" y="145"/>
                      </a:lnTo>
                      <a:lnTo>
                        <a:pt x="548" y="166"/>
                      </a:lnTo>
                      <a:lnTo>
                        <a:pt x="574" y="189"/>
                      </a:lnTo>
                      <a:lnTo>
                        <a:pt x="600" y="213"/>
                      </a:lnTo>
                      <a:lnTo>
                        <a:pt x="600" y="213"/>
                      </a:lnTo>
                      <a:lnTo>
                        <a:pt x="600" y="213"/>
                      </a:lnTo>
                      <a:lnTo>
                        <a:pt x="624" y="238"/>
                      </a:lnTo>
                      <a:lnTo>
                        <a:pt x="647" y="265"/>
                      </a:lnTo>
                      <a:lnTo>
                        <a:pt x="669" y="293"/>
                      </a:lnTo>
                      <a:lnTo>
                        <a:pt x="689" y="322"/>
                      </a:lnTo>
                      <a:lnTo>
                        <a:pt x="708" y="350"/>
                      </a:lnTo>
                      <a:lnTo>
                        <a:pt x="726" y="382"/>
                      </a:lnTo>
                      <a:lnTo>
                        <a:pt x="742" y="413"/>
                      </a:lnTo>
                      <a:lnTo>
                        <a:pt x="757" y="445"/>
                      </a:lnTo>
                      <a:lnTo>
                        <a:pt x="769" y="478"/>
                      </a:lnTo>
                      <a:lnTo>
                        <a:pt x="781" y="512"/>
                      </a:lnTo>
                      <a:lnTo>
                        <a:pt x="790" y="548"/>
                      </a:lnTo>
                      <a:lnTo>
                        <a:pt x="798" y="582"/>
                      </a:lnTo>
                      <a:lnTo>
                        <a:pt x="805" y="618"/>
                      </a:lnTo>
                      <a:lnTo>
                        <a:pt x="810" y="655"/>
                      </a:lnTo>
                      <a:lnTo>
                        <a:pt x="812" y="692"/>
                      </a:lnTo>
                      <a:lnTo>
                        <a:pt x="813" y="729"/>
                      </a:lnTo>
                      <a:lnTo>
                        <a:pt x="813" y="729"/>
                      </a:lnTo>
                      <a:lnTo>
                        <a:pt x="813" y="729"/>
                      </a:lnTo>
                      <a:lnTo>
                        <a:pt x="813" y="738"/>
                      </a:lnTo>
                      <a:lnTo>
                        <a:pt x="812" y="746"/>
                      </a:lnTo>
                      <a:lnTo>
                        <a:pt x="810" y="754"/>
                      </a:lnTo>
                      <a:lnTo>
                        <a:pt x="807" y="762"/>
                      </a:lnTo>
                      <a:lnTo>
                        <a:pt x="804" y="769"/>
                      </a:lnTo>
                      <a:lnTo>
                        <a:pt x="799" y="776"/>
                      </a:lnTo>
                      <a:lnTo>
                        <a:pt x="795" y="783"/>
                      </a:lnTo>
                      <a:lnTo>
                        <a:pt x="789" y="789"/>
                      </a:lnTo>
                      <a:lnTo>
                        <a:pt x="789" y="789"/>
                      </a:lnTo>
                      <a:lnTo>
                        <a:pt x="789" y="789"/>
                      </a:lnTo>
                      <a:lnTo>
                        <a:pt x="783" y="795"/>
                      </a:lnTo>
                      <a:lnTo>
                        <a:pt x="776" y="799"/>
                      </a:lnTo>
                      <a:lnTo>
                        <a:pt x="771" y="804"/>
                      </a:lnTo>
                      <a:lnTo>
                        <a:pt x="762" y="807"/>
                      </a:lnTo>
                      <a:lnTo>
                        <a:pt x="754" y="810"/>
                      </a:lnTo>
                      <a:lnTo>
                        <a:pt x="747" y="812"/>
                      </a:lnTo>
                      <a:lnTo>
                        <a:pt x="738" y="813"/>
                      </a:lnTo>
                      <a:lnTo>
                        <a:pt x="730" y="814"/>
                      </a:lnTo>
                      <a:lnTo>
                        <a:pt x="730" y="814"/>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sp>
            <p:nvSpPr>
              <p:cNvPr id="102" name="Freeform 118"/>
              <p:cNvSpPr>
                <a:spLocks noEditPoints="1"/>
              </p:cNvSpPr>
              <p:nvPr/>
            </p:nvSpPr>
            <p:spPr bwMode="auto">
              <a:xfrm>
                <a:off x="7318669" y="3002797"/>
                <a:ext cx="324255" cy="323417"/>
              </a:xfrm>
              <a:custGeom>
                <a:avLst/>
                <a:gdLst>
                  <a:gd name="T0" fmla="*/ 723 w 772"/>
                  <a:gd name="T1" fmla="*/ 299 h 772"/>
                  <a:gd name="T2" fmla="*/ 679 w 772"/>
                  <a:gd name="T3" fmla="*/ 201 h 772"/>
                  <a:gd name="T4" fmla="*/ 608 w 772"/>
                  <a:gd name="T5" fmla="*/ 119 h 772"/>
                  <a:gd name="T6" fmla="*/ 516 w 772"/>
                  <a:gd name="T7" fmla="*/ 64 h 772"/>
                  <a:gd name="T8" fmla="*/ 410 w 772"/>
                  <a:gd name="T9" fmla="*/ 38 h 772"/>
                  <a:gd name="T10" fmla="*/ 315 w 772"/>
                  <a:gd name="T11" fmla="*/ 45 h 772"/>
                  <a:gd name="T12" fmla="*/ 214 w 772"/>
                  <a:gd name="T13" fmla="*/ 84 h 772"/>
                  <a:gd name="T14" fmla="*/ 130 w 772"/>
                  <a:gd name="T15" fmla="*/ 152 h 772"/>
                  <a:gd name="T16" fmla="*/ 70 w 772"/>
                  <a:gd name="T17" fmla="*/ 241 h 772"/>
                  <a:gd name="T18" fmla="*/ 40 w 772"/>
                  <a:gd name="T19" fmla="*/ 347 h 772"/>
                  <a:gd name="T20" fmla="*/ 43 w 772"/>
                  <a:gd name="T21" fmla="*/ 441 h 772"/>
                  <a:gd name="T22" fmla="*/ 77 w 772"/>
                  <a:gd name="T23" fmla="*/ 544 h 772"/>
                  <a:gd name="T24" fmla="*/ 141 w 772"/>
                  <a:gd name="T25" fmla="*/ 631 h 772"/>
                  <a:gd name="T26" fmla="*/ 228 w 772"/>
                  <a:gd name="T27" fmla="*/ 694 h 772"/>
                  <a:gd name="T28" fmla="*/ 331 w 772"/>
                  <a:gd name="T29" fmla="*/ 729 h 772"/>
                  <a:gd name="T30" fmla="*/ 426 w 772"/>
                  <a:gd name="T31" fmla="*/ 731 h 772"/>
                  <a:gd name="T32" fmla="*/ 531 w 772"/>
                  <a:gd name="T33" fmla="*/ 701 h 772"/>
                  <a:gd name="T34" fmla="*/ 620 w 772"/>
                  <a:gd name="T35" fmla="*/ 642 h 772"/>
                  <a:gd name="T36" fmla="*/ 687 w 772"/>
                  <a:gd name="T37" fmla="*/ 558 h 772"/>
                  <a:gd name="T38" fmla="*/ 727 w 772"/>
                  <a:gd name="T39" fmla="*/ 456 h 772"/>
                  <a:gd name="T40" fmla="*/ 591 w 772"/>
                  <a:gd name="T41" fmla="*/ 363 h 772"/>
                  <a:gd name="T42" fmla="*/ 555 w 772"/>
                  <a:gd name="T43" fmla="*/ 264 h 772"/>
                  <a:gd name="T44" fmla="*/ 462 w 772"/>
                  <a:gd name="T45" fmla="*/ 192 h 772"/>
                  <a:gd name="T46" fmla="*/ 458 w 772"/>
                  <a:gd name="T47" fmla="*/ 117 h 772"/>
                  <a:gd name="T48" fmla="*/ 598 w 772"/>
                  <a:gd name="T49" fmla="*/ 208 h 772"/>
                  <a:gd name="T50" fmla="*/ 664 w 772"/>
                  <a:gd name="T51" fmla="*/ 363 h 772"/>
                  <a:gd name="T52" fmla="*/ 331 w 772"/>
                  <a:gd name="T53" fmla="*/ 342 h 772"/>
                  <a:gd name="T54" fmla="*/ 255 w 772"/>
                  <a:gd name="T55" fmla="*/ 342 h 772"/>
                  <a:gd name="T56" fmla="*/ 295 w 772"/>
                  <a:gd name="T57" fmla="*/ 280 h 772"/>
                  <a:gd name="T58" fmla="*/ 362 w 772"/>
                  <a:gd name="T59" fmla="*/ 249 h 772"/>
                  <a:gd name="T60" fmla="*/ 336 w 772"/>
                  <a:gd name="T61" fmla="*/ 435 h 772"/>
                  <a:gd name="T62" fmla="*/ 352 w 772"/>
                  <a:gd name="T63" fmla="*/ 519 h 772"/>
                  <a:gd name="T64" fmla="*/ 288 w 772"/>
                  <a:gd name="T65" fmla="*/ 484 h 772"/>
                  <a:gd name="T66" fmla="*/ 252 w 772"/>
                  <a:gd name="T67" fmla="*/ 420 h 772"/>
                  <a:gd name="T68" fmla="*/ 430 w 772"/>
                  <a:gd name="T69" fmla="*/ 440 h 772"/>
                  <a:gd name="T70" fmla="*/ 522 w 772"/>
                  <a:gd name="T71" fmla="*/ 409 h 772"/>
                  <a:gd name="T72" fmla="*/ 491 w 772"/>
                  <a:gd name="T73" fmla="*/ 476 h 772"/>
                  <a:gd name="T74" fmla="*/ 431 w 772"/>
                  <a:gd name="T75" fmla="*/ 516 h 772"/>
                  <a:gd name="T76" fmla="*/ 445 w 772"/>
                  <a:gd name="T77" fmla="*/ 349 h 772"/>
                  <a:gd name="T78" fmla="*/ 410 w 772"/>
                  <a:gd name="T79" fmla="*/ 249 h 772"/>
                  <a:gd name="T80" fmla="*/ 468 w 772"/>
                  <a:gd name="T81" fmla="*/ 274 h 772"/>
                  <a:gd name="T82" fmla="*/ 513 w 772"/>
                  <a:gd name="T83" fmla="*/ 331 h 772"/>
                  <a:gd name="T84" fmla="*/ 362 w 772"/>
                  <a:gd name="T85" fmla="*/ 180 h 772"/>
                  <a:gd name="T86" fmla="*/ 251 w 772"/>
                  <a:gd name="T87" fmla="*/ 227 h 772"/>
                  <a:gd name="T88" fmla="*/ 187 w 772"/>
                  <a:gd name="T89" fmla="*/ 327 h 772"/>
                  <a:gd name="T90" fmla="*/ 125 w 772"/>
                  <a:gd name="T91" fmla="*/ 290 h 772"/>
                  <a:gd name="T92" fmla="*/ 227 w 772"/>
                  <a:gd name="T93" fmla="*/ 159 h 772"/>
                  <a:gd name="T94" fmla="*/ 108 w 772"/>
                  <a:gd name="T95" fmla="*/ 409 h 772"/>
                  <a:gd name="T96" fmla="*/ 208 w 772"/>
                  <a:gd name="T97" fmla="*/ 492 h 772"/>
                  <a:gd name="T98" fmla="*/ 294 w 772"/>
                  <a:gd name="T99" fmla="*/ 573 h 772"/>
                  <a:gd name="T100" fmla="*/ 338 w 772"/>
                  <a:gd name="T101" fmla="*/ 660 h 772"/>
                  <a:gd name="T102" fmla="*/ 191 w 772"/>
                  <a:gd name="T103" fmla="*/ 582 h 772"/>
                  <a:gd name="T104" fmla="*/ 111 w 772"/>
                  <a:gd name="T105" fmla="*/ 434 h 772"/>
                  <a:gd name="T106" fmla="*/ 462 w 772"/>
                  <a:gd name="T107" fmla="*/ 580 h 772"/>
                  <a:gd name="T108" fmla="*/ 555 w 772"/>
                  <a:gd name="T109" fmla="*/ 507 h 772"/>
                  <a:gd name="T110" fmla="*/ 664 w 772"/>
                  <a:gd name="T111" fmla="*/ 409 h 772"/>
                  <a:gd name="T112" fmla="*/ 613 w 772"/>
                  <a:gd name="T113" fmla="*/ 544 h 772"/>
                  <a:gd name="T114" fmla="*/ 481 w 772"/>
                  <a:gd name="T115" fmla="*/ 647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2" h="772">
                    <a:moveTo>
                      <a:pt x="772" y="363"/>
                    </a:moveTo>
                    <a:lnTo>
                      <a:pt x="733" y="363"/>
                    </a:lnTo>
                    <a:lnTo>
                      <a:pt x="733" y="363"/>
                    </a:lnTo>
                    <a:lnTo>
                      <a:pt x="732" y="347"/>
                    </a:lnTo>
                    <a:lnTo>
                      <a:pt x="729" y="330"/>
                    </a:lnTo>
                    <a:lnTo>
                      <a:pt x="727" y="315"/>
                    </a:lnTo>
                    <a:lnTo>
                      <a:pt x="723" y="299"/>
                    </a:lnTo>
                    <a:lnTo>
                      <a:pt x="718" y="284"/>
                    </a:lnTo>
                    <a:lnTo>
                      <a:pt x="714" y="270"/>
                    </a:lnTo>
                    <a:lnTo>
                      <a:pt x="708" y="255"/>
                    </a:lnTo>
                    <a:lnTo>
                      <a:pt x="702" y="241"/>
                    </a:lnTo>
                    <a:lnTo>
                      <a:pt x="695" y="227"/>
                    </a:lnTo>
                    <a:lnTo>
                      <a:pt x="687" y="214"/>
                    </a:lnTo>
                    <a:lnTo>
                      <a:pt x="679" y="201"/>
                    </a:lnTo>
                    <a:lnTo>
                      <a:pt x="671" y="188"/>
                    </a:lnTo>
                    <a:lnTo>
                      <a:pt x="662" y="176"/>
                    </a:lnTo>
                    <a:lnTo>
                      <a:pt x="652" y="164"/>
                    </a:lnTo>
                    <a:lnTo>
                      <a:pt x="642" y="152"/>
                    </a:lnTo>
                    <a:lnTo>
                      <a:pt x="632" y="141"/>
                    </a:lnTo>
                    <a:lnTo>
                      <a:pt x="620" y="131"/>
                    </a:lnTo>
                    <a:lnTo>
                      <a:pt x="608" y="119"/>
                    </a:lnTo>
                    <a:lnTo>
                      <a:pt x="596" y="110"/>
                    </a:lnTo>
                    <a:lnTo>
                      <a:pt x="584" y="101"/>
                    </a:lnTo>
                    <a:lnTo>
                      <a:pt x="571" y="92"/>
                    </a:lnTo>
                    <a:lnTo>
                      <a:pt x="558" y="84"/>
                    </a:lnTo>
                    <a:lnTo>
                      <a:pt x="544" y="77"/>
                    </a:lnTo>
                    <a:lnTo>
                      <a:pt x="531" y="70"/>
                    </a:lnTo>
                    <a:lnTo>
                      <a:pt x="516" y="64"/>
                    </a:lnTo>
                    <a:lnTo>
                      <a:pt x="502" y="58"/>
                    </a:lnTo>
                    <a:lnTo>
                      <a:pt x="487" y="53"/>
                    </a:lnTo>
                    <a:lnTo>
                      <a:pt x="472" y="49"/>
                    </a:lnTo>
                    <a:lnTo>
                      <a:pt x="457" y="45"/>
                    </a:lnTo>
                    <a:lnTo>
                      <a:pt x="441" y="42"/>
                    </a:lnTo>
                    <a:lnTo>
                      <a:pt x="426" y="40"/>
                    </a:lnTo>
                    <a:lnTo>
                      <a:pt x="410" y="38"/>
                    </a:lnTo>
                    <a:lnTo>
                      <a:pt x="410" y="0"/>
                    </a:lnTo>
                    <a:lnTo>
                      <a:pt x="362" y="0"/>
                    </a:lnTo>
                    <a:lnTo>
                      <a:pt x="362" y="38"/>
                    </a:lnTo>
                    <a:lnTo>
                      <a:pt x="362" y="38"/>
                    </a:lnTo>
                    <a:lnTo>
                      <a:pt x="347" y="40"/>
                    </a:lnTo>
                    <a:lnTo>
                      <a:pt x="331" y="42"/>
                    </a:lnTo>
                    <a:lnTo>
                      <a:pt x="315" y="45"/>
                    </a:lnTo>
                    <a:lnTo>
                      <a:pt x="300" y="49"/>
                    </a:lnTo>
                    <a:lnTo>
                      <a:pt x="285" y="53"/>
                    </a:lnTo>
                    <a:lnTo>
                      <a:pt x="270" y="58"/>
                    </a:lnTo>
                    <a:lnTo>
                      <a:pt x="256" y="64"/>
                    </a:lnTo>
                    <a:lnTo>
                      <a:pt x="241" y="70"/>
                    </a:lnTo>
                    <a:lnTo>
                      <a:pt x="228" y="77"/>
                    </a:lnTo>
                    <a:lnTo>
                      <a:pt x="214" y="84"/>
                    </a:lnTo>
                    <a:lnTo>
                      <a:pt x="201" y="92"/>
                    </a:lnTo>
                    <a:lnTo>
                      <a:pt x="188" y="101"/>
                    </a:lnTo>
                    <a:lnTo>
                      <a:pt x="175" y="110"/>
                    </a:lnTo>
                    <a:lnTo>
                      <a:pt x="163" y="119"/>
                    </a:lnTo>
                    <a:lnTo>
                      <a:pt x="152" y="131"/>
                    </a:lnTo>
                    <a:lnTo>
                      <a:pt x="141" y="141"/>
                    </a:lnTo>
                    <a:lnTo>
                      <a:pt x="130" y="152"/>
                    </a:lnTo>
                    <a:lnTo>
                      <a:pt x="120" y="164"/>
                    </a:lnTo>
                    <a:lnTo>
                      <a:pt x="110" y="176"/>
                    </a:lnTo>
                    <a:lnTo>
                      <a:pt x="101" y="188"/>
                    </a:lnTo>
                    <a:lnTo>
                      <a:pt x="93" y="201"/>
                    </a:lnTo>
                    <a:lnTo>
                      <a:pt x="85" y="214"/>
                    </a:lnTo>
                    <a:lnTo>
                      <a:pt x="77" y="227"/>
                    </a:lnTo>
                    <a:lnTo>
                      <a:pt x="70" y="241"/>
                    </a:lnTo>
                    <a:lnTo>
                      <a:pt x="64" y="255"/>
                    </a:lnTo>
                    <a:lnTo>
                      <a:pt x="59" y="270"/>
                    </a:lnTo>
                    <a:lnTo>
                      <a:pt x="54" y="284"/>
                    </a:lnTo>
                    <a:lnTo>
                      <a:pt x="49" y="299"/>
                    </a:lnTo>
                    <a:lnTo>
                      <a:pt x="46" y="315"/>
                    </a:lnTo>
                    <a:lnTo>
                      <a:pt x="43" y="330"/>
                    </a:lnTo>
                    <a:lnTo>
                      <a:pt x="40" y="347"/>
                    </a:lnTo>
                    <a:lnTo>
                      <a:pt x="39" y="363"/>
                    </a:lnTo>
                    <a:lnTo>
                      <a:pt x="0" y="363"/>
                    </a:lnTo>
                    <a:lnTo>
                      <a:pt x="0" y="409"/>
                    </a:lnTo>
                    <a:lnTo>
                      <a:pt x="39" y="409"/>
                    </a:lnTo>
                    <a:lnTo>
                      <a:pt x="39" y="409"/>
                    </a:lnTo>
                    <a:lnTo>
                      <a:pt x="40" y="425"/>
                    </a:lnTo>
                    <a:lnTo>
                      <a:pt x="43" y="441"/>
                    </a:lnTo>
                    <a:lnTo>
                      <a:pt x="46" y="456"/>
                    </a:lnTo>
                    <a:lnTo>
                      <a:pt x="49" y="472"/>
                    </a:lnTo>
                    <a:lnTo>
                      <a:pt x="54" y="487"/>
                    </a:lnTo>
                    <a:lnTo>
                      <a:pt x="59" y="501"/>
                    </a:lnTo>
                    <a:lnTo>
                      <a:pt x="64" y="516"/>
                    </a:lnTo>
                    <a:lnTo>
                      <a:pt x="70" y="530"/>
                    </a:lnTo>
                    <a:lnTo>
                      <a:pt x="77" y="544"/>
                    </a:lnTo>
                    <a:lnTo>
                      <a:pt x="85" y="558"/>
                    </a:lnTo>
                    <a:lnTo>
                      <a:pt x="93" y="571"/>
                    </a:lnTo>
                    <a:lnTo>
                      <a:pt x="101" y="584"/>
                    </a:lnTo>
                    <a:lnTo>
                      <a:pt x="110" y="597"/>
                    </a:lnTo>
                    <a:lnTo>
                      <a:pt x="120" y="608"/>
                    </a:lnTo>
                    <a:lnTo>
                      <a:pt x="130" y="620"/>
                    </a:lnTo>
                    <a:lnTo>
                      <a:pt x="141" y="631"/>
                    </a:lnTo>
                    <a:lnTo>
                      <a:pt x="152" y="642"/>
                    </a:lnTo>
                    <a:lnTo>
                      <a:pt x="163" y="652"/>
                    </a:lnTo>
                    <a:lnTo>
                      <a:pt x="175" y="661"/>
                    </a:lnTo>
                    <a:lnTo>
                      <a:pt x="188" y="670"/>
                    </a:lnTo>
                    <a:lnTo>
                      <a:pt x="201" y="679"/>
                    </a:lnTo>
                    <a:lnTo>
                      <a:pt x="214" y="687"/>
                    </a:lnTo>
                    <a:lnTo>
                      <a:pt x="228" y="694"/>
                    </a:lnTo>
                    <a:lnTo>
                      <a:pt x="241" y="701"/>
                    </a:lnTo>
                    <a:lnTo>
                      <a:pt x="256" y="707"/>
                    </a:lnTo>
                    <a:lnTo>
                      <a:pt x="270" y="713"/>
                    </a:lnTo>
                    <a:lnTo>
                      <a:pt x="285" y="718"/>
                    </a:lnTo>
                    <a:lnTo>
                      <a:pt x="300" y="722"/>
                    </a:lnTo>
                    <a:lnTo>
                      <a:pt x="315" y="726"/>
                    </a:lnTo>
                    <a:lnTo>
                      <a:pt x="331" y="729"/>
                    </a:lnTo>
                    <a:lnTo>
                      <a:pt x="347" y="731"/>
                    </a:lnTo>
                    <a:lnTo>
                      <a:pt x="362" y="733"/>
                    </a:lnTo>
                    <a:lnTo>
                      <a:pt x="362" y="772"/>
                    </a:lnTo>
                    <a:lnTo>
                      <a:pt x="410" y="772"/>
                    </a:lnTo>
                    <a:lnTo>
                      <a:pt x="410" y="733"/>
                    </a:lnTo>
                    <a:lnTo>
                      <a:pt x="410" y="733"/>
                    </a:lnTo>
                    <a:lnTo>
                      <a:pt x="426" y="731"/>
                    </a:lnTo>
                    <a:lnTo>
                      <a:pt x="441" y="729"/>
                    </a:lnTo>
                    <a:lnTo>
                      <a:pt x="457" y="726"/>
                    </a:lnTo>
                    <a:lnTo>
                      <a:pt x="472" y="722"/>
                    </a:lnTo>
                    <a:lnTo>
                      <a:pt x="487" y="718"/>
                    </a:lnTo>
                    <a:lnTo>
                      <a:pt x="502" y="713"/>
                    </a:lnTo>
                    <a:lnTo>
                      <a:pt x="516" y="707"/>
                    </a:lnTo>
                    <a:lnTo>
                      <a:pt x="531" y="701"/>
                    </a:lnTo>
                    <a:lnTo>
                      <a:pt x="544" y="694"/>
                    </a:lnTo>
                    <a:lnTo>
                      <a:pt x="558" y="687"/>
                    </a:lnTo>
                    <a:lnTo>
                      <a:pt x="571" y="679"/>
                    </a:lnTo>
                    <a:lnTo>
                      <a:pt x="584" y="670"/>
                    </a:lnTo>
                    <a:lnTo>
                      <a:pt x="596" y="661"/>
                    </a:lnTo>
                    <a:lnTo>
                      <a:pt x="608" y="652"/>
                    </a:lnTo>
                    <a:lnTo>
                      <a:pt x="620" y="642"/>
                    </a:lnTo>
                    <a:lnTo>
                      <a:pt x="632" y="631"/>
                    </a:lnTo>
                    <a:lnTo>
                      <a:pt x="642" y="620"/>
                    </a:lnTo>
                    <a:lnTo>
                      <a:pt x="652" y="608"/>
                    </a:lnTo>
                    <a:lnTo>
                      <a:pt x="662" y="597"/>
                    </a:lnTo>
                    <a:lnTo>
                      <a:pt x="671" y="584"/>
                    </a:lnTo>
                    <a:lnTo>
                      <a:pt x="679" y="571"/>
                    </a:lnTo>
                    <a:lnTo>
                      <a:pt x="687" y="558"/>
                    </a:lnTo>
                    <a:lnTo>
                      <a:pt x="695" y="544"/>
                    </a:lnTo>
                    <a:lnTo>
                      <a:pt x="702" y="530"/>
                    </a:lnTo>
                    <a:lnTo>
                      <a:pt x="708" y="516"/>
                    </a:lnTo>
                    <a:lnTo>
                      <a:pt x="714" y="501"/>
                    </a:lnTo>
                    <a:lnTo>
                      <a:pt x="718" y="487"/>
                    </a:lnTo>
                    <a:lnTo>
                      <a:pt x="723" y="472"/>
                    </a:lnTo>
                    <a:lnTo>
                      <a:pt x="727" y="456"/>
                    </a:lnTo>
                    <a:lnTo>
                      <a:pt x="729" y="441"/>
                    </a:lnTo>
                    <a:lnTo>
                      <a:pt x="732" y="425"/>
                    </a:lnTo>
                    <a:lnTo>
                      <a:pt x="733" y="409"/>
                    </a:lnTo>
                    <a:lnTo>
                      <a:pt x="772" y="409"/>
                    </a:lnTo>
                    <a:lnTo>
                      <a:pt x="772" y="363"/>
                    </a:lnTo>
                    <a:close/>
                    <a:moveTo>
                      <a:pt x="664" y="363"/>
                    </a:moveTo>
                    <a:lnTo>
                      <a:pt x="591" y="363"/>
                    </a:lnTo>
                    <a:lnTo>
                      <a:pt x="591" y="363"/>
                    </a:lnTo>
                    <a:lnTo>
                      <a:pt x="589" y="345"/>
                    </a:lnTo>
                    <a:lnTo>
                      <a:pt x="585" y="327"/>
                    </a:lnTo>
                    <a:lnTo>
                      <a:pt x="579" y="310"/>
                    </a:lnTo>
                    <a:lnTo>
                      <a:pt x="572" y="294"/>
                    </a:lnTo>
                    <a:lnTo>
                      <a:pt x="564" y="279"/>
                    </a:lnTo>
                    <a:lnTo>
                      <a:pt x="555" y="264"/>
                    </a:lnTo>
                    <a:lnTo>
                      <a:pt x="545" y="251"/>
                    </a:lnTo>
                    <a:lnTo>
                      <a:pt x="533" y="238"/>
                    </a:lnTo>
                    <a:lnTo>
                      <a:pt x="521" y="227"/>
                    </a:lnTo>
                    <a:lnTo>
                      <a:pt x="507" y="217"/>
                    </a:lnTo>
                    <a:lnTo>
                      <a:pt x="493" y="207"/>
                    </a:lnTo>
                    <a:lnTo>
                      <a:pt x="478" y="199"/>
                    </a:lnTo>
                    <a:lnTo>
                      <a:pt x="462" y="192"/>
                    </a:lnTo>
                    <a:lnTo>
                      <a:pt x="445" y="187"/>
                    </a:lnTo>
                    <a:lnTo>
                      <a:pt x="428" y="183"/>
                    </a:lnTo>
                    <a:lnTo>
                      <a:pt x="410" y="180"/>
                    </a:lnTo>
                    <a:lnTo>
                      <a:pt x="410" y="107"/>
                    </a:lnTo>
                    <a:lnTo>
                      <a:pt x="410" y="107"/>
                    </a:lnTo>
                    <a:lnTo>
                      <a:pt x="434" y="111"/>
                    </a:lnTo>
                    <a:lnTo>
                      <a:pt x="458" y="117"/>
                    </a:lnTo>
                    <a:lnTo>
                      <a:pt x="481" y="124"/>
                    </a:lnTo>
                    <a:lnTo>
                      <a:pt x="504" y="135"/>
                    </a:lnTo>
                    <a:lnTo>
                      <a:pt x="525" y="146"/>
                    </a:lnTo>
                    <a:lnTo>
                      <a:pt x="545" y="159"/>
                    </a:lnTo>
                    <a:lnTo>
                      <a:pt x="564" y="174"/>
                    </a:lnTo>
                    <a:lnTo>
                      <a:pt x="582" y="190"/>
                    </a:lnTo>
                    <a:lnTo>
                      <a:pt x="598" y="208"/>
                    </a:lnTo>
                    <a:lnTo>
                      <a:pt x="613" y="227"/>
                    </a:lnTo>
                    <a:lnTo>
                      <a:pt x="626" y="247"/>
                    </a:lnTo>
                    <a:lnTo>
                      <a:pt x="638" y="268"/>
                    </a:lnTo>
                    <a:lnTo>
                      <a:pt x="647" y="290"/>
                    </a:lnTo>
                    <a:lnTo>
                      <a:pt x="655" y="313"/>
                    </a:lnTo>
                    <a:lnTo>
                      <a:pt x="661" y="337"/>
                    </a:lnTo>
                    <a:lnTo>
                      <a:pt x="664" y="363"/>
                    </a:lnTo>
                    <a:close/>
                    <a:moveTo>
                      <a:pt x="362" y="321"/>
                    </a:moveTo>
                    <a:lnTo>
                      <a:pt x="362" y="321"/>
                    </a:lnTo>
                    <a:lnTo>
                      <a:pt x="355" y="323"/>
                    </a:lnTo>
                    <a:lnTo>
                      <a:pt x="348" y="327"/>
                    </a:lnTo>
                    <a:lnTo>
                      <a:pt x="342" y="331"/>
                    </a:lnTo>
                    <a:lnTo>
                      <a:pt x="336" y="336"/>
                    </a:lnTo>
                    <a:lnTo>
                      <a:pt x="331" y="342"/>
                    </a:lnTo>
                    <a:lnTo>
                      <a:pt x="327" y="349"/>
                    </a:lnTo>
                    <a:lnTo>
                      <a:pt x="324" y="356"/>
                    </a:lnTo>
                    <a:lnTo>
                      <a:pt x="322" y="363"/>
                    </a:lnTo>
                    <a:lnTo>
                      <a:pt x="250" y="363"/>
                    </a:lnTo>
                    <a:lnTo>
                      <a:pt x="250" y="363"/>
                    </a:lnTo>
                    <a:lnTo>
                      <a:pt x="252" y="352"/>
                    </a:lnTo>
                    <a:lnTo>
                      <a:pt x="255" y="342"/>
                    </a:lnTo>
                    <a:lnTo>
                      <a:pt x="259" y="331"/>
                    </a:lnTo>
                    <a:lnTo>
                      <a:pt x="263" y="321"/>
                    </a:lnTo>
                    <a:lnTo>
                      <a:pt x="269" y="312"/>
                    </a:lnTo>
                    <a:lnTo>
                      <a:pt x="274" y="303"/>
                    </a:lnTo>
                    <a:lnTo>
                      <a:pt x="281" y="295"/>
                    </a:lnTo>
                    <a:lnTo>
                      <a:pt x="288" y="287"/>
                    </a:lnTo>
                    <a:lnTo>
                      <a:pt x="295" y="280"/>
                    </a:lnTo>
                    <a:lnTo>
                      <a:pt x="304" y="274"/>
                    </a:lnTo>
                    <a:lnTo>
                      <a:pt x="312" y="268"/>
                    </a:lnTo>
                    <a:lnTo>
                      <a:pt x="321" y="263"/>
                    </a:lnTo>
                    <a:lnTo>
                      <a:pt x="331" y="258"/>
                    </a:lnTo>
                    <a:lnTo>
                      <a:pt x="341" y="255"/>
                    </a:lnTo>
                    <a:lnTo>
                      <a:pt x="352" y="252"/>
                    </a:lnTo>
                    <a:lnTo>
                      <a:pt x="362" y="249"/>
                    </a:lnTo>
                    <a:lnTo>
                      <a:pt x="362" y="321"/>
                    </a:lnTo>
                    <a:close/>
                    <a:moveTo>
                      <a:pt x="322" y="409"/>
                    </a:moveTo>
                    <a:lnTo>
                      <a:pt x="322" y="409"/>
                    </a:lnTo>
                    <a:lnTo>
                      <a:pt x="324" y="417"/>
                    </a:lnTo>
                    <a:lnTo>
                      <a:pt x="327" y="423"/>
                    </a:lnTo>
                    <a:lnTo>
                      <a:pt x="331" y="430"/>
                    </a:lnTo>
                    <a:lnTo>
                      <a:pt x="336" y="435"/>
                    </a:lnTo>
                    <a:lnTo>
                      <a:pt x="342" y="440"/>
                    </a:lnTo>
                    <a:lnTo>
                      <a:pt x="348" y="444"/>
                    </a:lnTo>
                    <a:lnTo>
                      <a:pt x="355" y="448"/>
                    </a:lnTo>
                    <a:lnTo>
                      <a:pt x="362" y="450"/>
                    </a:lnTo>
                    <a:lnTo>
                      <a:pt x="362" y="522"/>
                    </a:lnTo>
                    <a:lnTo>
                      <a:pt x="362" y="522"/>
                    </a:lnTo>
                    <a:lnTo>
                      <a:pt x="352" y="519"/>
                    </a:lnTo>
                    <a:lnTo>
                      <a:pt x="341" y="516"/>
                    </a:lnTo>
                    <a:lnTo>
                      <a:pt x="331" y="513"/>
                    </a:lnTo>
                    <a:lnTo>
                      <a:pt x="321" y="508"/>
                    </a:lnTo>
                    <a:lnTo>
                      <a:pt x="312" y="503"/>
                    </a:lnTo>
                    <a:lnTo>
                      <a:pt x="304" y="497"/>
                    </a:lnTo>
                    <a:lnTo>
                      <a:pt x="295" y="491"/>
                    </a:lnTo>
                    <a:lnTo>
                      <a:pt x="288" y="484"/>
                    </a:lnTo>
                    <a:lnTo>
                      <a:pt x="281" y="476"/>
                    </a:lnTo>
                    <a:lnTo>
                      <a:pt x="274" y="468"/>
                    </a:lnTo>
                    <a:lnTo>
                      <a:pt x="269" y="459"/>
                    </a:lnTo>
                    <a:lnTo>
                      <a:pt x="263" y="450"/>
                    </a:lnTo>
                    <a:lnTo>
                      <a:pt x="259" y="440"/>
                    </a:lnTo>
                    <a:lnTo>
                      <a:pt x="255" y="430"/>
                    </a:lnTo>
                    <a:lnTo>
                      <a:pt x="252" y="420"/>
                    </a:lnTo>
                    <a:lnTo>
                      <a:pt x="250" y="409"/>
                    </a:lnTo>
                    <a:lnTo>
                      <a:pt x="322" y="409"/>
                    </a:lnTo>
                    <a:close/>
                    <a:moveTo>
                      <a:pt x="410" y="450"/>
                    </a:moveTo>
                    <a:lnTo>
                      <a:pt x="410" y="450"/>
                    </a:lnTo>
                    <a:lnTo>
                      <a:pt x="417" y="448"/>
                    </a:lnTo>
                    <a:lnTo>
                      <a:pt x="424" y="444"/>
                    </a:lnTo>
                    <a:lnTo>
                      <a:pt x="430" y="440"/>
                    </a:lnTo>
                    <a:lnTo>
                      <a:pt x="436" y="435"/>
                    </a:lnTo>
                    <a:lnTo>
                      <a:pt x="441" y="430"/>
                    </a:lnTo>
                    <a:lnTo>
                      <a:pt x="445" y="423"/>
                    </a:lnTo>
                    <a:lnTo>
                      <a:pt x="448" y="417"/>
                    </a:lnTo>
                    <a:lnTo>
                      <a:pt x="451" y="409"/>
                    </a:lnTo>
                    <a:lnTo>
                      <a:pt x="522" y="409"/>
                    </a:lnTo>
                    <a:lnTo>
                      <a:pt x="522" y="409"/>
                    </a:lnTo>
                    <a:lnTo>
                      <a:pt x="520" y="420"/>
                    </a:lnTo>
                    <a:lnTo>
                      <a:pt x="517" y="430"/>
                    </a:lnTo>
                    <a:lnTo>
                      <a:pt x="513" y="440"/>
                    </a:lnTo>
                    <a:lnTo>
                      <a:pt x="509" y="450"/>
                    </a:lnTo>
                    <a:lnTo>
                      <a:pt x="503" y="459"/>
                    </a:lnTo>
                    <a:lnTo>
                      <a:pt x="498" y="468"/>
                    </a:lnTo>
                    <a:lnTo>
                      <a:pt x="491" y="476"/>
                    </a:lnTo>
                    <a:lnTo>
                      <a:pt x="484" y="484"/>
                    </a:lnTo>
                    <a:lnTo>
                      <a:pt x="477" y="491"/>
                    </a:lnTo>
                    <a:lnTo>
                      <a:pt x="468" y="497"/>
                    </a:lnTo>
                    <a:lnTo>
                      <a:pt x="460" y="503"/>
                    </a:lnTo>
                    <a:lnTo>
                      <a:pt x="451" y="508"/>
                    </a:lnTo>
                    <a:lnTo>
                      <a:pt x="441" y="513"/>
                    </a:lnTo>
                    <a:lnTo>
                      <a:pt x="431" y="516"/>
                    </a:lnTo>
                    <a:lnTo>
                      <a:pt x="420" y="519"/>
                    </a:lnTo>
                    <a:lnTo>
                      <a:pt x="410" y="522"/>
                    </a:lnTo>
                    <a:lnTo>
                      <a:pt x="410" y="450"/>
                    </a:lnTo>
                    <a:close/>
                    <a:moveTo>
                      <a:pt x="451" y="363"/>
                    </a:moveTo>
                    <a:lnTo>
                      <a:pt x="451" y="363"/>
                    </a:lnTo>
                    <a:lnTo>
                      <a:pt x="448" y="356"/>
                    </a:lnTo>
                    <a:lnTo>
                      <a:pt x="445" y="349"/>
                    </a:lnTo>
                    <a:lnTo>
                      <a:pt x="441" y="342"/>
                    </a:lnTo>
                    <a:lnTo>
                      <a:pt x="436" y="336"/>
                    </a:lnTo>
                    <a:lnTo>
                      <a:pt x="430" y="331"/>
                    </a:lnTo>
                    <a:lnTo>
                      <a:pt x="424" y="327"/>
                    </a:lnTo>
                    <a:lnTo>
                      <a:pt x="417" y="323"/>
                    </a:lnTo>
                    <a:lnTo>
                      <a:pt x="410" y="321"/>
                    </a:lnTo>
                    <a:lnTo>
                      <a:pt x="410" y="249"/>
                    </a:lnTo>
                    <a:lnTo>
                      <a:pt x="410" y="249"/>
                    </a:lnTo>
                    <a:lnTo>
                      <a:pt x="420" y="252"/>
                    </a:lnTo>
                    <a:lnTo>
                      <a:pt x="431" y="255"/>
                    </a:lnTo>
                    <a:lnTo>
                      <a:pt x="441" y="258"/>
                    </a:lnTo>
                    <a:lnTo>
                      <a:pt x="451" y="263"/>
                    </a:lnTo>
                    <a:lnTo>
                      <a:pt x="460" y="268"/>
                    </a:lnTo>
                    <a:lnTo>
                      <a:pt x="468" y="274"/>
                    </a:lnTo>
                    <a:lnTo>
                      <a:pt x="477" y="280"/>
                    </a:lnTo>
                    <a:lnTo>
                      <a:pt x="484" y="287"/>
                    </a:lnTo>
                    <a:lnTo>
                      <a:pt x="491" y="295"/>
                    </a:lnTo>
                    <a:lnTo>
                      <a:pt x="498" y="303"/>
                    </a:lnTo>
                    <a:lnTo>
                      <a:pt x="503" y="312"/>
                    </a:lnTo>
                    <a:lnTo>
                      <a:pt x="509" y="321"/>
                    </a:lnTo>
                    <a:lnTo>
                      <a:pt x="513" y="331"/>
                    </a:lnTo>
                    <a:lnTo>
                      <a:pt x="517" y="342"/>
                    </a:lnTo>
                    <a:lnTo>
                      <a:pt x="520" y="352"/>
                    </a:lnTo>
                    <a:lnTo>
                      <a:pt x="522" y="363"/>
                    </a:lnTo>
                    <a:lnTo>
                      <a:pt x="451" y="363"/>
                    </a:lnTo>
                    <a:close/>
                    <a:moveTo>
                      <a:pt x="362" y="107"/>
                    </a:moveTo>
                    <a:lnTo>
                      <a:pt x="362" y="180"/>
                    </a:lnTo>
                    <a:lnTo>
                      <a:pt x="362" y="180"/>
                    </a:lnTo>
                    <a:lnTo>
                      <a:pt x="345" y="183"/>
                    </a:lnTo>
                    <a:lnTo>
                      <a:pt x="327" y="187"/>
                    </a:lnTo>
                    <a:lnTo>
                      <a:pt x="310" y="192"/>
                    </a:lnTo>
                    <a:lnTo>
                      <a:pt x="294" y="199"/>
                    </a:lnTo>
                    <a:lnTo>
                      <a:pt x="279" y="207"/>
                    </a:lnTo>
                    <a:lnTo>
                      <a:pt x="265" y="217"/>
                    </a:lnTo>
                    <a:lnTo>
                      <a:pt x="251" y="227"/>
                    </a:lnTo>
                    <a:lnTo>
                      <a:pt x="239" y="238"/>
                    </a:lnTo>
                    <a:lnTo>
                      <a:pt x="227" y="251"/>
                    </a:lnTo>
                    <a:lnTo>
                      <a:pt x="217" y="264"/>
                    </a:lnTo>
                    <a:lnTo>
                      <a:pt x="208" y="279"/>
                    </a:lnTo>
                    <a:lnTo>
                      <a:pt x="200" y="294"/>
                    </a:lnTo>
                    <a:lnTo>
                      <a:pt x="193" y="310"/>
                    </a:lnTo>
                    <a:lnTo>
                      <a:pt x="187" y="327"/>
                    </a:lnTo>
                    <a:lnTo>
                      <a:pt x="183" y="345"/>
                    </a:lnTo>
                    <a:lnTo>
                      <a:pt x="181" y="363"/>
                    </a:lnTo>
                    <a:lnTo>
                      <a:pt x="108" y="363"/>
                    </a:lnTo>
                    <a:lnTo>
                      <a:pt x="108" y="363"/>
                    </a:lnTo>
                    <a:lnTo>
                      <a:pt x="111" y="337"/>
                    </a:lnTo>
                    <a:lnTo>
                      <a:pt x="117" y="313"/>
                    </a:lnTo>
                    <a:lnTo>
                      <a:pt x="125" y="290"/>
                    </a:lnTo>
                    <a:lnTo>
                      <a:pt x="134" y="268"/>
                    </a:lnTo>
                    <a:lnTo>
                      <a:pt x="146" y="247"/>
                    </a:lnTo>
                    <a:lnTo>
                      <a:pt x="159" y="227"/>
                    </a:lnTo>
                    <a:lnTo>
                      <a:pt x="173" y="208"/>
                    </a:lnTo>
                    <a:lnTo>
                      <a:pt x="191" y="190"/>
                    </a:lnTo>
                    <a:lnTo>
                      <a:pt x="208" y="174"/>
                    </a:lnTo>
                    <a:lnTo>
                      <a:pt x="227" y="159"/>
                    </a:lnTo>
                    <a:lnTo>
                      <a:pt x="247" y="146"/>
                    </a:lnTo>
                    <a:lnTo>
                      <a:pt x="268" y="135"/>
                    </a:lnTo>
                    <a:lnTo>
                      <a:pt x="291" y="124"/>
                    </a:lnTo>
                    <a:lnTo>
                      <a:pt x="314" y="117"/>
                    </a:lnTo>
                    <a:lnTo>
                      <a:pt x="338" y="111"/>
                    </a:lnTo>
                    <a:lnTo>
                      <a:pt x="362" y="107"/>
                    </a:lnTo>
                    <a:close/>
                    <a:moveTo>
                      <a:pt x="108" y="409"/>
                    </a:moveTo>
                    <a:lnTo>
                      <a:pt x="181" y="409"/>
                    </a:lnTo>
                    <a:lnTo>
                      <a:pt x="181" y="409"/>
                    </a:lnTo>
                    <a:lnTo>
                      <a:pt x="183" y="427"/>
                    </a:lnTo>
                    <a:lnTo>
                      <a:pt x="187" y="444"/>
                    </a:lnTo>
                    <a:lnTo>
                      <a:pt x="193" y="461"/>
                    </a:lnTo>
                    <a:lnTo>
                      <a:pt x="200" y="477"/>
                    </a:lnTo>
                    <a:lnTo>
                      <a:pt x="208" y="492"/>
                    </a:lnTo>
                    <a:lnTo>
                      <a:pt x="217" y="507"/>
                    </a:lnTo>
                    <a:lnTo>
                      <a:pt x="227" y="520"/>
                    </a:lnTo>
                    <a:lnTo>
                      <a:pt x="239" y="533"/>
                    </a:lnTo>
                    <a:lnTo>
                      <a:pt x="251" y="544"/>
                    </a:lnTo>
                    <a:lnTo>
                      <a:pt x="265" y="556"/>
                    </a:lnTo>
                    <a:lnTo>
                      <a:pt x="279" y="565"/>
                    </a:lnTo>
                    <a:lnTo>
                      <a:pt x="294" y="573"/>
                    </a:lnTo>
                    <a:lnTo>
                      <a:pt x="310" y="580"/>
                    </a:lnTo>
                    <a:lnTo>
                      <a:pt x="327" y="585"/>
                    </a:lnTo>
                    <a:lnTo>
                      <a:pt x="345" y="589"/>
                    </a:lnTo>
                    <a:lnTo>
                      <a:pt x="362" y="592"/>
                    </a:lnTo>
                    <a:lnTo>
                      <a:pt x="362" y="664"/>
                    </a:lnTo>
                    <a:lnTo>
                      <a:pt x="362" y="664"/>
                    </a:lnTo>
                    <a:lnTo>
                      <a:pt x="338" y="660"/>
                    </a:lnTo>
                    <a:lnTo>
                      <a:pt x="314" y="654"/>
                    </a:lnTo>
                    <a:lnTo>
                      <a:pt x="291" y="647"/>
                    </a:lnTo>
                    <a:lnTo>
                      <a:pt x="268" y="637"/>
                    </a:lnTo>
                    <a:lnTo>
                      <a:pt x="247" y="626"/>
                    </a:lnTo>
                    <a:lnTo>
                      <a:pt x="227" y="613"/>
                    </a:lnTo>
                    <a:lnTo>
                      <a:pt x="208" y="598"/>
                    </a:lnTo>
                    <a:lnTo>
                      <a:pt x="191" y="582"/>
                    </a:lnTo>
                    <a:lnTo>
                      <a:pt x="173" y="564"/>
                    </a:lnTo>
                    <a:lnTo>
                      <a:pt x="159" y="544"/>
                    </a:lnTo>
                    <a:lnTo>
                      <a:pt x="146" y="524"/>
                    </a:lnTo>
                    <a:lnTo>
                      <a:pt x="134" y="503"/>
                    </a:lnTo>
                    <a:lnTo>
                      <a:pt x="125" y="481"/>
                    </a:lnTo>
                    <a:lnTo>
                      <a:pt x="117" y="458"/>
                    </a:lnTo>
                    <a:lnTo>
                      <a:pt x="111" y="434"/>
                    </a:lnTo>
                    <a:lnTo>
                      <a:pt x="108" y="409"/>
                    </a:lnTo>
                    <a:close/>
                    <a:moveTo>
                      <a:pt x="410" y="664"/>
                    </a:moveTo>
                    <a:lnTo>
                      <a:pt x="410" y="592"/>
                    </a:lnTo>
                    <a:lnTo>
                      <a:pt x="410" y="592"/>
                    </a:lnTo>
                    <a:lnTo>
                      <a:pt x="428" y="589"/>
                    </a:lnTo>
                    <a:lnTo>
                      <a:pt x="445" y="585"/>
                    </a:lnTo>
                    <a:lnTo>
                      <a:pt x="462" y="580"/>
                    </a:lnTo>
                    <a:lnTo>
                      <a:pt x="478" y="573"/>
                    </a:lnTo>
                    <a:lnTo>
                      <a:pt x="493" y="565"/>
                    </a:lnTo>
                    <a:lnTo>
                      <a:pt x="507" y="556"/>
                    </a:lnTo>
                    <a:lnTo>
                      <a:pt x="521" y="544"/>
                    </a:lnTo>
                    <a:lnTo>
                      <a:pt x="533" y="533"/>
                    </a:lnTo>
                    <a:lnTo>
                      <a:pt x="545" y="520"/>
                    </a:lnTo>
                    <a:lnTo>
                      <a:pt x="555" y="507"/>
                    </a:lnTo>
                    <a:lnTo>
                      <a:pt x="564" y="492"/>
                    </a:lnTo>
                    <a:lnTo>
                      <a:pt x="572" y="477"/>
                    </a:lnTo>
                    <a:lnTo>
                      <a:pt x="579" y="461"/>
                    </a:lnTo>
                    <a:lnTo>
                      <a:pt x="585" y="444"/>
                    </a:lnTo>
                    <a:lnTo>
                      <a:pt x="589" y="427"/>
                    </a:lnTo>
                    <a:lnTo>
                      <a:pt x="591" y="409"/>
                    </a:lnTo>
                    <a:lnTo>
                      <a:pt x="664" y="409"/>
                    </a:lnTo>
                    <a:lnTo>
                      <a:pt x="664" y="409"/>
                    </a:lnTo>
                    <a:lnTo>
                      <a:pt x="661" y="434"/>
                    </a:lnTo>
                    <a:lnTo>
                      <a:pt x="655" y="458"/>
                    </a:lnTo>
                    <a:lnTo>
                      <a:pt x="647" y="481"/>
                    </a:lnTo>
                    <a:lnTo>
                      <a:pt x="638" y="503"/>
                    </a:lnTo>
                    <a:lnTo>
                      <a:pt x="626" y="524"/>
                    </a:lnTo>
                    <a:lnTo>
                      <a:pt x="613" y="544"/>
                    </a:lnTo>
                    <a:lnTo>
                      <a:pt x="598" y="564"/>
                    </a:lnTo>
                    <a:lnTo>
                      <a:pt x="582" y="582"/>
                    </a:lnTo>
                    <a:lnTo>
                      <a:pt x="564" y="598"/>
                    </a:lnTo>
                    <a:lnTo>
                      <a:pt x="545" y="613"/>
                    </a:lnTo>
                    <a:lnTo>
                      <a:pt x="525" y="626"/>
                    </a:lnTo>
                    <a:lnTo>
                      <a:pt x="504" y="637"/>
                    </a:lnTo>
                    <a:lnTo>
                      <a:pt x="481" y="647"/>
                    </a:lnTo>
                    <a:lnTo>
                      <a:pt x="458" y="654"/>
                    </a:lnTo>
                    <a:lnTo>
                      <a:pt x="434" y="660"/>
                    </a:lnTo>
                    <a:lnTo>
                      <a:pt x="410" y="664"/>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cxnSp>
          <p:nvCxnSpPr>
            <p:cNvPr id="91" name="Straight Arrow Connector 90"/>
            <p:cNvCxnSpPr/>
            <p:nvPr/>
          </p:nvCxnSpPr>
          <p:spPr>
            <a:xfrm flipH="1">
              <a:off x="5767757" y="3431069"/>
              <a:ext cx="328517" cy="102427"/>
            </a:xfrm>
            <a:prstGeom prst="straightConnector1">
              <a:avLst/>
            </a:prstGeom>
            <a:ln w="1270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92" name="Group 91"/>
            <p:cNvGrpSpPr>
              <a:grpSpLocks noChangeAspect="1"/>
            </p:cNvGrpSpPr>
            <p:nvPr/>
          </p:nvGrpSpPr>
          <p:grpSpPr>
            <a:xfrm>
              <a:off x="5804792" y="2978410"/>
              <a:ext cx="278703" cy="278703"/>
              <a:chOff x="2664754" y="4896084"/>
              <a:chExt cx="2566461" cy="2566461"/>
            </a:xfrm>
          </p:grpSpPr>
          <p:grpSp>
            <p:nvGrpSpPr>
              <p:cNvPr id="93" name="Group 92"/>
              <p:cNvGrpSpPr/>
              <p:nvPr/>
            </p:nvGrpSpPr>
            <p:grpSpPr>
              <a:xfrm>
                <a:off x="2664754" y="4896084"/>
                <a:ext cx="2566461" cy="2566461"/>
                <a:chOff x="4848404" y="4895781"/>
                <a:chExt cx="2566461" cy="2566461"/>
              </a:xfrm>
            </p:grpSpPr>
            <p:sp>
              <p:nvSpPr>
                <p:cNvPr id="98" name="Oval 97"/>
                <p:cNvSpPr/>
                <p:nvPr/>
              </p:nvSpPr>
              <p:spPr>
                <a:xfrm>
                  <a:off x="4848404" y="4895781"/>
                  <a:ext cx="2566461" cy="256646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a:xfrm>
                  <a:off x="5045481" y="5092858"/>
                  <a:ext cx="2172306" cy="2172306"/>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275"/>
                <p:cNvSpPr/>
                <p:nvPr/>
              </p:nvSpPr>
              <p:spPr>
                <a:xfrm rot="16200000" flipH="1" flipV="1">
                  <a:off x="5280282" y="5258137"/>
                  <a:ext cx="1737360" cy="1737360"/>
                </a:xfrm>
                <a:custGeom>
                  <a:avLst/>
                  <a:gdLst>
                    <a:gd name="connsiteX0" fmla="*/ 1156503 w 1336057"/>
                    <a:gd name="connsiteY0" fmla="*/ 698930 h 1393111"/>
                    <a:gd name="connsiteX1" fmla="*/ 1192414 w 1336057"/>
                    <a:gd name="connsiteY1" fmla="*/ 663019 h 1393111"/>
                    <a:gd name="connsiteX2" fmla="*/ 1300146 w 1336057"/>
                    <a:gd name="connsiteY2" fmla="*/ 663019 h 1393111"/>
                    <a:gd name="connsiteX3" fmla="*/ 1336057 w 1336057"/>
                    <a:gd name="connsiteY3" fmla="*/ 698930 h 1393111"/>
                    <a:gd name="connsiteX4" fmla="*/ 1300146 w 1336057"/>
                    <a:gd name="connsiteY4" fmla="*/ 734840 h 1393111"/>
                    <a:gd name="connsiteX5" fmla="*/ 1192414 w 1336057"/>
                    <a:gd name="connsiteY5" fmla="*/ 734841 h 1393111"/>
                    <a:gd name="connsiteX6" fmla="*/ 1156503 w 1336057"/>
                    <a:gd name="connsiteY6" fmla="*/ 698930 h 1393111"/>
                    <a:gd name="connsiteX7" fmla="*/ 1058051 w 1336057"/>
                    <a:gd name="connsiteY7" fmla="*/ 309607 h 1393111"/>
                    <a:gd name="connsiteX8" fmla="*/ 1067853 w 1336057"/>
                    <a:gd name="connsiteY8" fmla="*/ 283931 h 1393111"/>
                    <a:gd name="connsiteX9" fmla="*/ 1141868 w 1336057"/>
                    <a:gd name="connsiteY9" fmla="*/ 205649 h 1393111"/>
                    <a:gd name="connsiteX10" fmla="*/ 1192634 w 1336057"/>
                    <a:gd name="connsiteY10" fmla="*/ 204225 h 1393111"/>
                    <a:gd name="connsiteX11" fmla="*/ 1194056 w 1336057"/>
                    <a:gd name="connsiteY11" fmla="*/ 254991 h 1393111"/>
                    <a:gd name="connsiteX12" fmla="*/ 1120041 w 1336057"/>
                    <a:gd name="connsiteY12" fmla="*/ 333273 h 1393111"/>
                    <a:gd name="connsiteX13" fmla="*/ 1069275 w 1336057"/>
                    <a:gd name="connsiteY13" fmla="*/ 334696 h 1393111"/>
                    <a:gd name="connsiteX14" fmla="*/ 1058051 w 1336057"/>
                    <a:gd name="connsiteY14" fmla="*/ 309607 h 1393111"/>
                    <a:gd name="connsiteX15" fmla="*/ 1058051 w 1336057"/>
                    <a:gd name="connsiteY15" fmla="*/ 1083500 h 1393111"/>
                    <a:gd name="connsiteX16" fmla="*/ 1069275 w 1336057"/>
                    <a:gd name="connsiteY16" fmla="*/ 1058411 h 1393111"/>
                    <a:gd name="connsiteX17" fmla="*/ 1120040 w 1336057"/>
                    <a:gd name="connsiteY17" fmla="*/ 1059835 h 1393111"/>
                    <a:gd name="connsiteX18" fmla="*/ 1194055 w 1336057"/>
                    <a:gd name="connsiteY18" fmla="*/ 1138117 h 1393111"/>
                    <a:gd name="connsiteX19" fmla="*/ 1192634 w 1336057"/>
                    <a:gd name="connsiteY19" fmla="*/ 1188882 h 1393111"/>
                    <a:gd name="connsiteX20" fmla="*/ 1141868 w 1336057"/>
                    <a:gd name="connsiteY20" fmla="*/ 1187459 h 1393111"/>
                    <a:gd name="connsiteX21" fmla="*/ 1067853 w 1336057"/>
                    <a:gd name="connsiteY21" fmla="*/ 1109177 h 1393111"/>
                    <a:gd name="connsiteX22" fmla="*/ 1058051 w 1336057"/>
                    <a:gd name="connsiteY22" fmla="*/ 1083500 h 1393111"/>
                    <a:gd name="connsiteX23" fmla="*/ 656008 w 1336057"/>
                    <a:gd name="connsiteY23" fmla="*/ 143643 h 1393111"/>
                    <a:gd name="connsiteX24" fmla="*/ 656008 w 1336057"/>
                    <a:gd name="connsiteY24" fmla="*/ 35911 h 1393111"/>
                    <a:gd name="connsiteX25" fmla="*/ 691919 w 1336057"/>
                    <a:gd name="connsiteY25" fmla="*/ 0 h 1393111"/>
                    <a:gd name="connsiteX26" fmla="*/ 727830 w 1336057"/>
                    <a:gd name="connsiteY26" fmla="*/ 35911 h 1393111"/>
                    <a:gd name="connsiteX27" fmla="*/ 727830 w 1336057"/>
                    <a:gd name="connsiteY27" fmla="*/ 143643 h 1393111"/>
                    <a:gd name="connsiteX28" fmla="*/ 691919 w 1336057"/>
                    <a:gd name="connsiteY28" fmla="*/ 179554 h 1393111"/>
                    <a:gd name="connsiteX29" fmla="*/ 656008 w 1336057"/>
                    <a:gd name="connsiteY29" fmla="*/ 143643 h 1393111"/>
                    <a:gd name="connsiteX30" fmla="*/ 656008 w 1336057"/>
                    <a:gd name="connsiteY30" fmla="*/ 1357201 h 1393111"/>
                    <a:gd name="connsiteX31" fmla="*/ 656008 w 1336057"/>
                    <a:gd name="connsiteY31" fmla="*/ 1249468 h 1393111"/>
                    <a:gd name="connsiteX32" fmla="*/ 691919 w 1336057"/>
                    <a:gd name="connsiteY32" fmla="*/ 1213557 h 1393111"/>
                    <a:gd name="connsiteX33" fmla="*/ 727830 w 1336057"/>
                    <a:gd name="connsiteY33" fmla="*/ 1249468 h 1393111"/>
                    <a:gd name="connsiteX34" fmla="*/ 727830 w 1336057"/>
                    <a:gd name="connsiteY34" fmla="*/ 1357201 h 1393111"/>
                    <a:gd name="connsiteX35" fmla="*/ 691919 w 1336057"/>
                    <a:gd name="connsiteY35" fmla="*/ 1393111 h 1393111"/>
                    <a:gd name="connsiteX36" fmla="*/ 656008 w 1336057"/>
                    <a:gd name="connsiteY36" fmla="*/ 1357201 h 1393111"/>
                    <a:gd name="connsiteX37" fmla="*/ 179982 w 1336057"/>
                    <a:gd name="connsiteY37" fmla="*/ 229316 h 1393111"/>
                    <a:gd name="connsiteX38" fmla="*/ 191206 w 1336057"/>
                    <a:gd name="connsiteY38" fmla="*/ 204227 h 1393111"/>
                    <a:gd name="connsiteX39" fmla="*/ 241972 w 1336057"/>
                    <a:gd name="connsiteY39" fmla="*/ 205651 h 1393111"/>
                    <a:gd name="connsiteX40" fmla="*/ 315987 w 1336057"/>
                    <a:gd name="connsiteY40" fmla="*/ 283933 h 1393111"/>
                    <a:gd name="connsiteX41" fmla="*/ 314565 w 1336057"/>
                    <a:gd name="connsiteY41" fmla="*/ 334698 h 1393111"/>
                    <a:gd name="connsiteX42" fmla="*/ 263800 w 1336057"/>
                    <a:gd name="connsiteY42" fmla="*/ 333275 h 1393111"/>
                    <a:gd name="connsiteX43" fmla="*/ 189785 w 1336057"/>
                    <a:gd name="connsiteY43" fmla="*/ 254993 h 1393111"/>
                    <a:gd name="connsiteX44" fmla="*/ 179982 w 1336057"/>
                    <a:gd name="connsiteY44" fmla="*/ 229316 h 1393111"/>
                    <a:gd name="connsiteX45" fmla="*/ 179982 w 1336057"/>
                    <a:gd name="connsiteY45" fmla="*/ 1163795 h 1393111"/>
                    <a:gd name="connsiteX46" fmla="*/ 189784 w 1336057"/>
                    <a:gd name="connsiteY46" fmla="*/ 1138119 h 1393111"/>
                    <a:gd name="connsiteX47" fmla="*/ 263799 w 1336057"/>
                    <a:gd name="connsiteY47" fmla="*/ 1059837 h 1393111"/>
                    <a:gd name="connsiteX48" fmla="*/ 314565 w 1336057"/>
                    <a:gd name="connsiteY48" fmla="*/ 1058413 h 1393111"/>
                    <a:gd name="connsiteX49" fmla="*/ 315987 w 1336057"/>
                    <a:gd name="connsiteY49" fmla="*/ 1109179 h 1393111"/>
                    <a:gd name="connsiteX50" fmla="*/ 241972 w 1336057"/>
                    <a:gd name="connsiteY50" fmla="*/ 1187461 h 1393111"/>
                    <a:gd name="connsiteX51" fmla="*/ 191206 w 1336057"/>
                    <a:gd name="connsiteY51" fmla="*/ 1188884 h 1393111"/>
                    <a:gd name="connsiteX52" fmla="*/ 179982 w 1336057"/>
                    <a:gd name="connsiteY52" fmla="*/ 1163795 h 1393111"/>
                    <a:gd name="connsiteX53" fmla="*/ 0 w 1336057"/>
                    <a:gd name="connsiteY53" fmla="*/ 698930 h 1393111"/>
                    <a:gd name="connsiteX54" fmla="*/ 35911 w 1336057"/>
                    <a:gd name="connsiteY54" fmla="*/ 663019 h 1393111"/>
                    <a:gd name="connsiteX55" fmla="*/ 143643 w 1336057"/>
                    <a:gd name="connsiteY55" fmla="*/ 663019 h 1393111"/>
                    <a:gd name="connsiteX56" fmla="*/ 179554 w 1336057"/>
                    <a:gd name="connsiteY56" fmla="*/ 698930 h 1393111"/>
                    <a:gd name="connsiteX57" fmla="*/ 143643 w 1336057"/>
                    <a:gd name="connsiteY57" fmla="*/ 734841 h 1393111"/>
                    <a:gd name="connsiteX58" fmla="*/ 35911 w 1336057"/>
                    <a:gd name="connsiteY58" fmla="*/ 734841 h 1393111"/>
                    <a:gd name="connsiteX59" fmla="*/ 0 w 1336057"/>
                    <a:gd name="connsiteY59" fmla="*/ 698930 h 139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336057" h="1393111">
                      <a:moveTo>
                        <a:pt x="1156503" y="698930"/>
                      </a:moveTo>
                      <a:cubicBezTo>
                        <a:pt x="1156503" y="679097"/>
                        <a:pt x="1172581" y="663019"/>
                        <a:pt x="1192414" y="663019"/>
                      </a:cubicBezTo>
                      <a:lnTo>
                        <a:pt x="1300146" y="663019"/>
                      </a:lnTo>
                      <a:cubicBezTo>
                        <a:pt x="1319979" y="663019"/>
                        <a:pt x="1336057" y="679097"/>
                        <a:pt x="1336057" y="698930"/>
                      </a:cubicBezTo>
                      <a:cubicBezTo>
                        <a:pt x="1336057" y="718762"/>
                        <a:pt x="1319979" y="734840"/>
                        <a:pt x="1300146" y="734840"/>
                      </a:cubicBezTo>
                      <a:lnTo>
                        <a:pt x="1192414" y="734841"/>
                      </a:lnTo>
                      <a:cubicBezTo>
                        <a:pt x="1172581" y="734841"/>
                        <a:pt x="1156503" y="718762"/>
                        <a:pt x="1156503" y="698930"/>
                      </a:cubicBezTo>
                      <a:close/>
                      <a:moveTo>
                        <a:pt x="1058051" y="309607"/>
                      </a:moveTo>
                      <a:cubicBezTo>
                        <a:pt x="1057794" y="300421"/>
                        <a:pt x="1061040" y="291135"/>
                        <a:pt x="1067853" y="283931"/>
                      </a:cubicBezTo>
                      <a:lnTo>
                        <a:pt x="1141868" y="205649"/>
                      </a:lnTo>
                      <a:cubicBezTo>
                        <a:pt x="1155494" y="191238"/>
                        <a:pt x="1178223" y="190599"/>
                        <a:pt x="1192634" y="204225"/>
                      </a:cubicBezTo>
                      <a:cubicBezTo>
                        <a:pt x="1207045" y="217851"/>
                        <a:pt x="1207681" y="240580"/>
                        <a:pt x="1194056" y="254991"/>
                      </a:cubicBezTo>
                      <a:lnTo>
                        <a:pt x="1120041" y="333273"/>
                      </a:lnTo>
                      <a:cubicBezTo>
                        <a:pt x="1106415" y="347684"/>
                        <a:pt x="1083686" y="348322"/>
                        <a:pt x="1069275" y="334696"/>
                      </a:cubicBezTo>
                      <a:cubicBezTo>
                        <a:pt x="1062071" y="327883"/>
                        <a:pt x="1058308" y="318795"/>
                        <a:pt x="1058051" y="309607"/>
                      </a:cubicBezTo>
                      <a:close/>
                      <a:moveTo>
                        <a:pt x="1058051" y="1083500"/>
                      </a:moveTo>
                      <a:cubicBezTo>
                        <a:pt x="1058308" y="1074313"/>
                        <a:pt x="1062070" y="1065225"/>
                        <a:pt x="1069275" y="1058411"/>
                      </a:cubicBezTo>
                      <a:cubicBezTo>
                        <a:pt x="1083686" y="1044785"/>
                        <a:pt x="1106415" y="1045424"/>
                        <a:pt x="1120040" y="1059835"/>
                      </a:cubicBezTo>
                      <a:lnTo>
                        <a:pt x="1194055" y="1138117"/>
                      </a:lnTo>
                      <a:cubicBezTo>
                        <a:pt x="1207681" y="1152528"/>
                        <a:pt x="1207045" y="1175257"/>
                        <a:pt x="1192634" y="1188882"/>
                      </a:cubicBezTo>
                      <a:cubicBezTo>
                        <a:pt x="1178223" y="1202508"/>
                        <a:pt x="1155494" y="1201870"/>
                        <a:pt x="1141868" y="1187459"/>
                      </a:cubicBezTo>
                      <a:lnTo>
                        <a:pt x="1067853" y="1109177"/>
                      </a:lnTo>
                      <a:cubicBezTo>
                        <a:pt x="1061039" y="1101972"/>
                        <a:pt x="1057793" y="1092686"/>
                        <a:pt x="1058051" y="1083500"/>
                      </a:cubicBezTo>
                      <a:close/>
                      <a:moveTo>
                        <a:pt x="656008" y="143643"/>
                      </a:moveTo>
                      <a:lnTo>
                        <a:pt x="656008" y="35911"/>
                      </a:lnTo>
                      <a:cubicBezTo>
                        <a:pt x="656008" y="16078"/>
                        <a:pt x="672087" y="0"/>
                        <a:pt x="691919" y="0"/>
                      </a:cubicBezTo>
                      <a:cubicBezTo>
                        <a:pt x="711752" y="0"/>
                        <a:pt x="727830" y="16078"/>
                        <a:pt x="727830" y="35911"/>
                      </a:cubicBezTo>
                      <a:lnTo>
                        <a:pt x="727830" y="143643"/>
                      </a:lnTo>
                      <a:cubicBezTo>
                        <a:pt x="727830" y="163476"/>
                        <a:pt x="711752" y="179554"/>
                        <a:pt x="691919" y="179554"/>
                      </a:cubicBezTo>
                      <a:cubicBezTo>
                        <a:pt x="672087" y="179554"/>
                        <a:pt x="656008" y="163476"/>
                        <a:pt x="656008" y="143643"/>
                      </a:cubicBezTo>
                      <a:close/>
                      <a:moveTo>
                        <a:pt x="656008" y="1357201"/>
                      </a:moveTo>
                      <a:lnTo>
                        <a:pt x="656008" y="1249468"/>
                      </a:lnTo>
                      <a:cubicBezTo>
                        <a:pt x="656008" y="1229635"/>
                        <a:pt x="672086" y="1213557"/>
                        <a:pt x="691919" y="1213557"/>
                      </a:cubicBezTo>
                      <a:cubicBezTo>
                        <a:pt x="711751" y="1213557"/>
                        <a:pt x="727830" y="1229635"/>
                        <a:pt x="727830" y="1249468"/>
                      </a:cubicBezTo>
                      <a:lnTo>
                        <a:pt x="727830" y="1357201"/>
                      </a:lnTo>
                      <a:cubicBezTo>
                        <a:pt x="727830" y="1377033"/>
                        <a:pt x="711751" y="1393111"/>
                        <a:pt x="691919" y="1393111"/>
                      </a:cubicBezTo>
                      <a:cubicBezTo>
                        <a:pt x="672086" y="1393111"/>
                        <a:pt x="656008" y="1377033"/>
                        <a:pt x="656008" y="1357201"/>
                      </a:cubicBezTo>
                      <a:close/>
                      <a:moveTo>
                        <a:pt x="179982" y="229316"/>
                      </a:moveTo>
                      <a:cubicBezTo>
                        <a:pt x="180240" y="220128"/>
                        <a:pt x="184002" y="211041"/>
                        <a:pt x="191206" y="204227"/>
                      </a:cubicBezTo>
                      <a:cubicBezTo>
                        <a:pt x="205617" y="190601"/>
                        <a:pt x="228346" y="191240"/>
                        <a:pt x="241972" y="205651"/>
                      </a:cubicBezTo>
                      <a:lnTo>
                        <a:pt x="315987" y="283933"/>
                      </a:lnTo>
                      <a:cubicBezTo>
                        <a:pt x="329613" y="298344"/>
                        <a:pt x="328976" y="321073"/>
                        <a:pt x="314565" y="334698"/>
                      </a:cubicBezTo>
                      <a:cubicBezTo>
                        <a:pt x="300154" y="348324"/>
                        <a:pt x="277425" y="347686"/>
                        <a:pt x="263800" y="333275"/>
                      </a:cubicBezTo>
                      <a:lnTo>
                        <a:pt x="189785" y="254993"/>
                      </a:lnTo>
                      <a:cubicBezTo>
                        <a:pt x="182971" y="247788"/>
                        <a:pt x="179725" y="238502"/>
                        <a:pt x="179982" y="229316"/>
                      </a:cubicBezTo>
                      <a:close/>
                      <a:moveTo>
                        <a:pt x="179982" y="1163795"/>
                      </a:moveTo>
                      <a:cubicBezTo>
                        <a:pt x="179725" y="1154609"/>
                        <a:pt x="182970" y="1145323"/>
                        <a:pt x="189784" y="1138119"/>
                      </a:cubicBezTo>
                      <a:lnTo>
                        <a:pt x="263799" y="1059837"/>
                      </a:lnTo>
                      <a:cubicBezTo>
                        <a:pt x="277425" y="1045426"/>
                        <a:pt x="300154" y="1044787"/>
                        <a:pt x="314565" y="1058413"/>
                      </a:cubicBezTo>
                      <a:cubicBezTo>
                        <a:pt x="328976" y="1072039"/>
                        <a:pt x="329612" y="1094768"/>
                        <a:pt x="315987" y="1109179"/>
                      </a:cubicBezTo>
                      <a:lnTo>
                        <a:pt x="241972" y="1187461"/>
                      </a:lnTo>
                      <a:cubicBezTo>
                        <a:pt x="228346" y="1201872"/>
                        <a:pt x="205617" y="1202510"/>
                        <a:pt x="191206" y="1188884"/>
                      </a:cubicBezTo>
                      <a:cubicBezTo>
                        <a:pt x="184001" y="1182071"/>
                        <a:pt x="180239" y="1172983"/>
                        <a:pt x="179982" y="1163795"/>
                      </a:cubicBezTo>
                      <a:close/>
                      <a:moveTo>
                        <a:pt x="0" y="698930"/>
                      </a:moveTo>
                      <a:cubicBezTo>
                        <a:pt x="0" y="679097"/>
                        <a:pt x="16078" y="663019"/>
                        <a:pt x="35911" y="663019"/>
                      </a:cubicBezTo>
                      <a:lnTo>
                        <a:pt x="143643" y="663019"/>
                      </a:lnTo>
                      <a:cubicBezTo>
                        <a:pt x="163476" y="663019"/>
                        <a:pt x="179554" y="679097"/>
                        <a:pt x="179554" y="698930"/>
                      </a:cubicBezTo>
                      <a:cubicBezTo>
                        <a:pt x="179554" y="718762"/>
                        <a:pt x="163476" y="734841"/>
                        <a:pt x="143643" y="734841"/>
                      </a:cubicBezTo>
                      <a:lnTo>
                        <a:pt x="35911" y="734841"/>
                      </a:lnTo>
                      <a:cubicBezTo>
                        <a:pt x="16078" y="734841"/>
                        <a:pt x="0" y="718762"/>
                        <a:pt x="0" y="698930"/>
                      </a:cubicBezTo>
                      <a:close/>
                    </a:path>
                  </a:pathLst>
                </a:custGeom>
                <a:solidFill>
                  <a:srgbClr val="7A7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3857732" y="5193394"/>
                <a:ext cx="794320" cy="1191251"/>
                <a:chOff x="5995104" y="5328746"/>
                <a:chExt cx="794320" cy="1191251"/>
              </a:xfrm>
            </p:grpSpPr>
            <p:sp>
              <p:nvSpPr>
                <p:cNvPr id="95" name="Rounded Rectangle 242"/>
                <p:cNvSpPr/>
                <p:nvPr/>
              </p:nvSpPr>
              <p:spPr>
                <a:xfrm rot="16200000" flipH="1" flipV="1">
                  <a:off x="5562893" y="5763055"/>
                  <a:ext cx="1061557" cy="192939"/>
                </a:xfrm>
                <a:prstGeom prst="roundRect">
                  <a:avLst>
                    <a:gd name="adj" fmla="val 50000"/>
                  </a:avLst>
                </a:prstGeom>
                <a:solidFill>
                  <a:srgbClr val="7A7A7A">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6" name="Rounded Rectangle 250"/>
                <p:cNvSpPr/>
                <p:nvPr/>
              </p:nvSpPr>
              <p:spPr>
                <a:xfrm rot="12151123" flipH="1" flipV="1">
                  <a:off x="6033059" y="6360103"/>
                  <a:ext cx="756365" cy="159894"/>
                </a:xfrm>
                <a:prstGeom prst="roundRect">
                  <a:avLst>
                    <a:gd name="adj" fmla="val 50000"/>
                  </a:avLst>
                </a:prstGeom>
                <a:solidFill>
                  <a:srgbClr val="7A7A7A">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7" name="Oval 96"/>
                <p:cNvSpPr/>
                <p:nvPr/>
              </p:nvSpPr>
              <p:spPr>
                <a:xfrm rot="9000000" flipH="1" flipV="1">
                  <a:off x="5995104" y="6175722"/>
                  <a:ext cx="266683" cy="266683"/>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62" name="Group 261"/>
          <p:cNvGrpSpPr/>
          <p:nvPr/>
        </p:nvGrpSpPr>
        <p:grpSpPr>
          <a:xfrm>
            <a:off x="5502351" y="2495947"/>
            <a:ext cx="1122160" cy="492121"/>
            <a:chOff x="8315135" y="2879924"/>
            <a:chExt cx="1238988" cy="543356"/>
          </a:xfrm>
        </p:grpSpPr>
        <p:grpSp>
          <p:nvGrpSpPr>
            <p:cNvPr id="130" name="Group 129"/>
            <p:cNvGrpSpPr/>
            <p:nvPr/>
          </p:nvGrpSpPr>
          <p:grpSpPr>
            <a:xfrm>
              <a:off x="8315135" y="3343543"/>
              <a:ext cx="1238988" cy="79737"/>
              <a:chOff x="1844456" y="5526151"/>
              <a:chExt cx="1990353" cy="128092"/>
            </a:xfrm>
          </p:grpSpPr>
          <p:sp>
            <p:nvSpPr>
              <p:cNvPr id="137" name="Rectangle 136"/>
              <p:cNvSpPr/>
              <p:nvPr/>
            </p:nvSpPr>
            <p:spPr bwMode="auto">
              <a:xfrm>
                <a:off x="2487454" y="5566524"/>
                <a:ext cx="1144966" cy="4269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1844456" y="5566524"/>
                <a:ext cx="1144966" cy="426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9" name="Rectangle 138"/>
              <p:cNvSpPr/>
              <p:nvPr/>
            </p:nvSpPr>
            <p:spPr bwMode="auto">
              <a:xfrm>
                <a:off x="2943092" y="5526151"/>
                <a:ext cx="92659" cy="128092"/>
              </a:xfrm>
              <a:prstGeom prst="rect">
                <a:avLst/>
              </a:prstGeom>
              <a:solidFill>
                <a:srgbClr val="6364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158"/>
              <p:cNvSpPr>
                <a:spLocks noChangeAspect="1"/>
              </p:cNvSpPr>
              <p:nvPr/>
            </p:nvSpPr>
            <p:spPr bwMode="auto">
              <a:xfrm>
                <a:off x="3658559" y="5543929"/>
                <a:ext cx="176250" cy="89317"/>
              </a:xfrm>
              <a:custGeom>
                <a:avLst/>
                <a:gdLst>
                  <a:gd name="connsiteX0" fmla="*/ 1474326 w 1988342"/>
                  <a:gd name="connsiteY0" fmla="*/ 249840 h 1007610"/>
                  <a:gd name="connsiteX1" fmla="*/ 1304098 w 1988342"/>
                  <a:gd name="connsiteY1" fmla="*/ 306982 h 1007610"/>
                  <a:gd name="connsiteX2" fmla="*/ 1129405 w 1988342"/>
                  <a:gd name="connsiteY2" fmla="*/ 462150 h 1007610"/>
                  <a:gd name="connsiteX3" fmla="*/ 1288853 w 1988342"/>
                  <a:gd name="connsiteY3" fmla="*/ 641662 h 1007610"/>
                  <a:gd name="connsiteX4" fmla="*/ 1622995 w 1988342"/>
                  <a:gd name="connsiteY4" fmla="*/ 666008 h 1007610"/>
                  <a:gd name="connsiteX5" fmla="*/ 1622996 w 1988342"/>
                  <a:gd name="connsiteY5" fmla="*/ 666009 h 1007610"/>
                  <a:gd name="connsiteX6" fmla="*/ 1638240 w 1988342"/>
                  <a:gd name="connsiteY6" fmla="*/ 331328 h 1007610"/>
                  <a:gd name="connsiteX7" fmla="*/ 1474326 w 1988342"/>
                  <a:gd name="connsiteY7" fmla="*/ 249840 h 1007610"/>
                  <a:gd name="connsiteX8" fmla="*/ 492827 w 1988342"/>
                  <a:gd name="connsiteY8" fmla="*/ 249839 h 1007610"/>
                  <a:gd name="connsiteX9" fmla="*/ 328913 w 1988342"/>
                  <a:gd name="connsiteY9" fmla="*/ 331327 h 1007610"/>
                  <a:gd name="connsiteX10" fmla="*/ 344157 w 1988342"/>
                  <a:gd name="connsiteY10" fmla="*/ 666008 h 1007610"/>
                  <a:gd name="connsiteX11" fmla="*/ 344158 w 1988342"/>
                  <a:gd name="connsiteY11" fmla="*/ 666007 h 1007610"/>
                  <a:gd name="connsiteX12" fmla="*/ 678300 w 1988342"/>
                  <a:gd name="connsiteY12" fmla="*/ 641661 h 1007610"/>
                  <a:gd name="connsiteX13" fmla="*/ 837748 w 1988342"/>
                  <a:gd name="connsiteY13" fmla="*/ 462149 h 1007610"/>
                  <a:gd name="connsiteX14" fmla="*/ 663055 w 1988342"/>
                  <a:gd name="connsiteY14" fmla="*/ 306981 h 1007610"/>
                  <a:gd name="connsiteX15" fmla="*/ 492827 w 1988342"/>
                  <a:gd name="connsiteY15" fmla="*/ 249839 h 1007610"/>
                  <a:gd name="connsiteX16" fmla="*/ 503487 w 1988342"/>
                  <a:gd name="connsiteY16" fmla="*/ 288 h 1007610"/>
                  <a:gd name="connsiteX17" fmla="*/ 980107 w 1988342"/>
                  <a:gd name="connsiteY17" fmla="*/ 295095 h 1007610"/>
                  <a:gd name="connsiteX18" fmla="*/ 1484855 w 1988342"/>
                  <a:gd name="connsiteY18" fmla="*/ 288 h 1007610"/>
                  <a:gd name="connsiteX19" fmla="*/ 1988342 w 1988342"/>
                  <a:gd name="connsiteY19" fmla="*/ 503775 h 1007610"/>
                  <a:gd name="connsiteX20" fmla="*/ 1484855 w 1988342"/>
                  <a:gd name="connsiteY20" fmla="*/ 1007262 h 1007610"/>
                  <a:gd name="connsiteX21" fmla="*/ 967407 w 1988342"/>
                  <a:gd name="connsiteY21" fmla="*/ 699755 h 1007610"/>
                  <a:gd name="connsiteX22" fmla="*/ 503487 w 1988342"/>
                  <a:gd name="connsiteY22" fmla="*/ 1007262 h 1007610"/>
                  <a:gd name="connsiteX23" fmla="*/ 0 w 1988342"/>
                  <a:gd name="connsiteY23" fmla="*/ 503775 h 1007610"/>
                  <a:gd name="connsiteX24" fmla="*/ 503487 w 1988342"/>
                  <a:gd name="connsiteY24" fmla="*/ 288 h 100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88342" h="1007610">
                    <a:moveTo>
                      <a:pt x="1474326" y="249840"/>
                    </a:moveTo>
                    <a:cubicBezTo>
                      <a:pt x="1413858" y="245435"/>
                      <a:pt x="1352338" y="264134"/>
                      <a:pt x="1304098" y="306982"/>
                    </a:cubicBezTo>
                    <a:lnTo>
                      <a:pt x="1129405" y="462150"/>
                    </a:lnTo>
                    <a:lnTo>
                      <a:pt x="1288853" y="641662"/>
                    </a:lnTo>
                    <a:cubicBezTo>
                      <a:pt x="1376915" y="740805"/>
                      <a:pt x="1526515" y="751705"/>
                      <a:pt x="1622995" y="666008"/>
                    </a:cubicBezTo>
                    <a:lnTo>
                      <a:pt x="1622996" y="666009"/>
                    </a:lnTo>
                    <a:cubicBezTo>
                      <a:pt x="1719476" y="580312"/>
                      <a:pt x="1726302" y="430471"/>
                      <a:pt x="1638240" y="331328"/>
                    </a:cubicBezTo>
                    <a:cubicBezTo>
                      <a:pt x="1594209" y="281757"/>
                      <a:pt x="1534794" y="254246"/>
                      <a:pt x="1474326" y="249840"/>
                    </a:cubicBezTo>
                    <a:close/>
                    <a:moveTo>
                      <a:pt x="492827" y="249839"/>
                    </a:moveTo>
                    <a:cubicBezTo>
                      <a:pt x="432359" y="254245"/>
                      <a:pt x="372944" y="281756"/>
                      <a:pt x="328913" y="331327"/>
                    </a:cubicBezTo>
                    <a:cubicBezTo>
                      <a:pt x="240852" y="430470"/>
                      <a:pt x="247677" y="580311"/>
                      <a:pt x="344157" y="666008"/>
                    </a:cubicBezTo>
                    <a:lnTo>
                      <a:pt x="344158" y="666007"/>
                    </a:lnTo>
                    <a:cubicBezTo>
                      <a:pt x="440638" y="751704"/>
                      <a:pt x="590239" y="740804"/>
                      <a:pt x="678300" y="641661"/>
                    </a:cubicBezTo>
                    <a:lnTo>
                      <a:pt x="837748" y="462149"/>
                    </a:lnTo>
                    <a:lnTo>
                      <a:pt x="663055" y="306981"/>
                    </a:lnTo>
                    <a:cubicBezTo>
                      <a:pt x="614815" y="264133"/>
                      <a:pt x="553295" y="245434"/>
                      <a:pt x="492827" y="249839"/>
                    </a:cubicBezTo>
                    <a:close/>
                    <a:moveTo>
                      <a:pt x="503487" y="288"/>
                    </a:moveTo>
                    <a:cubicBezTo>
                      <a:pt x="712038" y="288"/>
                      <a:pt x="903674" y="114386"/>
                      <a:pt x="980107" y="295095"/>
                    </a:cubicBezTo>
                    <a:cubicBezTo>
                      <a:pt x="1089090" y="117981"/>
                      <a:pt x="1218391" y="9958"/>
                      <a:pt x="1484855" y="288"/>
                    </a:cubicBezTo>
                    <a:cubicBezTo>
                      <a:pt x="1751319" y="-9382"/>
                      <a:pt x="1988342" y="225707"/>
                      <a:pt x="1988342" y="503775"/>
                    </a:cubicBezTo>
                    <a:cubicBezTo>
                      <a:pt x="1988342" y="781843"/>
                      <a:pt x="1715332" y="998548"/>
                      <a:pt x="1484855" y="1007262"/>
                    </a:cubicBezTo>
                    <a:cubicBezTo>
                      <a:pt x="1226130" y="1017044"/>
                      <a:pt x="1073818" y="818818"/>
                      <a:pt x="967407" y="699755"/>
                    </a:cubicBezTo>
                    <a:cubicBezTo>
                      <a:pt x="867162" y="864589"/>
                      <a:pt x="712038" y="1007262"/>
                      <a:pt x="503487" y="1007262"/>
                    </a:cubicBezTo>
                    <a:cubicBezTo>
                      <a:pt x="225419" y="1007262"/>
                      <a:pt x="0" y="781843"/>
                      <a:pt x="0" y="503775"/>
                    </a:cubicBezTo>
                    <a:cubicBezTo>
                      <a:pt x="0" y="225707"/>
                      <a:pt x="225419" y="288"/>
                      <a:pt x="503487" y="288"/>
                    </a:cubicBezTo>
                    <a:close/>
                  </a:path>
                </a:pathLst>
              </a:custGeom>
              <a:solidFill>
                <a:srgbClr val="6364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5" name="Group 204"/>
            <p:cNvGrpSpPr/>
            <p:nvPr/>
          </p:nvGrpSpPr>
          <p:grpSpPr>
            <a:xfrm>
              <a:off x="8432212" y="2879924"/>
              <a:ext cx="1004835" cy="438888"/>
              <a:chOff x="5065509" y="4638406"/>
              <a:chExt cx="1886613" cy="824027"/>
            </a:xfrm>
          </p:grpSpPr>
          <p:grpSp>
            <p:nvGrpSpPr>
              <p:cNvPr id="206" name="Group 205"/>
              <p:cNvGrpSpPr/>
              <p:nvPr/>
            </p:nvGrpSpPr>
            <p:grpSpPr>
              <a:xfrm>
                <a:off x="5065509" y="4638406"/>
                <a:ext cx="1879741" cy="824027"/>
                <a:chOff x="3838273" y="3387569"/>
                <a:chExt cx="2674037" cy="1172225"/>
              </a:xfrm>
            </p:grpSpPr>
            <p:sp>
              <p:nvSpPr>
                <p:cNvPr id="208" name="Freeform 240"/>
                <p:cNvSpPr/>
                <p:nvPr/>
              </p:nvSpPr>
              <p:spPr bwMode="auto">
                <a:xfrm>
                  <a:off x="5077512" y="3806308"/>
                  <a:ext cx="724985" cy="456344"/>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6EB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9" name="Freeform 240"/>
                <p:cNvSpPr/>
                <p:nvPr/>
              </p:nvSpPr>
              <p:spPr bwMode="auto">
                <a:xfrm>
                  <a:off x="5787325" y="3421778"/>
                  <a:ext cx="724985" cy="456344"/>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6EB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10" name="Medium stack"/>
                <p:cNvGrpSpPr/>
                <p:nvPr/>
              </p:nvGrpSpPr>
              <p:grpSpPr>
                <a:xfrm>
                  <a:off x="5615256" y="3387569"/>
                  <a:ext cx="610554" cy="1021563"/>
                  <a:chOff x="2198554" y="4722477"/>
                  <a:chExt cx="471670" cy="789187"/>
                </a:xfrm>
              </p:grpSpPr>
              <p:sp>
                <p:nvSpPr>
                  <p:cNvPr id="250" name="Freeform 16"/>
                  <p:cNvSpPr>
                    <a:spLocks/>
                  </p:cNvSpPr>
                  <p:nvPr/>
                </p:nvSpPr>
                <p:spPr bwMode="auto">
                  <a:xfrm>
                    <a:off x="2212132" y="5221887"/>
                    <a:ext cx="446036" cy="289777"/>
                  </a:xfrm>
                  <a:custGeom>
                    <a:avLst/>
                    <a:gdLst>
                      <a:gd name="T0" fmla="*/ 1 w 2353"/>
                      <a:gd name="T1" fmla="*/ 2 h 1231"/>
                      <a:gd name="T2" fmla="*/ 9 w 2353"/>
                      <a:gd name="T3" fmla="*/ 12 h 1231"/>
                      <a:gd name="T4" fmla="*/ 27 w 2353"/>
                      <a:gd name="T5" fmla="*/ 32 h 1231"/>
                      <a:gd name="T6" fmla="*/ 54 w 2353"/>
                      <a:gd name="T7" fmla="*/ 59 h 1231"/>
                      <a:gd name="T8" fmla="*/ 94 w 2353"/>
                      <a:gd name="T9" fmla="*/ 92 h 1231"/>
                      <a:gd name="T10" fmla="*/ 146 w 2353"/>
                      <a:gd name="T11" fmla="*/ 128 h 1231"/>
                      <a:gd name="T12" fmla="*/ 212 w 2353"/>
                      <a:gd name="T13" fmla="*/ 168 h 1231"/>
                      <a:gd name="T14" fmla="*/ 293 w 2353"/>
                      <a:gd name="T15" fmla="*/ 209 h 1231"/>
                      <a:gd name="T16" fmla="*/ 391 w 2353"/>
                      <a:gd name="T17" fmla="*/ 250 h 1231"/>
                      <a:gd name="T18" fmla="*/ 506 w 2353"/>
                      <a:gd name="T19" fmla="*/ 287 h 1231"/>
                      <a:gd name="T20" fmla="*/ 639 w 2353"/>
                      <a:gd name="T21" fmla="*/ 323 h 1231"/>
                      <a:gd name="T22" fmla="*/ 793 w 2353"/>
                      <a:gd name="T23" fmla="*/ 352 h 1231"/>
                      <a:gd name="T24" fmla="*/ 968 w 2353"/>
                      <a:gd name="T25" fmla="*/ 374 h 1231"/>
                      <a:gd name="T26" fmla="*/ 1166 w 2353"/>
                      <a:gd name="T27" fmla="*/ 389 h 1231"/>
                      <a:gd name="T28" fmla="*/ 1260 w 2353"/>
                      <a:gd name="T29" fmla="*/ 387 h 1231"/>
                      <a:gd name="T30" fmla="*/ 1423 w 2353"/>
                      <a:gd name="T31" fmla="*/ 375 h 1231"/>
                      <a:gd name="T32" fmla="*/ 1578 w 2353"/>
                      <a:gd name="T33" fmla="*/ 352 h 1231"/>
                      <a:gd name="T34" fmla="*/ 1723 w 2353"/>
                      <a:gd name="T35" fmla="*/ 322 h 1231"/>
                      <a:gd name="T36" fmla="*/ 1857 w 2353"/>
                      <a:gd name="T37" fmla="*/ 284 h 1231"/>
                      <a:gd name="T38" fmla="*/ 1980 w 2353"/>
                      <a:gd name="T39" fmla="*/ 242 h 1231"/>
                      <a:gd name="T40" fmla="*/ 2087 w 2353"/>
                      <a:gd name="T41" fmla="*/ 197 h 1231"/>
                      <a:gd name="T42" fmla="*/ 2179 w 2353"/>
                      <a:gd name="T43" fmla="*/ 152 h 1231"/>
                      <a:gd name="T44" fmla="*/ 2252 w 2353"/>
                      <a:gd name="T45" fmla="*/ 107 h 1231"/>
                      <a:gd name="T46" fmla="*/ 2308 w 2353"/>
                      <a:gd name="T47" fmla="*/ 66 h 1231"/>
                      <a:gd name="T48" fmla="*/ 2341 w 2353"/>
                      <a:gd name="T49" fmla="*/ 30 h 1231"/>
                      <a:gd name="T50" fmla="*/ 2353 w 2353"/>
                      <a:gd name="T51" fmla="*/ 0 h 1231"/>
                      <a:gd name="T52" fmla="*/ 2350 w 2353"/>
                      <a:gd name="T53" fmla="*/ 793 h 1231"/>
                      <a:gd name="T54" fmla="*/ 2322 w 2353"/>
                      <a:gd name="T55" fmla="*/ 863 h 1231"/>
                      <a:gd name="T56" fmla="*/ 2269 w 2353"/>
                      <a:gd name="T57" fmla="*/ 931 h 1231"/>
                      <a:gd name="T58" fmla="*/ 2193 w 2353"/>
                      <a:gd name="T59" fmla="*/ 994 h 1231"/>
                      <a:gd name="T60" fmla="*/ 2094 w 2353"/>
                      <a:gd name="T61" fmla="*/ 1052 h 1231"/>
                      <a:gd name="T62" fmla="*/ 1977 w 2353"/>
                      <a:gd name="T63" fmla="*/ 1103 h 1231"/>
                      <a:gd name="T64" fmla="*/ 1843 w 2353"/>
                      <a:gd name="T65" fmla="*/ 1146 h 1231"/>
                      <a:gd name="T66" fmla="*/ 1693 w 2353"/>
                      <a:gd name="T67" fmla="*/ 1182 h 1231"/>
                      <a:gd name="T68" fmla="*/ 1531 w 2353"/>
                      <a:gd name="T69" fmla="*/ 1209 h 1231"/>
                      <a:gd name="T70" fmla="*/ 1358 w 2353"/>
                      <a:gd name="T71" fmla="*/ 1225 h 1231"/>
                      <a:gd name="T72" fmla="*/ 1177 w 2353"/>
                      <a:gd name="T73" fmla="*/ 1231 h 1231"/>
                      <a:gd name="T74" fmla="*/ 1074 w 2353"/>
                      <a:gd name="T75" fmla="*/ 1228 h 1231"/>
                      <a:gd name="T76" fmla="*/ 897 w 2353"/>
                      <a:gd name="T77" fmla="*/ 1215 h 1231"/>
                      <a:gd name="T78" fmla="*/ 731 w 2353"/>
                      <a:gd name="T79" fmla="*/ 1192 h 1231"/>
                      <a:gd name="T80" fmla="*/ 576 w 2353"/>
                      <a:gd name="T81" fmla="*/ 1161 h 1231"/>
                      <a:gd name="T82" fmla="*/ 435 w 2353"/>
                      <a:gd name="T83" fmla="*/ 1121 h 1231"/>
                      <a:gd name="T84" fmla="*/ 311 w 2353"/>
                      <a:gd name="T85" fmla="*/ 1074 h 1231"/>
                      <a:gd name="T86" fmla="*/ 204 w 2353"/>
                      <a:gd name="T87" fmla="*/ 1020 h 1231"/>
                      <a:gd name="T88" fmla="*/ 118 w 2353"/>
                      <a:gd name="T89" fmla="*/ 962 h 1231"/>
                      <a:gd name="T90" fmla="*/ 54 w 2353"/>
                      <a:gd name="T91" fmla="*/ 897 h 1231"/>
                      <a:gd name="T92" fmla="*/ 14 w 2353"/>
                      <a:gd name="T93" fmla="*/ 829 h 1231"/>
                      <a:gd name="T94" fmla="*/ 0 w 2353"/>
                      <a:gd name="T95" fmla="*/ 756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53" h="1231">
                        <a:moveTo>
                          <a:pt x="0" y="0"/>
                        </a:moveTo>
                        <a:lnTo>
                          <a:pt x="1" y="2"/>
                        </a:lnTo>
                        <a:lnTo>
                          <a:pt x="4" y="6"/>
                        </a:lnTo>
                        <a:lnTo>
                          <a:pt x="9" y="12"/>
                        </a:lnTo>
                        <a:lnTo>
                          <a:pt x="16" y="21"/>
                        </a:lnTo>
                        <a:lnTo>
                          <a:pt x="27" y="32"/>
                        </a:lnTo>
                        <a:lnTo>
                          <a:pt x="39" y="44"/>
                        </a:lnTo>
                        <a:lnTo>
                          <a:pt x="54" y="59"/>
                        </a:lnTo>
                        <a:lnTo>
                          <a:pt x="72" y="75"/>
                        </a:lnTo>
                        <a:lnTo>
                          <a:pt x="94" y="92"/>
                        </a:lnTo>
                        <a:lnTo>
                          <a:pt x="118" y="109"/>
                        </a:lnTo>
                        <a:lnTo>
                          <a:pt x="146" y="128"/>
                        </a:lnTo>
                        <a:lnTo>
                          <a:pt x="177" y="148"/>
                        </a:lnTo>
                        <a:lnTo>
                          <a:pt x="212" y="168"/>
                        </a:lnTo>
                        <a:lnTo>
                          <a:pt x="251" y="189"/>
                        </a:lnTo>
                        <a:lnTo>
                          <a:pt x="293" y="209"/>
                        </a:lnTo>
                        <a:lnTo>
                          <a:pt x="340" y="230"/>
                        </a:lnTo>
                        <a:lnTo>
                          <a:pt x="391" y="250"/>
                        </a:lnTo>
                        <a:lnTo>
                          <a:pt x="446" y="269"/>
                        </a:lnTo>
                        <a:lnTo>
                          <a:pt x="506" y="287"/>
                        </a:lnTo>
                        <a:lnTo>
                          <a:pt x="570" y="306"/>
                        </a:lnTo>
                        <a:lnTo>
                          <a:pt x="639" y="323"/>
                        </a:lnTo>
                        <a:lnTo>
                          <a:pt x="714" y="338"/>
                        </a:lnTo>
                        <a:lnTo>
                          <a:pt x="793" y="352"/>
                        </a:lnTo>
                        <a:lnTo>
                          <a:pt x="878" y="364"/>
                        </a:lnTo>
                        <a:lnTo>
                          <a:pt x="968" y="374"/>
                        </a:lnTo>
                        <a:lnTo>
                          <a:pt x="1065" y="383"/>
                        </a:lnTo>
                        <a:lnTo>
                          <a:pt x="1166" y="389"/>
                        </a:lnTo>
                        <a:lnTo>
                          <a:pt x="1177" y="389"/>
                        </a:lnTo>
                        <a:lnTo>
                          <a:pt x="1260" y="387"/>
                        </a:lnTo>
                        <a:lnTo>
                          <a:pt x="1342" y="383"/>
                        </a:lnTo>
                        <a:lnTo>
                          <a:pt x="1423" y="375"/>
                        </a:lnTo>
                        <a:lnTo>
                          <a:pt x="1501" y="365"/>
                        </a:lnTo>
                        <a:lnTo>
                          <a:pt x="1578" y="352"/>
                        </a:lnTo>
                        <a:lnTo>
                          <a:pt x="1652" y="338"/>
                        </a:lnTo>
                        <a:lnTo>
                          <a:pt x="1723" y="322"/>
                        </a:lnTo>
                        <a:lnTo>
                          <a:pt x="1792" y="304"/>
                        </a:lnTo>
                        <a:lnTo>
                          <a:pt x="1857" y="284"/>
                        </a:lnTo>
                        <a:lnTo>
                          <a:pt x="1920" y="263"/>
                        </a:lnTo>
                        <a:lnTo>
                          <a:pt x="1980" y="242"/>
                        </a:lnTo>
                        <a:lnTo>
                          <a:pt x="2035" y="220"/>
                        </a:lnTo>
                        <a:lnTo>
                          <a:pt x="2087" y="197"/>
                        </a:lnTo>
                        <a:lnTo>
                          <a:pt x="2135" y="174"/>
                        </a:lnTo>
                        <a:lnTo>
                          <a:pt x="2179" y="152"/>
                        </a:lnTo>
                        <a:lnTo>
                          <a:pt x="2218" y="129"/>
                        </a:lnTo>
                        <a:lnTo>
                          <a:pt x="2252" y="107"/>
                        </a:lnTo>
                        <a:lnTo>
                          <a:pt x="2283" y="86"/>
                        </a:lnTo>
                        <a:lnTo>
                          <a:pt x="2308" y="66"/>
                        </a:lnTo>
                        <a:lnTo>
                          <a:pt x="2328" y="48"/>
                        </a:lnTo>
                        <a:lnTo>
                          <a:pt x="2341" y="30"/>
                        </a:lnTo>
                        <a:lnTo>
                          <a:pt x="2351" y="14"/>
                        </a:lnTo>
                        <a:lnTo>
                          <a:pt x="2353" y="0"/>
                        </a:lnTo>
                        <a:lnTo>
                          <a:pt x="2353" y="756"/>
                        </a:lnTo>
                        <a:lnTo>
                          <a:pt x="2350" y="793"/>
                        </a:lnTo>
                        <a:lnTo>
                          <a:pt x="2339" y="829"/>
                        </a:lnTo>
                        <a:lnTo>
                          <a:pt x="2322" y="863"/>
                        </a:lnTo>
                        <a:lnTo>
                          <a:pt x="2298" y="898"/>
                        </a:lnTo>
                        <a:lnTo>
                          <a:pt x="2269" y="931"/>
                        </a:lnTo>
                        <a:lnTo>
                          <a:pt x="2233" y="964"/>
                        </a:lnTo>
                        <a:lnTo>
                          <a:pt x="2193" y="994"/>
                        </a:lnTo>
                        <a:lnTo>
                          <a:pt x="2145" y="1024"/>
                        </a:lnTo>
                        <a:lnTo>
                          <a:pt x="2094" y="1052"/>
                        </a:lnTo>
                        <a:lnTo>
                          <a:pt x="2038" y="1078"/>
                        </a:lnTo>
                        <a:lnTo>
                          <a:pt x="1977" y="1103"/>
                        </a:lnTo>
                        <a:lnTo>
                          <a:pt x="1912" y="1125"/>
                        </a:lnTo>
                        <a:lnTo>
                          <a:pt x="1843" y="1146"/>
                        </a:lnTo>
                        <a:lnTo>
                          <a:pt x="1769" y="1165"/>
                        </a:lnTo>
                        <a:lnTo>
                          <a:pt x="1693" y="1182"/>
                        </a:lnTo>
                        <a:lnTo>
                          <a:pt x="1613" y="1196"/>
                        </a:lnTo>
                        <a:lnTo>
                          <a:pt x="1531" y="1209"/>
                        </a:lnTo>
                        <a:lnTo>
                          <a:pt x="1446" y="1218"/>
                        </a:lnTo>
                        <a:lnTo>
                          <a:pt x="1358" y="1225"/>
                        </a:lnTo>
                        <a:lnTo>
                          <a:pt x="1268" y="1230"/>
                        </a:lnTo>
                        <a:lnTo>
                          <a:pt x="1177" y="1231"/>
                        </a:lnTo>
                        <a:lnTo>
                          <a:pt x="1166" y="1231"/>
                        </a:lnTo>
                        <a:lnTo>
                          <a:pt x="1074" y="1228"/>
                        </a:lnTo>
                        <a:lnTo>
                          <a:pt x="985" y="1223"/>
                        </a:lnTo>
                        <a:lnTo>
                          <a:pt x="897" y="1215"/>
                        </a:lnTo>
                        <a:lnTo>
                          <a:pt x="812" y="1205"/>
                        </a:lnTo>
                        <a:lnTo>
                          <a:pt x="731" y="1192"/>
                        </a:lnTo>
                        <a:lnTo>
                          <a:pt x="651" y="1178"/>
                        </a:lnTo>
                        <a:lnTo>
                          <a:pt x="576" y="1161"/>
                        </a:lnTo>
                        <a:lnTo>
                          <a:pt x="503" y="1142"/>
                        </a:lnTo>
                        <a:lnTo>
                          <a:pt x="435" y="1121"/>
                        </a:lnTo>
                        <a:lnTo>
                          <a:pt x="370" y="1099"/>
                        </a:lnTo>
                        <a:lnTo>
                          <a:pt x="311" y="1074"/>
                        </a:lnTo>
                        <a:lnTo>
                          <a:pt x="255" y="1049"/>
                        </a:lnTo>
                        <a:lnTo>
                          <a:pt x="204" y="1020"/>
                        </a:lnTo>
                        <a:lnTo>
                          <a:pt x="159" y="992"/>
                        </a:lnTo>
                        <a:lnTo>
                          <a:pt x="118" y="962"/>
                        </a:lnTo>
                        <a:lnTo>
                          <a:pt x="83" y="930"/>
                        </a:lnTo>
                        <a:lnTo>
                          <a:pt x="54" y="897"/>
                        </a:lnTo>
                        <a:lnTo>
                          <a:pt x="31" y="863"/>
                        </a:lnTo>
                        <a:lnTo>
                          <a:pt x="14" y="829"/>
                        </a:lnTo>
                        <a:lnTo>
                          <a:pt x="4" y="792"/>
                        </a:lnTo>
                        <a:lnTo>
                          <a:pt x="0" y="756"/>
                        </a:lnTo>
                        <a:lnTo>
                          <a:pt x="0" y="0"/>
                        </a:lnTo>
                        <a:close/>
                      </a:path>
                    </a:pathLst>
                  </a:custGeom>
                  <a:solidFill>
                    <a:srgbClr val="3898C5"/>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51" name="Freeform 17"/>
                  <p:cNvSpPr>
                    <a:spLocks/>
                  </p:cNvSpPr>
                  <p:nvPr/>
                </p:nvSpPr>
                <p:spPr bwMode="auto">
                  <a:xfrm>
                    <a:off x="2437714" y="5223793"/>
                    <a:ext cx="223873" cy="285965"/>
                  </a:xfrm>
                  <a:custGeom>
                    <a:avLst/>
                    <a:gdLst>
                      <a:gd name="T0" fmla="*/ 1187 w 1187"/>
                      <a:gd name="T1" fmla="*/ 0 h 1231"/>
                      <a:gd name="T2" fmla="*/ 1187 w 1187"/>
                      <a:gd name="T3" fmla="*/ 756 h 1231"/>
                      <a:gd name="T4" fmla="*/ 1184 w 1187"/>
                      <a:gd name="T5" fmla="*/ 793 h 1231"/>
                      <a:gd name="T6" fmla="*/ 1173 w 1187"/>
                      <a:gd name="T7" fmla="*/ 829 h 1231"/>
                      <a:gd name="T8" fmla="*/ 1156 w 1187"/>
                      <a:gd name="T9" fmla="*/ 863 h 1231"/>
                      <a:gd name="T10" fmla="*/ 1132 w 1187"/>
                      <a:gd name="T11" fmla="*/ 898 h 1231"/>
                      <a:gd name="T12" fmla="*/ 1103 w 1187"/>
                      <a:gd name="T13" fmla="*/ 931 h 1231"/>
                      <a:gd name="T14" fmla="*/ 1067 w 1187"/>
                      <a:gd name="T15" fmla="*/ 964 h 1231"/>
                      <a:gd name="T16" fmla="*/ 1027 w 1187"/>
                      <a:gd name="T17" fmla="*/ 994 h 1231"/>
                      <a:gd name="T18" fmla="*/ 979 w 1187"/>
                      <a:gd name="T19" fmla="*/ 1024 h 1231"/>
                      <a:gd name="T20" fmla="*/ 928 w 1187"/>
                      <a:gd name="T21" fmla="*/ 1052 h 1231"/>
                      <a:gd name="T22" fmla="*/ 872 w 1187"/>
                      <a:gd name="T23" fmla="*/ 1078 h 1231"/>
                      <a:gd name="T24" fmla="*/ 811 w 1187"/>
                      <a:gd name="T25" fmla="*/ 1103 h 1231"/>
                      <a:gd name="T26" fmla="*/ 746 w 1187"/>
                      <a:gd name="T27" fmla="*/ 1125 h 1231"/>
                      <a:gd name="T28" fmla="*/ 677 w 1187"/>
                      <a:gd name="T29" fmla="*/ 1146 h 1231"/>
                      <a:gd name="T30" fmla="*/ 603 w 1187"/>
                      <a:gd name="T31" fmla="*/ 1165 h 1231"/>
                      <a:gd name="T32" fmla="*/ 527 w 1187"/>
                      <a:gd name="T33" fmla="*/ 1182 h 1231"/>
                      <a:gd name="T34" fmla="*/ 447 w 1187"/>
                      <a:gd name="T35" fmla="*/ 1196 h 1231"/>
                      <a:gd name="T36" fmla="*/ 365 w 1187"/>
                      <a:gd name="T37" fmla="*/ 1209 h 1231"/>
                      <a:gd name="T38" fmla="*/ 280 w 1187"/>
                      <a:gd name="T39" fmla="*/ 1218 h 1231"/>
                      <a:gd name="T40" fmla="*/ 192 w 1187"/>
                      <a:gd name="T41" fmla="*/ 1225 h 1231"/>
                      <a:gd name="T42" fmla="*/ 102 w 1187"/>
                      <a:gd name="T43" fmla="*/ 1230 h 1231"/>
                      <a:gd name="T44" fmla="*/ 11 w 1187"/>
                      <a:gd name="T45" fmla="*/ 1231 h 1231"/>
                      <a:gd name="T46" fmla="*/ 0 w 1187"/>
                      <a:gd name="T47" fmla="*/ 1231 h 1231"/>
                      <a:gd name="T48" fmla="*/ 0 w 1187"/>
                      <a:gd name="T49" fmla="*/ 389 h 1231"/>
                      <a:gd name="T50" fmla="*/ 11 w 1187"/>
                      <a:gd name="T51" fmla="*/ 389 h 1231"/>
                      <a:gd name="T52" fmla="*/ 94 w 1187"/>
                      <a:gd name="T53" fmla="*/ 387 h 1231"/>
                      <a:gd name="T54" fmla="*/ 176 w 1187"/>
                      <a:gd name="T55" fmla="*/ 383 h 1231"/>
                      <a:gd name="T56" fmla="*/ 257 w 1187"/>
                      <a:gd name="T57" fmla="*/ 375 h 1231"/>
                      <a:gd name="T58" fmla="*/ 335 w 1187"/>
                      <a:gd name="T59" fmla="*/ 365 h 1231"/>
                      <a:gd name="T60" fmla="*/ 412 w 1187"/>
                      <a:gd name="T61" fmla="*/ 352 h 1231"/>
                      <a:gd name="T62" fmla="*/ 486 w 1187"/>
                      <a:gd name="T63" fmla="*/ 338 h 1231"/>
                      <a:gd name="T64" fmla="*/ 557 w 1187"/>
                      <a:gd name="T65" fmla="*/ 322 h 1231"/>
                      <a:gd name="T66" fmla="*/ 626 w 1187"/>
                      <a:gd name="T67" fmla="*/ 304 h 1231"/>
                      <a:gd name="T68" fmla="*/ 691 w 1187"/>
                      <a:gd name="T69" fmla="*/ 284 h 1231"/>
                      <a:gd name="T70" fmla="*/ 754 w 1187"/>
                      <a:gd name="T71" fmla="*/ 263 h 1231"/>
                      <a:gd name="T72" fmla="*/ 814 w 1187"/>
                      <a:gd name="T73" fmla="*/ 242 h 1231"/>
                      <a:gd name="T74" fmla="*/ 869 w 1187"/>
                      <a:gd name="T75" fmla="*/ 220 h 1231"/>
                      <a:gd name="T76" fmla="*/ 921 w 1187"/>
                      <a:gd name="T77" fmla="*/ 197 h 1231"/>
                      <a:gd name="T78" fmla="*/ 969 w 1187"/>
                      <a:gd name="T79" fmla="*/ 174 h 1231"/>
                      <a:gd name="T80" fmla="*/ 1013 w 1187"/>
                      <a:gd name="T81" fmla="*/ 152 h 1231"/>
                      <a:gd name="T82" fmla="*/ 1052 w 1187"/>
                      <a:gd name="T83" fmla="*/ 129 h 1231"/>
                      <a:gd name="T84" fmla="*/ 1086 w 1187"/>
                      <a:gd name="T85" fmla="*/ 107 h 1231"/>
                      <a:gd name="T86" fmla="*/ 1117 w 1187"/>
                      <a:gd name="T87" fmla="*/ 86 h 1231"/>
                      <a:gd name="T88" fmla="*/ 1142 w 1187"/>
                      <a:gd name="T89" fmla="*/ 66 h 1231"/>
                      <a:gd name="T90" fmla="*/ 1162 w 1187"/>
                      <a:gd name="T91" fmla="*/ 48 h 1231"/>
                      <a:gd name="T92" fmla="*/ 1175 w 1187"/>
                      <a:gd name="T93" fmla="*/ 30 h 1231"/>
                      <a:gd name="T94" fmla="*/ 1185 w 1187"/>
                      <a:gd name="T95" fmla="*/ 14 h 1231"/>
                      <a:gd name="T96" fmla="*/ 1187 w 1187"/>
                      <a:gd name="T97" fmla="*/ 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7" h="1231">
                        <a:moveTo>
                          <a:pt x="1187" y="0"/>
                        </a:moveTo>
                        <a:lnTo>
                          <a:pt x="1187" y="756"/>
                        </a:lnTo>
                        <a:lnTo>
                          <a:pt x="1184" y="793"/>
                        </a:lnTo>
                        <a:lnTo>
                          <a:pt x="1173" y="829"/>
                        </a:lnTo>
                        <a:lnTo>
                          <a:pt x="1156" y="863"/>
                        </a:lnTo>
                        <a:lnTo>
                          <a:pt x="1132" y="898"/>
                        </a:lnTo>
                        <a:lnTo>
                          <a:pt x="1103" y="931"/>
                        </a:lnTo>
                        <a:lnTo>
                          <a:pt x="1067" y="964"/>
                        </a:lnTo>
                        <a:lnTo>
                          <a:pt x="1027" y="994"/>
                        </a:lnTo>
                        <a:lnTo>
                          <a:pt x="979" y="1024"/>
                        </a:lnTo>
                        <a:lnTo>
                          <a:pt x="928" y="1052"/>
                        </a:lnTo>
                        <a:lnTo>
                          <a:pt x="872" y="1078"/>
                        </a:lnTo>
                        <a:lnTo>
                          <a:pt x="811" y="1103"/>
                        </a:lnTo>
                        <a:lnTo>
                          <a:pt x="746" y="1125"/>
                        </a:lnTo>
                        <a:lnTo>
                          <a:pt x="677" y="1146"/>
                        </a:lnTo>
                        <a:lnTo>
                          <a:pt x="603" y="1165"/>
                        </a:lnTo>
                        <a:lnTo>
                          <a:pt x="527" y="1182"/>
                        </a:lnTo>
                        <a:lnTo>
                          <a:pt x="447" y="1196"/>
                        </a:lnTo>
                        <a:lnTo>
                          <a:pt x="365" y="1209"/>
                        </a:lnTo>
                        <a:lnTo>
                          <a:pt x="280" y="1218"/>
                        </a:lnTo>
                        <a:lnTo>
                          <a:pt x="192" y="1225"/>
                        </a:lnTo>
                        <a:lnTo>
                          <a:pt x="102" y="1230"/>
                        </a:lnTo>
                        <a:lnTo>
                          <a:pt x="11" y="1231"/>
                        </a:lnTo>
                        <a:lnTo>
                          <a:pt x="0" y="1231"/>
                        </a:lnTo>
                        <a:lnTo>
                          <a:pt x="0" y="389"/>
                        </a:lnTo>
                        <a:lnTo>
                          <a:pt x="11" y="389"/>
                        </a:lnTo>
                        <a:lnTo>
                          <a:pt x="94" y="387"/>
                        </a:lnTo>
                        <a:lnTo>
                          <a:pt x="176" y="383"/>
                        </a:lnTo>
                        <a:lnTo>
                          <a:pt x="257" y="375"/>
                        </a:lnTo>
                        <a:lnTo>
                          <a:pt x="335" y="365"/>
                        </a:lnTo>
                        <a:lnTo>
                          <a:pt x="412" y="352"/>
                        </a:lnTo>
                        <a:lnTo>
                          <a:pt x="486" y="338"/>
                        </a:lnTo>
                        <a:lnTo>
                          <a:pt x="557" y="322"/>
                        </a:lnTo>
                        <a:lnTo>
                          <a:pt x="626" y="304"/>
                        </a:lnTo>
                        <a:lnTo>
                          <a:pt x="691" y="284"/>
                        </a:lnTo>
                        <a:lnTo>
                          <a:pt x="754" y="263"/>
                        </a:lnTo>
                        <a:lnTo>
                          <a:pt x="814" y="242"/>
                        </a:lnTo>
                        <a:lnTo>
                          <a:pt x="869" y="220"/>
                        </a:lnTo>
                        <a:lnTo>
                          <a:pt x="921" y="197"/>
                        </a:lnTo>
                        <a:lnTo>
                          <a:pt x="969" y="174"/>
                        </a:lnTo>
                        <a:lnTo>
                          <a:pt x="1013" y="152"/>
                        </a:lnTo>
                        <a:lnTo>
                          <a:pt x="1052" y="129"/>
                        </a:lnTo>
                        <a:lnTo>
                          <a:pt x="1086" y="107"/>
                        </a:lnTo>
                        <a:lnTo>
                          <a:pt x="1117" y="86"/>
                        </a:lnTo>
                        <a:lnTo>
                          <a:pt x="1142" y="66"/>
                        </a:lnTo>
                        <a:lnTo>
                          <a:pt x="1162" y="48"/>
                        </a:lnTo>
                        <a:lnTo>
                          <a:pt x="1175" y="30"/>
                        </a:lnTo>
                        <a:lnTo>
                          <a:pt x="1185" y="14"/>
                        </a:lnTo>
                        <a:lnTo>
                          <a:pt x="1187" y="0"/>
                        </a:lnTo>
                        <a:close/>
                      </a:path>
                    </a:pathLst>
                  </a:custGeom>
                  <a:solidFill>
                    <a:srgbClr val="59B3D8"/>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52" name="Freeform 6"/>
                  <p:cNvSpPr>
                    <a:spLocks/>
                  </p:cNvSpPr>
                  <p:nvPr/>
                </p:nvSpPr>
                <p:spPr bwMode="auto">
                  <a:xfrm>
                    <a:off x="2211372" y="5119908"/>
                    <a:ext cx="446036" cy="20017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53" name="Freeform 7"/>
                  <p:cNvSpPr>
                    <a:spLocks/>
                  </p:cNvSpPr>
                  <p:nvPr/>
                </p:nvSpPr>
                <p:spPr bwMode="auto">
                  <a:xfrm>
                    <a:off x="2198554" y="5055824"/>
                    <a:ext cx="471670" cy="238304"/>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rgbClr val="7FBA4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54" name="Freeform 8"/>
                  <p:cNvSpPr>
                    <a:spLocks/>
                  </p:cNvSpPr>
                  <p:nvPr/>
                </p:nvSpPr>
                <p:spPr bwMode="auto">
                  <a:xfrm>
                    <a:off x="2199408" y="5040064"/>
                    <a:ext cx="469961" cy="183017"/>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55" name="Freeform 9"/>
                  <p:cNvSpPr>
                    <a:spLocks/>
                  </p:cNvSpPr>
                  <p:nvPr/>
                </p:nvSpPr>
                <p:spPr bwMode="auto">
                  <a:xfrm>
                    <a:off x="2201117" y="4964567"/>
                    <a:ext cx="466544" cy="234491"/>
                  </a:xfrm>
                  <a:custGeom>
                    <a:avLst/>
                    <a:gdLst>
                      <a:gd name="T0" fmla="*/ 130 w 2461"/>
                      <a:gd name="T1" fmla="*/ 0 h 1113"/>
                      <a:gd name="T2" fmla="*/ 1241 w 2461"/>
                      <a:gd name="T3" fmla="*/ 98 h 1113"/>
                      <a:gd name="T4" fmla="*/ 1231 w 2461"/>
                      <a:gd name="T5" fmla="*/ 454 h 1113"/>
                      <a:gd name="T6" fmla="*/ 1241 w 2461"/>
                      <a:gd name="T7" fmla="*/ 238 h 1113"/>
                      <a:gd name="T8" fmla="*/ 2364 w 2461"/>
                      <a:gd name="T9" fmla="*/ 173 h 1113"/>
                      <a:gd name="T10" fmla="*/ 2364 w 2461"/>
                      <a:gd name="T11" fmla="*/ 346 h 1113"/>
                      <a:gd name="T12" fmla="*/ 2461 w 2461"/>
                      <a:gd name="T13" fmla="*/ 605 h 1113"/>
                      <a:gd name="T14" fmla="*/ 2343 w 2461"/>
                      <a:gd name="T15" fmla="*/ 810 h 1113"/>
                      <a:gd name="T16" fmla="*/ 2341 w 2461"/>
                      <a:gd name="T17" fmla="*/ 812 h 1113"/>
                      <a:gd name="T18" fmla="*/ 2335 w 2461"/>
                      <a:gd name="T19" fmla="*/ 816 h 1113"/>
                      <a:gd name="T20" fmla="*/ 2325 w 2461"/>
                      <a:gd name="T21" fmla="*/ 824 h 1113"/>
                      <a:gd name="T22" fmla="*/ 2313 w 2461"/>
                      <a:gd name="T23" fmla="*/ 833 h 1113"/>
                      <a:gd name="T24" fmla="*/ 2296 w 2461"/>
                      <a:gd name="T25" fmla="*/ 846 h 1113"/>
                      <a:gd name="T26" fmla="*/ 2275 w 2461"/>
                      <a:gd name="T27" fmla="*/ 859 h 1113"/>
                      <a:gd name="T28" fmla="*/ 2250 w 2461"/>
                      <a:gd name="T29" fmla="*/ 875 h 1113"/>
                      <a:gd name="T30" fmla="*/ 2221 w 2461"/>
                      <a:gd name="T31" fmla="*/ 891 h 1113"/>
                      <a:gd name="T32" fmla="*/ 2189 w 2461"/>
                      <a:gd name="T33" fmla="*/ 908 h 1113"/>
                      <a:gd name="T34" fmla="*/ 2152 w 2461"/>
                      <a:gd name="T35" fmla="*/ 927 h 1113"/>
                      <a:gd name="T36" fmla="*/ 2111 w 2461"/>
                      <a:gd name="T37" fmla="*/ 946 h 1113"/>
                      <a:gd name="T38" fmla="*/ 2067 w 2461"/>
                      <a:gd name="T39" fmla="*/ 965 h 1113"/>
                      <a:gd name="T40" fmla="*/ 2018 w 2461"/>
                      <a:gd name="T41" fmla="*/ 985 h 1113"/>
                      <a:gd name="T42" fmla="*/ 1966 w 2461"/>
                      <a:gd name="T43" fmla="*/ 1004 h 1113"/>
                      <a:gd name="T44" fmla="*/ 1909 w 2461"/>
                      <a:gd name="T45" fmla="*/ 1021 h 1113"/>
                      <a:gd name="T46" fmla="*/ 1849 w 2461"/>
                      <a:gd name="T47" fmla="*/ 1039 h 1113"/>
                      <a:gd name="T48" fmla="*/ 1784 w 2461"/>
                      <a:gd name="T49" fmla="*/ 1055 h 1113"/>
                      <a:gd name="T50" fmla="*/ 1713 w 2461"/>
                      <a:gd name="T51" fmla="*/ 1070 h 1113"/>
                      <a:gd name="T52" fmla="*/ 1640 w 2461"/>
                      <a:gd name="T53" fmla="*/ 1083 h 1113"/>
                      <a:gd name="T54" fmla="*/ 1563 w 2461"/>
                      <a:gd name="T55" fmla="*/ 1094 h 1113"/>
                      <a:gd name="T56" fmla="*/ 1481 w 2461"/>
                      <a:gd name="T57" fmla="*/ 1102 h 1113"/>
                      <a:gd name="T58" fmla="*/ 1394 w 2461"/>
                      <a:gd name="T59" fmla="*/ 1108 h 1113"/>
                      <a:gd name="T60" fmla="*/ 1304 w 2461"/>
                      <a:gd name="T61" fmla="*/ 1113 h 1113"/>
                      <a:gd name="T62" fmla="*/ 1209 w 2461"/>
                      <a:gd name="T63" fmla="*/ 1113 h 1113"/>
                      <a:gd name="T64" fmla="*/ 1115 w 2461"/>
                      <a:gd name="T65" fmla="*/ 1109 h 1113"/>
                      <a:gd name="T66" fmla="*/ 1026 w 2461"/>
                      <a:gd name="T67" fmla="*/ 1103 h 1113"/>
                      <a:gd name="T68" fmla="*/ 942 w 2461"/>
                      <a:gd name="T69" fmla="*/ 1095 h 1113"/>
                      <a:gd name="T70" fmla="*/ 861 w 2461"/>
                      <a:gd name="T71" fmla="*/ 1083 h 1113"/>
                      <a:gd name="T72" fmla="*/ 786 w 2461"/>
                      <a:gd name="T73" fmla="*/ 1070 h 1113"/>
                      <a:gd name="T74" fmla="*/ 713 w 2461"/>
                      <a:gd name="T75" fmla="*/ 1054 h 1113"/>
                      <a:gd name="T76" fmla="*/ 646 w 2461"/>
                      <a:gd name="T77" fmla="*/ 1037 h 1113"/>
                      <a:gd name="T78" fmla="*/ 582 w 2461"/>
                      <a:gd name="T79" fmla="*/ 1018 h 1113"/>
                      <a:gd name="T80" fmla="*/ 524 w 2461"/>
                      <a:gd name="T81" fmla="*/ 998 h 1113"/>
                      <a:gd name="T82" fmla="*/ 469 w 2461"/>
                      <a:gd name="T83" fmla="*/ 977 h 1113"/>
                      <a:gd name="T84" fmla="*/ 418 w 2461"/>
                      <a:gd name="T85" fmla="*/ 957 h 1113"/>
                      <a:gd name="T86" fmla="*/ 371 w 2461"/>
                      <a:gd name="T87" fmla="*/ 936 h 1113"/>
                      <a:gd name="T88" fmla="*/ 328 w 2461"/>
                      <a:gd name="T89" fmla="*/ 915 h 1113"/>
                      <a:gd name="T90" fmla="*/ 289 w 2461"/>
                      <a:gd name="T91" fmla="*/ 894 h 1113"/>
                      <a:gd name="T92" fmla="*/ 255 w 2461"/>
                      <a:gd name="T93" fmla="*/ 874 h 1113"/>
                      <a:gd name="T94" fmla="*/ 223 w 2461"/>
                      <a:gd name="T95" fmla="*/ 854 h 1113"/>
                      <a:gd name="T96" fmla="*/ 196 w 2461"/>
                      <a:gd name="T97" fmla="*/ 836 h 1113"/>
                      <a:gd name="T98" fmla="*/ 172 w 2461"/>
                      <a:gd name="T99" fmla="*/ 819 h 1113"/>
                      <a:gd name="T100" fmla="*/ 152 w 2461"/>
                      <a:gd name="T101" fmla="*/ 805 h 1113"/>
                      <a:gd name="T102" fmla="*/ 136 w 2461"/>
                      <a:gd name="T103" fmla="*/ 792 h 1113"/>
                      <a:gd name="T104" fmla="*/ 124 w 2461"/>
                      <a:gd name="T105" fmla="*/ 782 h 1113"/>
                      <a:gd name="T106" fmla="*/ 115 w 2461"/>
                      <a:gd name="T107" fmla="*/ 773 h 1113"/>
                      <a:gd name="T108" fmla="*/ 110 w 2461"/>
                      <a:gd name="T109" fmla="*/ 769 h 1113"/>
                      <a:gd name="T110" fmla="*/ 108 w 2461"/>
                      <a:gd name="T111" fmla="*/ 767 h 1113"/>
                      <a:gd name="T112" fmla="*/ 0 w 2461"/>
                      <a:gd name="T113" fmla="*/ 529 h 1113"/>
                      <a:gd name="T114" fmla="*/ 118 w 2461"/>
                      <a:gd name="T115" fmla="*/ 281 h 1113"/>
                      <a:gd name="T116" fmla="*/ 130 w 2461"/>
                      <a:gd name="T117" fmla="*/ 0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61" h="1113">
                        <a:moveTo>
                          <a:pt x="130" y="0"/>
                        </a:moveTo>
                        <a:lnTo>
                          <a:pt x="1241" y="98"/>
                        </a:lnTo>
                        <a:lnTo>
                          <a:pt x="1231" y="454"/>
                        </a:lnTo>
                        <a:lnTo>
                          <a:pt x="1241" y="238"/>
                        </a:lnTo>
                        <a:lnTo>
                          <a:pt x="2364" y="173"/>
                        </a:lnTo>
                        <a:lnTo>
                          <a:pt x="2364" y="346"/>
                        </a:lnTo>
                        <a:lnTo>
                          <a:pt x="2461" y="605"/>
                        </a:lnTo>
                        <a:lnTo>
                          <a:pt x="2343" y="810"/>
                        </a:lnTo>
                        <a:lnTo>
                          <a:pt x="2341" y="812"/>
                        </a:lnTo>
                        <a:lnTo>
                          <a:pt x="2335" y="816"/>
                        </a:lnTo>
                        <a:lnTo>
                          <a:pt x="2325" y="824"/>
                        </a:lnTo>
                        <a:lnTo>
                          <a:pt x="2313" y="833"/>
                        </a:lnTo>
                        <a:lnTo>
                          <a:pt x="2296" y="846"/>
                        </a:lnTo>
                        <a:lnTo>
                          <a:pt x="2275" y="859"/>
                        </a:lnTo>
                        <a:lnTo>
                          <a:pt x="2250" y="875"/>
                        </a:lnTo>
                        <a:lnTo>
                          <a:pt x="2221" y="891"/>
                        </a:lnTo>
                        <a:lnTo>
                          <a:pt x="2189" y="908"/>
                        </a:lnTo>
                        <a:lnTo>
                          <a:pt x="2152" y="927"/>
                        </a:lnTo>
                        <a:lnTo>
                          <a:pt x="2111" y="946"/>
                        </a:lnTo>
                        <a:lnTo>
                          <a:pt x="2067" y="965"/>
                        </a:lnTo>
                        <a:lnTo>
                          <a:pt x="2018" y="985"/>
                        </a:lnTo>
                        <a:lnTo>
                          <a:pt x="1966" y="1004"/>
                        </a:lnTo>
                        <a:lnTo>
                          <a:pt x="1909" y="1021"/>
                        </a:lnTo>
                        <a:lnTo>
                          <a:pt x="1849" y="1039"/>
                        </a:lnTo>
                        <a:lnTo>
                          <a:pt x="1784" y="1055"/>
                        </a:lnTo>
                        <a:lnTo>
                          <a:pt x="1713" y="1070"/>
                        </a:lnTo>
                        <a:lnTo>
                          <a:pt x="1640" y="1083"/>
                        </a:lnTo>
                        <a:lnTo>
                          <a:pt x="1563" y="1094"/>
                        </a:lnTo>
                        <a:lnTo>
                          <a:pt x="1481" y="1102"/>
                        </a:lnTo>
                        <a:lnTo>
                          <a:pt x="1394" y="1108"/>
                        </a:lnTo>
                        <a:lnTo>
                          <a:pt x="1304" y="1113"/>
                        </a:lnTo>
                        <a:lnTo>
                          <a:pt x="1209" y="1113"/>
                        </a:lnTo>
                        <a:lnTo>
                          <a:pt x="1115" y="1109"/>
                        </a:lnTo>
                        <a:lnTo>
                          <a:pt x="1026" y="1103"/>
                        </a:lnTo>
                        <a:lnTo>
                          <a:pt x="942" y="1095"/>
                        </a:lnTo>
                        <a:lnTo>
                          <a:pt x="861" y="1083"/>
                        </a:lnTo>
                        <a:lnTo>
                          <a:pt x="786" y="1070"/>
                        </a:lnTo>
                        <a:lnTo>
                          <a:pt x="713" y="1054"/>
                        </a:lnTo>
                        <a:lnTo>
                          <a:pt x="646" y="1037"/>
                        </a:lnTo>
                        <a:lnTo>
                          <a:pt x="582" y="1018"/>
                        </a:lnTo>
                        <a:lnTo>
                          <a:pt x="524" y="998"/>
                        </a:lnTo>
                        <a:lnTo>
                          <a:pt x="469" y="977"/>
                        </a:lnTo>
                        <a:lnTo>
                          <a:pt x="418" y="957"/>
                        </a:lnTo>
                        <a:lnTo>
                          <a:pt x="371" y="936"/>
                        </a:lnTo>
                        <a:lnTo>
                          <a:pt x="328" y="915"/>
                        </a:lnTo>
                        <a:lnTo>
                          <a:pt x="289" y="894"/>
                        </a:lnTo>
                        <a:lnTo>
                          <a:pt x="255" y="874"/>
                        </a:lnTo>
                        <a:lnTo>
                          <a:pt x="223" y="854"/>
                        </a:lnTo>
                        <a:lnTo>
                          <a:pt x="196" y="836"/>
                        </a:lnTo>
                        <a:lnTo>
                          <a:pt x="172" y="819"/>
                        </a:lnTo>
                        <a:lnTo>
                          <a:pt x="152" y="805"/>
                        </a:lnTo>
                        <a:lnTo>
                          <a:pt x="136" y="792"/>
                        </a:lnTo>
                        <a:lnTo>
                          <a:pt x="124" y="782"/>
                        </a:lnTo>
                        <a:lnTo>
                          <a:pt x="115" y="773"/>
                        </a:lnTo>
                        <a:lnTo>
                          <a:pt x="110" y="769"/>
                        </a:lnTo>
                        <a:lnTo>
                          <a:pt x="108" y="767"/>
                        </a:lnTo>
                        <a:lnTo>
                          <a:pt x="0" y="529"/>
                        </a:lnTo>
                        <a:lnTo>
                          <a:pt x="118" y="281"/>
                        </a:lnTo>
                        <a:lnTo>
                          <a:pt x="130" y="0"/>
                        </a:lnTo>
                        <a:close/>
                      </a:path>
                    </a:pathLst>
                  </a:custGeom>
                  <a:solidFill>
                    <a:srgbClr val="7FBA4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56" name="Freeform 10"/>
                  <p:cNvSpPr>
                    <a:spLocks/>
                  </p:cNvSpPr>
                  <p:nvPr/>
                </p:nvSpPr>
                <p:spPr bwMode="auto">
                  <a:xfrm>
                    <a:off x="2199408" y="4946650"/>
                    <a:ext cx="469961" cy="186830"/>
                  </a:xfrm>
                  <a:custGeom>
                    <a:avLst/>
                    <a:gdLst>
                      <a:gd name="T0" fmla="*/ 130 w 2472"/>
                      <a:gd name="T1" fmla="*/ 0 h 885"/>
                      <a:gd name="T2" fmla="*/ 1241 w 2472"/>
                      <a:gd name="T3" fmla="*/ 98 h 885"/>
                      <a:gd name="T4" fmla="*/ 1231 w 2472"/>
                      <a:gd name="T5" fmla="*/ 454 h 885"/>
                      <a:gd name="T6" fmla="*/ 1241 w 2472"/>
                      <a:gd name="T7" fmla="*/ 238 h 885"/>
                      <a:gd name="T8" fmla="*/ 2364 w 2472"/>
                      <a:gd name="T9" fmla="*/ 173 h 885"/>
                      <a:gd name="T10" fmla="*/ 2364 w 2472"/>
                      <a:gd name="T11" fmla="*/ 346 h 885"/>
                      <a:gd name="T12" fmla="*/ 2472 w 2472"/>
                      <a:gd name="T13" fmla="*/ 605 h 885"/>
                      <a:gd name="T14" fmla="*/ 2470 w 2472"/>
                      <a:gd name="T15" fmla="*/ 607 h 885"/>
                      <a:gd name="T16" fmla="*/ 2462 w 2472"/>
                      <a:gd name="T17" fmla="*/ 611 h 885"/>
                      <a:gd name="T18" fmla="*/ 2450 w 2472"/>
                      <a:gd name="T19" fmla="*/ 617 h 885"/>
                      <a:gd name="T20" fmla="*/ 2433 w 2472"/>
                      <a:gd name="T21" fmla="*/ 627 h 885"/>
                      <a:gd name="T22" fmla="*/ 2412 w 2472"/>
                      <a:gd name="T23" fmla="*/ 638 h 885"/>
                      <a:gd name="T24" fmla="*/ 2386 w 2472"/>
                      <a:gd name="T25" fmla="*/ 651 h 885"/>
                      <a:gd name="T26" fmla="*/ 2355 w 2472"/>
                      <a:gd name="T27" fmla="*/ 664 h 885"/>
                      <a:gd name="T28" fmla="*/ 2320 w 2472"/>
                      <a:gd name="T29" fmla="*/ 680 h 885"/>
                      <a:gd name="T30" fmla="*/ 2281 w 2472"/>
                      <a:gd name="T31" fmla="*/ 697 h 885"/>
                      <a:gd name="T32" fmla="*/ 2237 w 2472"/>
                      <a:gd name="T33" fmla="*/ 714 h 885"/>
                      <a:gd name="T34" fmla="*/ 2189 w 2472"/>
                      <a:gd name="T35" fmla="*/ 731 h 885"/>
                      <a:gd name="T36" fmla="*/ 2138 w 2472"/>
                      <a:gd name="T37" fmla="*/ 749 h 885"/>
                      <a:gd name="T38" fmla="*/ 2081 w 2472"/>
                      <a:gd name="T39" fmla="*/ 767 h 885"/>
                      <a:gd name="T40" fmla="*/ 2021 w 2472"/>
                      <a:gd name="T41" fmla="*/ 785 h 885"/>
                      <a:gd name="T42" fmla="*/ 1957 w 2472"/>
                      <a:gd name="T43" fmla="*/ 802 h 885"/>
                      <a:gd name="T44" fmla="*/ 1889 w 2472"/>
                      <a:gd name="T45" fmla="*/ 818 h 885"/>
                      <a:gd name="T46" fmla="*/ 1818 w 2472"/>
                      <a:gd name="T47" fmla="*/ 833 h 885"/>
                      <a:gd name="T48" fmla="*/ 1744 w 2472"/>
                      <a:gd name="T49" fmla="*/ 847 h 885"/>
                      <a:gd name="T50" fmla="*/ 1664 w 2472"/>
                      <a:gd name="T51" fmla="*/ 858 h 885"/>
                      <a:gd name="T52" fmla="*/ 1583 w 2472"/>
                      <a:gd name="T53" fmla="*/ 869 h 885"/>
                      <a:gd name="T54" fmla="*/ 1497 w 2472"/>
                      <a:gd name="T55" fmla="*/ 877 h 885"/>
                      <a:gd name="T56" fmla="*/ 1408 w 2472"/>
                      <a:gd name="T57" fmla="*/ 882 h 885"/>
                      <a:gd name="T58" fmla="*/ 1316 w 2472"/>
                      <a:gd name="T59" fmla="*/ 885 h 885"/>
                      <a:gd name="T60" fmla="*/ 1220 w 2472"/>
                      <a:gd name="T61" fmla="*/ 885 h 885"/>
                      <a:gd name="T62" fmla="*/ 1124 w 2472"/>
                      <a:gd name="T63" fmla="*/ 883 h 885"/>
                      <a:gd name="T64" fmla="*/ 1033 w 2472"/>
                      <a:gd name="T65" fmla="*/ 877 h 885"/>
                      <a:gd name="T66" fmla="*/ 944 w 2472"/>
                      <a:gd name="T67" fmla="*/ 868 h 885"/>
                      <a:gd name="T68" fmla="*/ 860 w 2472"/>
                      <a:gd name="T69" fmla="*/ 856 h 885"/>
                      <a:gd name="T70" fmla="*/ 778 w 2472"/>
                      <a:gd name="T71" fmla="*/ 841 h 885"/>
                      <a:gd name="T72" fmla="*/ 702 w 2472"/>
                      <a:gd name="T73" fmla="*/ 826 h 885"/>
                      <a:gd name="T74" fmla="*/ 627 w 2472"/>
                      <a:gd name="T75" fmla="*/ 808 h 885"/>
                      <a:gd name="T76" fmla="*/ 558 w 2472"/>
                      <a:gd name="T77" fmla="*/ 789 h 885"/>
                      <a:gd name="T78" fmla="*/ 492 w 2472"/>
                      <a:gd name="T79" fmla="*/ 768 h 885"/>
                      <a:gd name="T80" fmla="*/ 431 w 2472"/>
                      <a:gd name="T81" fmla="*/ 747 h 885"/>
                      <a:gd name="T82" fmla="*/ 372 w 2472"/>
                      <a:gd name="T83" fmla="*/ 725 h 885"/>
                      <a:gd name="T84" fmla="*/ 319 w 2472"/>
                      <a:gd name="T85" fmla="*/ 703 h 885"/>
                      <a:gd name="T86" fmla="*/ 268 w 2472"/>
                      <a:gd name="T87" fmla="*/ 682 h 885"/>
                      <a:gd name="T88" fmla="*/ 222 w 2472"/>
                      <a:gd name="T89" fmla="*/ 660 h 885"/>
                      <a:gd name="T90" fmla="*/ 181 w 2472"/>
                      <a:gd name="T91" fmla="*/ 639 h 885"/>
                      <a:gd name="T92" fmla="*/ 144 w 2472"/>
                      <a:gd name="T93" fmla="*/ 619 h 885"/>
                      <a:gd name="T94" fmla="*/ 110 w 2472"/>
                      <a:gd name="T95" fmla="*/ 600 h 885"/>
                      <a:gd name="T96" fmla="*/ 81 w 2472"/>
                      <a:gd name="T97" fmla="*/ 584 h 885"/>
                      <a:gd name="T98" fmla="*/ 57 w 2472"/>
                      <a:gd name="T99" fmla="*/ 568 h 885"/>
                      <a:gd name="T100" fmla="*/ 37 w 2472"/>
                      <a:gd name="T101" fmla="*/ 555 h 885"/>
                      <a:gd name="T102" fmla="*/ 20 w 2472"/>
                      <a:gd name="T103" fmla="*/ 544 h 885"/>
                      <a:gd name="T104" fmla="*/ 10 w 2472"/>
                      <a:gd name="T105" fmla="*/ 537 h 885"/>
                      <a:gd name="T106" fmla="*/ 2 w 2472"/>
                      <a:gd name="T107" fmla="*/ 531 h 885"/>
                      <a:gd name="T108" fmla="*/ 0 w 2472"/>
                      <a:gd name="T109" fmla="*/ 529 h 885"/>
                      <a:gd name="T110" fmla="*/ 118 w 2472"/>
                      <a:gd name="T111" fmla="*/ 281 h 885"/>
                      <a:gd name="T112" fmla="*/ 130 w 2472"/>
                      <a:gd name="T113" fmla="*/ 0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85">
                        <a:moveTo>
                          <a:pt x="130" y="0"/>
                        </a:moveTo>
                        <a:lnTo>
                          <a:pt x="1241" y="98"/>
                        </a:lnTo>
                        <a:lnTo>
                          <a:pt x="1231" y="454"/>
                        </a:lnTo>
                        <a:lnTo>
                          <a:pt x="1241" y="238"/>
                        </a:lnTo>
                        <a:lnTo>
                          <a:pt x="2364" y="173"/>
                        </a:lnTo>
                        <a:lnTo>
                          <a:pt x="2364" y="346"/>
                        </a:lnTo>
                        <a:lnTo>
                          <a:pt x="2472" y="605"/>
                        </a:lnTo>
                        <a:lnTo>
                          <a:pt x="2470" y="607"/>
                        </a:lnTo>
                        <a:lnTo>
                          <a:pt x="2462" y="611"/>
                        </a:lnTo>
                        <a:lnTo>
                          <a:pt x="2450" y="617"/>
                        </a:lnTo>
                        <a:lnTo>
                          <a:pt x="2433" y="627"/>
                        </a:lnTo>
                        <a:lnTo>
                          <a:pt x="2412" y="638"/>
                        </a:lnTo>
                        <a:lnTo>
                          <a:pt x="2386" y="651"/>
                        </a:lnTo>
                        <a:lnTo>
                          <a:pt x="2355" y="664"/>
                        </a:lnTo>
                        <a:lnTo>
                          <a:pt x="2320" y="680"/>
                        </a:lnTo>
                        <a:lnTo>
                          <a:pt x="2281" y="697"/>
                        </a:lnTo>
                        <a:lnTo>
                          <a:pt x="2237" y="714"/>
                        </a:lnTo>
                        <a:lnTo>
                          <a:pt x="2189" y="731"/>
                        </a:lnTo>
                        <a:lnTo>
                          <a:pt x="2138" y="749"/>
                        </a:lnTo>
                        <a:lnTo>
                          <a:pt x="2081" y="767"/>
                        </a:lnTo>
                        <a:lnTo>
                          <a:pt x="2021" y="785"/>
                        </a:lnTo>
                        <a:lnTo>
                          <a:pt x="1957" y="802"/>
                        </a:lnTo>
                        <a:lnTo>
                          <a:pt x="1889" y="818"/>
                        </a:lnTo>
                        <a:lnTo>
                          <a:pt x="1818" y="833"/>
                        </a:lnTo>
                        <a:lnTo>
                          <a:pt x="1744" y="847"/>
                        </a:lnTo>
                        <a:lnTo>
                          <a:pt x="1664" y="858"/>
                        </a:lnTo>
                        <a:lnTo>
                          <a:pt x="1583" y="869"/>
                        </a:lnTo>
                        <a:lnTo>
                          <a:pt x="1497" y="877"/>
                        </a:lnTo>
                        <a:lnTo>
                          <a:pt x="1408" y="882"/>
                        </a:lnTo>
                        <a:lnTo>
                          <a:pt x="1316" y="885"/>
                        </a:lnTo>
                        <a:lnTo>
                          <a:pt x="1220" y="885"/>
                        </a:lnTo>
                        <a:lnTo>
                          <a:pt x="1124" y="883"/>
                        </a:lnTo>
                        <a:lnTo>
                          <a:pt x="1033" y="877"/>
                        </a:lnTo>
                        <a:lnTo>
                          <a:pt x="944" y="868"/>
                        </a:lnTo>
                        <a:lnTo>
                          <a:pt x="860" y="856"/>
                        </a:lnTo>
                        <a:lnTo>
                          <a:pt x="778" y="841"/>
                        </a:lnTo>
                        <a:lnTo>
                          <a:pt x="702" y="826"/>
                        </a:lnTo>
                        <a:lnTo>
                          <a:pt x="627" y="808"/>
                        </a:lnTo>
                        <a:lnTo>
                          <a:pt x="558" y="789"/>
                        </a:lnTo>
                        <a:lnTo>
                          <a:pt x="492" y="768"/>
                        </a:lnTo>
                        <a:lnTo>
                          <a:pt x="431" y="747"/>
                        </a:lnTo>
                        <a:lnTo>
                          <a:pt x="372" y="725"/>
                        </a:lnTo>
                        <a:lnTo>
                          <a:pt x="319" y="703"/>
                        </a:lnTo>
                        <a:lnTo>
                          <a:pt x="268" y="682"/>
                        </a:lnTo>
                        <a:lnTo>
                          <a:pt x="222" y="660"/>
                        </a:lnTo>
                        <a:lnTo>
                          <a:pt x="181" y="639"/>
                        </a:lnTo>
                        <a:lnTo>
                          <a:pt x="144" y="619"/>
                        </a:lnTo>
                        <a:lnTo>
                          <a:pt x="110" y="600"/>
                        </a:lnTo>
                        <a:lnTo>
                          <a:pt x="81" y="584"/>
                        </a:lnTo>
                        <a:lnTo>
                          <a:pt x="57" y="568"/>
                        </a:lnTo>
                        <a:lnTo>
                          <a:pt x="37" y="555"/>
                        </a:lnTo>
                        <a:lnTo>
                          <a:pt x="20" y="544"/>
                        </a:lnTo>
                        <a:lnTo>
                          <a:pt x="10" y="537"/>
                        </a:lnTo>
                        <a:lnTo>
                          <a:pt x="2" y="531"/>
                        </a:lnTo>
                        <a:lnTo>
                          <a:pt x="0" y="529"/>
                        </a:lnTo>
                        <a:lnTo>
                          <a:pt x="118" y="281"/>
                        </a:lnTo>
                        <a:lnTo>
                          <a:pt x="130"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57" name="Freeform 16"/>
                  <p:cNvSpPr>
                    <a:spLocks/>
                  </p:cNvSpPr>
                  <p:nvPr/>
                </p:nvSpPr>
                <p:spPr bwMode="auto">
                  <a:xfrm>
                    <a:off x="2206752" y="4803610"/>
                    <a:ext cx="446035" cy="289777"/>
                  </a:xfrm>
                  <a:custGeom>
                    <a:avLst/>
                    <a:gdLst>
                      <a:gd name="T0" fmla="*/ 1 w 2353"/>
                      <a:gd name="T1" fmla="*/ 2 h 1231"/>
                      <a:gd name="T2" fmla="*/ 9 w 2353"/>
                      <a:gd name="T3" fmla="*/ 12 h 1231"/>
                      <a:gd name="T4" fmla="*/ 27 w 2353"/>
                      <a:gd name="T5" fmla="*/ 32 h 1231"/>
                      <a:gd name="T6" fmla="*/ 54 w 2353"/>
                      <a:gd name="T7" fmla="*/ 59 h 1231"/>
                      <a:gd name="T8" fmla="*/ 94 w 2353"/>
                      <a:gd name="T9" fmla="*/ 92 h 1231"/>
                      <a:gd name="T10" fmla="*/ 146 w 2353"/>
                      <a:gd name="T11" fmla="*/ 128 h 1231"/>
                      <a:gd name="T12" fmla="*/ 212 w 2353"/>
                      <a:gd name="T13" fmla="*/ 168 h 1231"/>
                      <a:gd name="T14" fmla="*/ 293 w 2353"/>
                      <a:gd name="T15" fmla="*/ 209 h 1231"/>
                      <a:gd name="T16" fmla="*/ 391 w 2353"/>
                      <a:gd name="T17" fmla="*/ 250 h 1231"/>
                      <a:gd name="T18" fmla="*/ 506 w 2353"/>
                      <a:gd name="T19" fmla="*/ 287 h 1231"/>
                      <a:gd name="T20" fmla="*/ 639 w 2353"/>
                      <a:gd name="T21" fmla="*/ 323 h 1231"/>
                      <a:gd name="T22" fmla="*/ 793 w 2353"/>
                      <a:gd name="T23" fmla="*/ 352 h 1231"/>
                      <a:gd name="T24" fmla="*/ 968 w 2353"/>
                      <a:gd name="T25" fmla="*/ 374 h 1231"/>
                      <a:gd name="T26" fmla="*/ 1166 w 2353"/>
                      <a:gd name="T27" fmla="*/ 389 h 1231"/>
                      <a:gd name="T28" fmla="*/ 1260 w 2353"/>
                      <a:gd name="T29" fmla="*/ 387 h 1231"/>
                      <a:gd name="T30" fmla="*/ 1423 w 2353"/>
                      <a:gd name="T31" fmla="*/ 375 h 1231"/>
                      <a:gd name="T32" fmla="*/ 1578 w 2353"/>
                      <a:gd name="T33" fmla="*/ 352 h 1231"/>
                      <a:gd name="T34" fmla="*/ 1723 w 2353"/>
                      <a:gd name="T35" fmla="*/ 322 h 1231"/>
                      <a:gd name="T36" fmla="*/ 1857 w 2353"/>
                      <a:gd name="T37" fmla="*/ 284 h 1231"/>
                      <a:gd name="T38" fmla="*/ 1980 w 2353"/>
                      <a:gd name="T39" fmla="*/ 242 h 1231"/>
                      <a:gd name="T40" fmla="*/ 2087 w 2353"/>
                      <a:gd name="T41" fmla="*/ 197 h 1231"/>
                      <a:gd name="T42" fmla="*/ 2179 w 2353"/>
                      <a:gd name="T43" fmla="*/ 152 h 1231"/>
                      <a:gd name="T44" fmla="*/ 2252 w 2353"/>
                      <a:gd name="T45" fmla="*/ 107 h 1231"/>
                      <a:gd name="T46" fmla="*/ 2308 w 2353"/>
                      <a:gd name="T47" fmla="*/ 66 h 1231"/>
                      <a:gd name="T48" fmla="*/ 2341 w 2353"/>
                      <a:gd name="T49" fmla="*/ 30 h 1231"/>
                      <a:gd name="T50" fmla="*/ 2353 w 2353"/>
                      <a:gd name="T51" fmla="*/ 0 h 1231"/>
                      <a:gd name="T52" fmla="*/ 2350 w 2353"/>
                      <a:gd name="T53" fmla="*/ 793 h 1231"/>
                      <a:gd name="T54" fmla="*/ 2322 w 2353"/>
                      <a:gd name="T55" fmla="*/ 863 h 1231"/>
                      <a:gd name="T56" fmla="*/ 2269 w 2353"/>
                      <a:gd name="T57" fmla="*/ 931 h 1231"/>
                      <a:gd name="T58" fmla="*/ 2193 w 2353"/>
                      <a:gd name="T59" fmla="*/ 994 h 1231"/>
                      <a:gd name="T60" fmla="*/ 2094 w 2353"/>
                      <a:gd name="T61" fmla="*/ 1052 h 1231"/>
                      <a:gd name="T62" fmla="*/ 1977 w 2353"/>
                      <a:gd name="T63" fmla="*/ 1103 h 1231"/>
                      <a:gd name="T64" fmla="*/ 1843 w 2353"/>
                      <a:gd name="T65" fmla="*/ 1146 h 1231"/>
                      <a:gd name="T66" fmla="*/ 1693 w 2353"/>
                      <a:gd name="T67" fmla="*/ 1182 h 1231"/>
                      <a:gd name="T68" fmla="*/ 1531 w 2353"/>
                      <a:gd name="T69" fmla="*/ 1209 h 1231"/>
                      <a:gd name="T70" fmla="*/ 1358 w 2353"/>
                      <a:gd name="T71" fmla="*/ 1225 h 1231"/>
                      <a:gd name="T72" fmla="*/ 1177 w 2353"/>
                      <a:gd name="T73" fmla="*/ 1231 h 1231"/>
                      <a:gd name="T74" fmla="*/ 1074 w 2353"/>
                      <a:gd name="T75" fmla="*/ 1228 h 1231"/>
                      <a:gd name="T76" fmla="*/ 897 w 2353"/>
                      <a:gd name="T77" fmla="*/ 1215 h 1231"/>
                      <a:gd name="T78" fmla="*/ 731 w 2353"/>
                      <a:gd name="T79" fmla="*/ 1192 h 1231"/>
                      <a:gd name="T80" fmla="*/ 576 w 2353"/>
                      <a:gd name="T81" fmla="*/ 1161 h 1231"/>
                      <a:gd name="T82" fmla="*/ 435 w 2353"/>
                      <a:gd name="T83" fmla="*/ 1121 h 1231"/>
                      <a:gd name="T84" fmla="*/ 311 w 2353"/>
                      <a:gd name="T85" fmla="*/ 1074 h 1231"/>
                      <a:gd name="T86" fmla="*/ 204 w 2353"/>
                      <a:gd name="T87" fmla="*/ 1020 h 1231"/>
                      <a:gd name="T88" fmla="*/ 118 w 2353"/>
                      <a:gd name="T89" fmla="*/ 962 h 1231"/>
                      <a:gd name="T90" fmla="*/ 54 w 2353"/>
                      <a:gd name="T91" fmla="*/ 897 h 1231"/>
                      <a:gd name="T92" fmla="*/ 14 w 2353"/>
                      <a:gd name="T93" fmla="*/ 829 h 1231"/>
                      <a:gd name="T94" fmla="*/ 0 w 2353"/>
                      <a:gd name="T95" fmla="*/ 756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53" h="1231">
                        <a:moveTo>
                          <a:pt x="0" y="0"/>
                        </a:moveTo>
                        <a:lnTo>
                          <a:pt x="1" y="2"/>
                        </a:lnTo>
                        <a:lnTo>
                          <a:pt x="4" y="6"/>
                        </a:lnTo>
                        <a:lnTo>
                          <a:pt x="9" y="12"/>
                        </a:lnTo>
                        <a:lnTo>
                          <a:pt x="16" y="21"/>
                        </a:lnTo>
                        <a:lnTo>
                          <a:pt x="27" y="32"/>
                        </a:lnTo>
                        <a:lnTo>
                          <a:pt x="39" y="44"/>
                        </a:lnTo>
                        <a:lnTo>
                          <a:pt x="54" y="59"/>
                        </a:lnTo>
                        <a:lnTo>
                          <a:pt x="72" y="75"/>
                        </a:lnTo>
                        <a:lnTo>
                          <a:pt x="94" y="92"/>
                        </a:lnTo>
                        <a:lnTo>
                          <a:pt x="118" y="109"/>
                        </a:lnTo>
                        <a:lnTo>
                          <a:pt x="146" y="128"/>
                        </a:lnTo>
                        <a:lnTo>
                          <a:pt x="177" y="148"/>
                        </a:lnTo>
                        <a:lnTo>
                          <a:pt x="212" y="168"/>
                        </a:lnTo>
                        <a:lnTo>
                          <a:pt x="251" y="189"/>
                        </a:lnTo>
                        <a:lnTo>
                          <a:pt x="293" y="209"/>
                        </a:lnTo>
                        <a:lnTo>
                          <a:pt x="340" y="230"/>
                        </a:lnTo>
                        <a:lnTo>
                          <a:pt x="391" y="250"/>
                        </a:lnTo>
                        <a:lnTo>
                          <a:pt x="446" y="269"/>
                        </a:lnTo>
                        <a:lnTo>
                          <a:pt x="506" y="287"/>
                        </a:lnTo>
                        <a:lnTo>
                          <a:pt x="570" y="306"/>
                        </a:lnTo>
                        <a:lnTo>
                          <a:pt x="639" y="323"/>
                        </a:lnTo>
                        <a:lnTo>
                          <a:pt x="714" y="338"/>
                        </a:lnTo>
                        <a:lnTo>
                          <a:pt x="793" y="352"/>
                        </a:lnTo>
                        <a:lnTo>
                          <a:pt x="878" y="364"/>
                        </a:lnTo>
                        <a:lnTo>
                          <a:pt x="968" y="374"/>
                        </a:lnTo>
                        <a:lnTo>
                          <a:pt x="1065" y="383"/>
                        </a:lnTo>
                        <a:lnTo>
                          <a:pt x="1166" y="389"/>
                        </a:lnTo>
                        <a:lnTo>
                          <a:pt x="1177" y="389"/>
                        </a:lnTo>
                        <a:lnTo>
                          <a:pt x="1260" y="387"/>
                        </a:lnTo>
                        <a:lnTo>
                          <a:pt x="1342" y="383"/>
                        </a:lnTo>
                        <a:lnTo>
                          <a:pt x="1423" y="375"/>
                        </a:lnTo>
                        <a:lnTo>
                          <a:pt x="1501" y="365"/>
                        </a:lnTo>
                        <a:lnTo>
                          <a:pt x="1578" y="352"/>
                        </a:lnTo>
                        <a:lnTo>
                          <a:pt x="1652" y="338"/>
                        </a:lnTo>
                        <a:lnTo>
                          <a:pt x="1723" y="322"/>
                        </a:lnTo>
                        <a:lnTo>
                          <a:pt x="1792" y="304"/>
                        </a:lnTo>
                        <a:lnTo>
                          <a:pt x="1857" y="284"/>
                        </a:lnTo>
                        <a:lnTo>
                          <a:pt x="1920" y="263"/>
                        </a:lnTo>
                        <a:lnTo>
                          <a:pt x="1980" y="242"/>
                        </a:lnTo>
                        <a:lnTo>
                          <a:pt x="2035" y="220"/>
                        </a:lnTo>
                        <a:lnTo>
                          <a:pt x="2087" y="197"/>
                        </a:lnTo>
                        <a:lnTo>
                          <a:pt x="2135" y="174"/>
                        </a:lnTo>
                        <a:lnTo>
                          <a:pt x="2179" y="152"/>
                        </a:lnTo>
                        <a:lnTo>
                          <a:pt x="2218" y="129"/>
                        </a:lnTo>
                        <a:lnTo>
                          <a:pt x="2252" y="107"/>
                        </a:lnTo>
                        <a:lnTo>
                          <a:pt x="2283" y="86"/>
                        </a:lnTo>
                        <a:lnTo>
                          <a:pt x="2308" y="66"/>
                        </a:lnTo>
                        <a:lnTo>
                          <a:pt x="2328" y="48"/>
                        </a:lnTo>
                        <a:lnTo>
                          <a:pt x="2341" y="30"/>
                        </a:lnTo>
                        <a:lnTo>
                          <a:pt x="2351" y="14"/>
                        </a:lnTo>
                        <a:lnTo>
                          <a:pt x="2353" y="0"/>
                        </a:lnTo>
                        <a:lnTo>
                          <a:pt x="2353" y="756"/>
                        </a:lnTo>
                        <a:lnTo>
                          <a:pt x="2350" y="793"/>
                        </a:lnTo>
                        <a:lnTo>
                          <a:pt x="2339" y="829"/>
                        </a:lnTo>
                        <a:lnTo>
                          <a:pt x="2322" y="863"/>
                        </a:lnTo>
                        <a:lnTo>
                          <a:pt x="2298" y="898"/>
                        </a:lnTo>
                        <a:lnTo>
                          <a:pt x="2269" y="931"/>
                        </a:lnTo>
                        <a:lnTo>
                          <a:pt x="2233" y="964"/>
                        </a:lnTo>
                        <a:lnTo>
                          <a:pt x="2193" y="994"/>
                        </a:lnTo>
                        <a:lnTo>
                          <a:pt x="2145" y="1024"/>
                        </a:lnTo>
                        <a:lnTo>
                          <a:pt x="2094" y="1052"/>
                        </a:lnTo>
                        <a:lnTo>
                          <a:pt x="2038" y="1078"/>
                        </a:lnTo>
                        <a:lnTo>
                          <a:pt x="1977" y="1103"/>
                        </a:lnTo>
                        <a:lnTo>
                          <a:pt x="1912" y="1125"/>
                        </a:lnTo>
                        <a:lnTo>
                          <a:pt x="1843" y="1146"/>
                        </a:lnTo>
                        <a:lnTo>
                          <a:pt x="1769" y="1165"/>
                        </a:lnTo>
                        <a:lnTo>
                          <a:pt x="1693" y="1182"/>
                        </a:lnTo>
                        <a:lnTo>
                          <a:pt x="1613" y="1196"/>
                        </a:lnTo>
                        <a:lnTo>
                          <a:pt x="1531" y="1209"/>
                        </a:lnTo>
                        <a:lnTo>
                          <a:pt x="1446" y="1218"/>
                        </a:lnTo>
                        <a:lnTo>
                          <a:pt x="1358" y="1225"/>
                        </a:lnTo>
                        <a:lnTo>
                          <a:pt x="1268" y="1230"/>
                        </a:lnTo>
                        <a:lnTo>
                          <a:pt x="1177" y="1231"/>
                        </a:lnTo>
                        <a:lnTo>
                          <a:pt x="1166" y="1231"/>
                        </a:lnTo>
                        <a:lnTo>
                          <a:pt x="1074" y="1228"/>
                        </a:lnTo>
                        <a:lnTo>
                          <a:pt x="985" y="1223"/>
                        </a:lnTo>
                        <a:lnTo>
                          <a:pt x="897" y="1215"/>
                        </a:lnTo>
                        <a:lnTo>
                          <a:pt x="812" y="1205"/>
                        </a:lnTo>
                        <a:lnTo>
                          <a:pt x="731" y="1192"/>
                        </a:lnTo>
                        <a:lnTo>
                          <a:pt x="651" y="1178"/>
                        </a:lnTo>
                        <a:lnTo>
                          <a:pt x="576" y="1161"/>
                        </a:lnTo>
                        <a:lnTo>
                          <a:pt x="503" y="1142"/>
                        </a:lnTo>
                        <a:lnTo>
                          <a:pt x="435" y="1121"/>
                        </a:lnTo>
                        <a:lnTo>
                          <a:pt x="370" y="1099"/>
                        </a:lnTo>
                        <a:lnTo>
                          <a:pt x="311" y="1074"/>
                        </a:lnTo>
                        <a:lnTo>
                          <a:pt x="255" y="1049"/>
                        </a:lnTo>
                        <a:lnTo>
                          <a:pt x="204" y="1020"/>
                        </a:lnTo>
                        <a:lnTo>
                          <a:pt x="159" y="992"/>
                        </a:lnTo>
                        <a:lnTo>
                          <a:pt x="118" y="962"/>
                        </a:lnTo>
                        <a:lnTo>
                          <a:pt x="83" y="930"/>
                        </a:lnTo>
                        <a:lnTo>
                          <a:pt x="54" y="897"/>
                        </a:lnTo>
                        <a:lnTo>
                          <a:pt x="31" y="863"/>
                        </a:lnTo>
                        <a:lnTo>
                          <a:pt x="14" y="829"/>
                        </a:lnTo>
                        <a:lnTo>
                          <a:pt x="4" y="792"/>
                        </a:lnTo>
                        <a:lnTo>
                          <a:pt x="0" y="756"/>
                        </a:lnTo>
                        <a:lnTo>
                          <a:pt x="0" y="0"/>
                        </a:lnTo>
                        <a:close/>
                      </a:path>
                    </a:pathLst>
                  </a:custGeom>
                  <a:solidFill>
                    <a:srgbClr val="3898C5"/>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58" name="Freeform 17"/>
                  <p:cNvSpPr>
                    <a:spLocks/>
                  </p:cNvSpPr>
                  <p:nvPr/>
                </p:nvSpPr>
                <p:spPr bwMode="auto">
                  <a:xfrm>
                    <a:off x="2432332" y="4805516"/>
                    <a:ext cx="223872" cy="285965"/>
                  </a:xfrm>
                  <a:custGeom>
                    <a:avLst/>
                    <a:gdLst>
                      <a:gd name="T0" fmla="*/ 1187 w 1187"/>
                      <a:gd name="T1" fmla="*/ 0 h 1231"/>
                      <a:gd name="T2" fmla="*/ 1187 w 1187"/>
                      <a:gd name="T3" fmla="*/ 756 h 1231"/>
                      <a:gd name="T4" fmla="*/ 1184 w 1187"/>
                      <a:gd name="T5" fmla="*/ 793 h 1231"/>
                      <a:gd name="T6" fmla="*/ 1173 w 1187"/>
                      <a:gd name="T7" fmla="*/ 829 h 1231"/>
                      <a:gd name="T8" fmla="*/ 1156 w 1187"/>
                      <a:gd name="T9" fmla="*/ 863 h 1231"/>
                      <a:gd name="T10" fmla="*/ 1132 w 1187"/>
                      <a:gd name="T11" fmla="*/ 898 h 1231"/>
                      <a:gd name="T12" fmla="*/ 1103 w 1187"/>
                      <a:gd name="T13" fmla="*/ 931 h 1231"/>
                      <a:gd name="T14" fmla="*/ 1067 w 1187"/>
                      <a:gd name="T15" fmla="*/ 964 h 1231"/>
                      <a:gd name="T16" fmla="*/ 1027 w 1187"/>
                      <a:gd name="T17" fmla="*/ 994 h 1231"/>
                      <a:gd name="T18" fmla="*/ 979 w 1187"/>
                      <a:gd name="T19" fmla="*/ 1024 h 1231"/>
                      <a:gd name="T20" fmla="*/ 928 w 1187"/>
                      <a:gd name="T21" fmla="*/ 1052 h 1231"/>
                      <a:gd name="T22" fmla="*/ 872 w 1187"/>
                      <a:gd name="T23" fmla="*/ 1078 h 1231"/>
                      <a:gd name="T24" fmla="*/ 811 w 1187"/>
                      <a:gd name="T25" fmla="*/ 1103 h 1231"/>
                      <a:gd name="T26" fmla="*/ 746 w 1187"/>
                      <a:gd name="T27" fmla="*/ 1125 h 1231"/>
                      <a:gd name="T28" fmla="*/ 677 w 1187"/>
                      <a:gd name="T29" fmla="*/ 1146 h 1231"/>
                      <a:gd name="T30" fmla="*/ 603 w 1187"/>
                      <a:gd name="T31" fmla="*/ 1165 h 1231"/>
                      <a:gd name="T32" fmla="*/ 527 w 1187"/>
                      <a:gd name="T33" fmla="*/ 1182 h 1231"/>
                      <a:gd name="T34" fmla="*/ 447 w 1187"/>
                      <a:gd name="T35" fmla="*/ 1196 h 1231"/>
                      <a:gd name="T36" fmla="*/ 365 w 1187"/>
                      <a:gd name="T37" fmla="*/ 1209 h 1231"/>
                      <a:gd name="T38" fmla="*/ 280 w 1187"/>
                      <a:gd name="T39" fmla="*/ 1218 h 1231"/>
                      <a:gd name="T40" fmla="*/ 192 w 1187"/>
                      <a:gd name="T41" fmla="*/ 1225 h 1231"/>
                      <a:gd name="T42" fmla="*/ 102 w 1187"/>
                      <a:gd name="T43" fmla="*/ 1230 h 1231"/>
                      <a:gd name="T44" fmla="*/ 11 w 1187"/>
                      <a:gd name="T45" fmla="*/ 1231 h 1231"/>
                      <a:gd name="T46" fmla="*/ 0 w 1187"/>
                      <a:gd name="T47" fmla="*/ 1231 h 1231"/>
                      <a:gd name="T48" fmla="*/ 0 w 1187"/>
                      <a:gd name="T49" fmla="*/ 389 h 1231"/>
                      <a:gd name="T50" fmla="*/ 11 w 1187"/>
                      <a:gd name="T51" fmla="*/ 389 h 1231"/>
                      <a:gd name="T52" fmla="*/ 94 w 1187"/>
                      <a:gd name="T53" fmla="*/ 387 h 1231"/>
                      <a:gd name="T54" fmla="*/ 176 w 1187"/>
                      <a:gd name="T55" fmla="*/ 383 h 1231"/>
                      <a:gd name="T56" fmla="*/ 257 w 1187"/>
                      <a:gd name="T57" fmla="*/ 375 h 1231"/>
                      <a:gd name="T58" fmla="*/ 335 w 1187"/>
                      <a:gd name="T59" fmla="*/ 365 h 1231"/>
                      <a:gd name="T60" fmla="*/ 412 w 1187"/>
                      <a:gd name="T61" fmla="*/ 352 h 1231"/>
                      <a:gd name="T62" fmla="*/ 486 w 1187"/>
                      <a:gd name="T63" fmla="*/ 338 h 1231"/>
                      <a:gd name="T64" fmla="*/ 557 w 1187"/>
                      <a:gd name="T65" fmla="*/ 322 h 1231"/>
                      <a:gd name="T66" fmla="*/ 626 w 1187"/>
                      <a:gd name="T67" fmla="*/ 304 h 1231"/>
                      <a:gd name="T68" fmla="*/ 691 w 1187"/>
                      <a:gd name="T69" fmla="*/ 284 h 1231"/>
                      <a:gd name="T70" fmla="*/ 754 w 1187"/>
                      <a:gd name="T71" fmla="*/ 263 h 1231"/>
                      <a:gd name="T72" fmla="*/ 814 w 1187"/>
                      <a:gd name="T73" fmla="*/ 242 h 1231"/>
                      <a:gd name="T74" fmla="*/ 869 w 1187"/>
                      <a:gd name="T75" fmla="*/ 220 h 1231"/>
                      <a:gd name="T76" fmla="*/ 921 w 1187"/>
                      <a:gd name="T77" fmla="*/ 197 h 1231"/>
                      <a:gd name="T78" fmla="*/ 969 w 1187"/>
                      <a:gd name="T79" fmla="*/ 174 h 1231"/>
                      <a:gd name="T80" fmla="*/ 1013 w 1187"/>
                      <a:gd name="T81" fmla="*/ 152 h 1231"/>
                      <a:gd name="T82" fmla="*/ 1052 w 1187"/>
                      <a:gd name="T83" fmla="*/ 129 h 1231"/>
                      <a:gd name="T84" fmla="*/ 1086 w 1187"/>
                      <a:gd name="T85" fmla="*/ 107 h 1231"/>
                      <a:gd name="T86" fmla="*/ 1117 w 1187"/>
                      <a:gd name="T87" fmla="*/ 86 h 1231"/>
                      <a:gd name="T88" fmla="*/ 1142 w 1187"/>
                      <a:gd name="T89" fmla="*/ 66 h 1231"/>
                      <a:gd name="T90" fmla="*/ 1162 w 1187"/>
                      <a:gd name="T91" fmla="*/ 48 h 1231"/>
                      <a:gd name="T92" fmla="*/ 1175 w 1187"/>
                      <a:gd name="T93" fmla="*/ 30 h 1231"/>
                      <a:gd name="T94" fmla="*/ 1185 w 1187"/>
                      <a:gd name="T95" fmla="*/ 14 h 1231"/>
                      <a:gd name="T96" fmla="*/ 1187 w 1187"/>
                      <a:gd name="T97" fmla="*/ 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7" h="1231">
                        <a:moveTo>
                          <a:pt x="1187" y="0"/>
                        </a:moveTo>
                        <a:lnTo>
                          <a:pt x="1187" y="756"/>
                        </a:lnTo>
                        <a:lnTo>
                          <a:pt x="1184" y="793"/>
                        </a:lnTo>
                        <a:lnTo>
                          <a:pt x="1173" y="829"/>
                        </a:lnTo>
                        <a:lnTo>
                          <a:pt x="1156" y="863"/>
                        </a:lnTo>
                        <a:lnTo>
                          <a:pt x="1132" y="898"/>
                        </a:lnTo>
                        <a:lnTo>
                          <a:pt x="1103" y="931"/>
                        </a:lnTo>
                        <a:lnTo>
                          <a:pt x="1067" y="964"/>
                        </a:lnTo>
                        <a:lnTo>
                          <a:pt x="1027" y="994"/>
                        </a:lnTo>
                        <a:lnTo>
                          <a:pt x="979" y="1024"/>
                        </a:lnTo>
                        <a:lnTo>
                          <a:pt x="928" y="1052"/>
                        </a:lnTo>
                        <a:lnTo>
                          <a:pt x="872" y="1078"/>
                        </a:lnTo>
                        <a:lnTo>
                          <a:pt x="811" y="1103"/>
                        </a:lnTo>
                        <a:lnTo>
                          <a:pt x="746" y="1125"/>
                        </a:lnTo>
                        <a:lnTo>
                          <a:pt x="677" y="1146"/>
                        </a:lnTo>
                        <a:lnTo>
                          <a:pt x="603" y="1165"/>
                        </a:lnTo>
                        <a:lnTo>
                          <a:pt x="527" y="1182"/>
                        </a:lnTo>
                        <a:lnTo>
                          <a:pt x="447" y="1196"/>
                        </a:lnTo>
                        <a:lnTo>
                          <a:pt x="365" y="1209"/>
                        </a:lnTo>
                        <a:lnTo>
                          <a:pt x="280" y="1218"/>
                        </a:lnTo>
                        <a:lnTo>
                          <a:pt x="192" y="1225"/>
                        </a:lnTo>
                        <a:lnTo>
                          <a:pt x="102" y="1230"/>
                        </a:lnTo>
                        <a:lnTo>
                          <a:pt x="11" y="1231"/>
                        </a:lnTo>
                        <a:lnTo>
                          <a:pt x="0" y="1231"/>
                        </a:lnTo>
                        <a:lnTo>
                          <a:pt x="0" y="389"/>
                        </a:lnTo>
                        <a:lnTo>
                          <a:pt x="11" y="389"/>
                        </a:lnTo>
                        <a:lnTo>
                          <a:pt x="94" y="387"/>
                        </a:lnTo>
                        <a:lnTo>
                          <a:pt x="176" y="383"/>
                        </a:lnTo>
                        <a:lnTo>
                          <a:pt x="257" y="375"/>
                        </a:lnTo>
                        <a:lnTo>
                          <a:pt x="335" y="365"/>
                        </a:lnTo>
                        <a:lnTo>
                          <a:pt x="412" y="352"/>
                        </a:lnTo>
                        <a:lnTo>
                          <a:pt x="486" y="338"/>
                        </a:lnTo>
                        <a:lnTo>
                          <a:pt x="557" y="322"/>
                        </a:lnTo>
                        <a:lnTo>
                          <a:pt x="626" y="304"/>
                        </a:lnTo>
                        <a:lnTo>
                          <a:pt x="691" y="284"/>
                        </a:lnTo>
                        <a:lnTo>
                          <a:pt x="754" y="263"/>
                        </a:lnTo>
                        <a:lnTo>
                          <a:pt x="814" y="242"/>
                        </a:lnTo>
                        <a:lnTo>
                          <a:pt x="869" y="220"/>
                        </a:lnTo>
                        <a:lnTo>
                          <a:pt x="921" y="197"/>
                        </a:lnTo>
                        <a:lnTo>
                          <a:pt x="969" y="174"/>
                        </a:lnTo>
                        <a:lnTo>
                          <a:pt x="1013" y="152"/>
                        </a:lnTo>
                        <a:lnTo>
                          <a:pt x="1052" y="129"/>
                        </a:lnTo>
                        <a:lnTo>
                          <a:pt x="1086" y="107"/>
                        </a:lnTo>
                        <a:lnTo>
                          <a:pt x="1117" y="86"/>
                        </a:lnTo>
                        <a:lnTo>
                          <a:pt x="1142" y="66"/>
                        </a:lnTo>
                        <a:lnTo>
                          <a:pt x="1162" y="48"/>
                        </a:lnTo>
                        <a:lnTo>
                          <a:pt x="1175" y="30"/>
                        </a:lnTo>
                        <a:lnTo>
                          <a:pt x="1185" y="14"/>
                        </a:lnTo>
                        <a:lnTo>
                          <a:pt x="1187" y="0"/>
                        </a:lnTo>
                        <a:close/>
                      </a:path>
                    </a:pathLst>
                  </a:custGeom>
                  <a:solidFill>
                    <a:srgbClr val="59B3D8"/>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59" name="Freeform 8"/>
                  <p:cNvSpPr>
                    <a:spLocks/>
                  </p:cNvSpPr>
                  <p:nvPr/>
                </p:nvSpPr>
                <p:spPr bwMode="auto">
                  <a:xfrm>
                    <a:off x="2200517" y="4722477"/>
                    <a:ext cx="461923" cy="201848"/>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60" name="Freeform 9"/>
                  <p:cNvSpPr>
                    <a:spLocks/>
                  </p:cNvSpPr>
                  <p:nvPr/>
                </p:nvSpPr>
                <p:spPr bwMode="auto">
                  <a:xfrm>
                    <a:off x="2240784" y="4751313"/>
                    <a:ext cx="381389" cy="13264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7FBA00"/>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61" name="Freeform 10"/>
                  <p:cNvSpPr>
                    <a:spLocks/>
                  </p:cNvSpPr>
                  <p:nvPr/>
                </p:nvSpPr>
                <p:spPr bwMode="auto">
                  <a:xfrm>
                    <a:off x="2233310" y="4747213"/>
                    <a:ext cx="396338" cy="10765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8D43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grpSp>
            <p:grpSp>
              <p:nvGrpSpPr>
                <p:cNvPr id="211" name="Medium stack"/>
                <p:cNvGrpSpPr/>
                <p:nvPr/>
              </p:nvGrpSpPr>
              <p:grpSpPr>
                <a:xfrm>
                  <a:off x="4851197" y="3919970"/>
                  <a:ext cx="496907" cy="639824"/>
                  <a:chOff x="2198554" y="4722477"/>
                  <a:chExt cx="471670" cy="789187"/>
                </a:xfrm>
              </p:grpSpPr>
              <p:sp>
                <p:nvSpPr>
                  <p:cNvPr id="238" name="Freeform 16"/>
                  <p:cNvSpPr>
                    <a:spLocks/>
                  </p:cNvSpPr>
                  <p:nvPr/>
                </p:nvSpPr>
                <p:spPr bwMode="auto">
                  <a:xfrm>
                    <a:off x="2212132" y="5221887"/>
                    <a:ext cx="446036" cy="289777"/>
                  </a:xfrm>
                  <a:custGeom>
                    <a:avLst/>
                    <a:gdLst>
                      <a:gd name="T0" fmla="*/ 1 w 2353"/>
                      <a:gd name="T1" fmla="*/ 2 h 1231"/>
                      <a:gd name="T2" fmla="*/ 9 w 2353"/>
                      <a:gd name="T3" fmla="*/ 12 h 1231"/>
                      <a:gd name="T4" fmla="*/ 27 w 2353"/>
                      <a:gd name="T5" fmla="*/ 32 h 1231"/>
                      <a:gd name="T6" fmla="*/ 54 w 2353"/>
                      <a:gd name="T7" fmla="*/ 59 h 1231"/>
                      <a:gd name="T8" fmla="*/ 94 w 2353"/>
                      <a:gd name="T9" fmla="*/ 92 h 1231"/>
                      <a:gd name="T10" fmla="*/ 146 w 2353"/>
                      <a:gd name="T11" fmla="*/ 128 h 1231"/>
                      <a:gd name="T12" fmla="*/ 212 w 2353"/>
                      <a:gd name="T13" fmla="*/ 168 h 1231"/>
                      <a:gd name="T14" fmla="*/ 293 w 2353"/>
                      <a:gd name="T15" fmla="*/ 209 h 1231"/>
                      <a:gd name="T16" fmla="*/ 391 w 2353"/>
                      <a:gd name="T17" fmla="*/ 250 h 1231"/>
                      <a:gd name="T18" fmla="*/ 506 w 2353"/>
                      <a:gd name="T19" fmla="*/ 287 h 1231"/>
                      <a:gd name="T20" fmla="*/ 639 w 2353"/>
                      <a:gd name="T21" fmla="*/ 323 h 1231"/>
                      <a:gd name="T22" fmla="*/ 793 w 2353"/>
                      <a:gd name="T23" fmla="*/ 352 h 1231"/>
                      <a:gd name="T24" fmla="*/ 968 w 2353"/>
                      <a:gd name="T25" fmla="*/ 374 h 1231"/>
                      <a:gd name="T26" fmla="*/ 1166 w 2353"/>
                      <a:gd name="T27" fmla="*/ 389 h 1231"/>
                      <a:gd name="T28" fmla="*/ 1260 w 2353"/>
                      <a:gd name="T29" fmla="*/ 387 h 1231"/>
                      <a:gd name="T30" fmla="*/ 1423 w 2353"/>
                      <a:gd name="T31" fmla="*/ 375 h 1231"/>
                      <a:gd name="T32" fmla="*/ 1578 w 2353"/>
                      <a:gd name="T33" fmla="*/ 352 h 1231"/>
                      <a:gd name="T34" fmla="*/ 1723 w 2353"/>
                      <a:gd name="T35" fmla="*/ 322 h 1231"/>
                      <a:gd name="T36" fmla="*/ 1857 w 2353"/>
                      <a:gd name="T37" fmla="*/ 284 h 1231"/>
                      <a:gd name="T38" fmla="*/ 1980 w 2353"/>
                      <a:gd name="T39" fmla="*/ 242 h 1231"/>
                      <a:gd name="T40" fmla="*/ 2087 w 2353"/>
                      <a:gd name="T41" fmla="*/ 197 h 1231"/>
                      <a:gd name="T42" fmla="*/ 2179 w 2353"/>
                      <a:gd name="T43" fmla="*/ 152 h 1231"/>
                      <a:gd name="T44" fmla="*/ 2252 w 2353"/>
                      <a:gd name="T45" fmla="*/ 107 h 1231"/>
                      <a:gd name="T46" fmla="*/ 2308 w 2353"/>
                      <a:gd name="T47" fmla="*/ 66 h 1231"/>
                      <a:gd name="T48" fmla="*/ 2341 w 2353"/>
                      <a:gd name="T49" fmla="*/ 30 h 1231"/>
                      <a:gd name="T50" fmla="*/ 2353 w 2353"/>
                      <a:gd name="T51" fmla="*/ 0 h 1231"/>
                      <a:gd name="T52" fmla="*/ 2350 w 2353"/>
                      <a:gd name="T53" fmla="*/ 793 h 1231"/>
                      <a:gd name="T54" fmla="*/ 2322 w 2353"/>
                      <a:gd name="T55" fmla="*/ 863 h 1231"/>
                      <a:gd name="T56" fmla="*/ 2269 w 2353"/>
                      <a:gd name="T57" fmla="*/ 931 h 1231"/>
                      <a:gd name="T58" fmla="*/ 2193 w 2353"/>
                      <a:gd name="T59" fmla="*/ 994 h 1231"/>
                      <a:gd name="T60" fmla="*/ 2094 w 2353"/>
                      <a:gd name="T61" fmla="*/ 1052 h 1231"/>
                      <a:gd name="T62" fmla="*/ 1977 w 2353"/>
                      <a:gd name="T63" fmla="*/ 1103 h 1231"/>
                      <a:gd name="T64" fmla="*/ 1843 w 2353"/>
                      <a:gd name="T65" fmla="*/ 1146 h 1231"/>
                      <a:gd name="T66" fmla="*/ 1693 w 2353"/>
                      <a:gd name="T67" fmla="*/ 1182 h 1231"/>
                      <a:gd name="T68" fmla="*/ 1531 w 2353"/>
                      <a:gd name="T69" fmla="*/ 1209 h 1231"/>
                      <a:gd name="T70" fmla="*/ 1358 w 2353"/>
                      <a:gd name="T71" fmla="*/ 1225 h 1231"/>
                      <a:gd name="T72" fmla="*/ 1177 w 2353"/>
                      <a:gd name="T73" fmla="*/ 1231 h 1231"/>
                      <a:gd name="T74" fmla="*/ 1074 w 2353"/>
                      <a:gd name="T75" fmla="*/ 1228 h 1231"/>
                      <a:gd name="T76" fmla="*/ 897 w 2353"/>
                      <a:gd name="T77" fmla="*/ 1215 h 1231"/>
                      <a:gd name="T78" fmla="*/ 731 w 2353"/>
                      <a:gd name="T79" fmla="*/ 1192 h 1231"/>
                      <a:gd name="T80" fmla="*/ 576 w 2353"/>
                      <a:gd name="T81" fmla="*/ 1161 h 1231"/>
                      <a:gd name="T82" fmla="*/ 435 w 2353"/>
                      <a:gd name="T83" fmla="*/ 1121 h 1231"/>
                      <a:gd name="T84" fmla="*/ 311 w 2353"/>
                      <a:gd name="T85" fmla="*/ 1074 h 1231"/>
                      <a:gd name="T86" fmla="*/ 204 w 2353"/>
                      <a:gd name="T87" fmla="*/ 1020 h 1231"/>
                      <a:gd name="T88" fmla="*/ 118 w 2353"/>
                      <a:gd name="T89" fmla="*/ 962 h 1231"/>
                      <a:gd name="T90" fmla="*/ 54 w 2353"/>
                      <a:gd name="T91" fmla="*/ 897 h 1231"/>
                      <a:gd name="T92" fmla="*/ 14 w 2353"/>
                      <a:gd name="T93" fmla="*/ 829 h 1231"/>
                      <a:gd name="T94" fmla="*/ 0 w 2353"/>
                      <a:gd name="T95" fmla="*/ 756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53" h="1231">
                        <a:moveTo>
                          <a:pt x="0" y="0"/>
                        </a:moveTo>
                        <a:lnTo>
                          <a:pt x="1" y="2"/>
                        </a:lnTo>
                        <a:lnTo>
                          <a:pt x="4" y="6"/>
                        </a:lnTo>
                        <a:lnTo>
                          <a:pt x="9" y="12"/>
                        </a:lnTo>
                        <a:lnTo>
                          <a:pt x="16" y="21"/>
                        </a:lnTo>
                        <a:lnTo>
                          <a:pt x="27" y="32"/>
                        </a:lnTo>
                        <a:lnTo>
                          <a:pt x="39" y="44"/>
                        </a:lnTo>
                        <a:lnTo>
                          <a:pt x="54" y="59"/>
                        </a:lnTo>
                        <a:lnTo>
                          <a:pt x="72" y="75"/>
                        </a:lnTo>
                        <a:lnTo>
                          <a:pt x="94" y="92"/>
                        </a:lnTo>
                        <a:lnTo>
                          <a:pt x="118" y="109"/>
                        </a:lnTo>
                        <a:lnTo>
                          <a:pt x="146" y="128"/>
                        </a:lnTo>
                        <a:lnTo>
                          <a:pt x="177" y="148"/>
                        </a:lnTo>
                        <a:lnTo>
                          <a:pt x="212" y="168"/>
                        </a:lnTo>
                        <a:lnTo>
                          <a:pt x="251" y="189"/>
                        </a:lnTo>
                        <a:lnTo>
                          <a:pt x="293" y="209"/>
                        </a:lnTo>
                        <a:lnTo>
                          <a:pt x="340" y="230"/>
                        </a:lnTo>
                        <a:lnTo>
                          <a:pt x="391" y="250"/>
                        </a:lnTo>
                        <a:lnTo>
                          <a:pt x="446" y="269"/>
                        </a:lnTo>
                        <a:lnTo>
                          <a:pt x="506" y="287"/>
                        </a:lnTo>
                        <a:lnTo>
                          <a:pt x="570" y="306"/>
                        </a:lnTo>
                        <a:lnTo>
                          <a:pt x="639" y="323"/>
                        </a:lnTo>
                        <a:lnTo>
                          <a:pt x="714" y="338"/>
                        </a:lnTo>
                        <a:lnTo>
                          <a:pt x="793" y="352"/>
                        </a:lnTo>
                        <a:lnTo>
                          <a:pt x="878" y="364"/>
                        </a:lnTo>
                        <a:lnTo>
                          <a:pt x="968" y="374"/>
                        </a:lnTo>
                        <a:lnTo>
                          <a:pt x="1065" y="383"/>
                        </a:lnTo>
                        <a:lnTo>
                          <a:pt x="1166" y="389"/>
                        </a:lnTo>
                        <a:lnTo>
                          <a:pt x="1177" y="389"/>
                        </a:lnTo>
                        <a:lnTo>
                          <a:pt x="1260" y="387"/>
                        </a:lnTo>
                        <a:lnTo>
                          <a:pt x="1342" y="383"/>
                        </a:lnTo>
                        <a:lnTo>
                          <a:pt x="1423" y="375"/>
                        </a:lnTo>
                        <a:lnTo>
                          <a:pt x="1501" y="365"/>
                        </a:lnTo>
                        <a:lnTo>
                          <a:pt x="1578" y="352"/>
                        </a:lnTo>
                        <a:lnTo>
                          <a:pt x="1652" y="338"/>
                        </a:lnTo>
                        <a:lnTo>
                          <a:pt x="1723" y="322"/>
                        </a:lnTo>
                        <a:lnTo>
                          <a:pt x="1792" y="304"/>
                        </a:lnTo>
                        <a:lnTo>
                          <a:pt x="1857" y="284"/>
                        </a:lnTo>
                        <a:lnTo>
                          <a:pt x="1920" y="263"/>
                        </a:lnTo>
                        <a:lnTo>
                          <a:pt x="1980" y="242"/>
                        </a:lnTo>
                        <a:lnTo>
                          <a:pt x="2035" y="220"/>
                        </a:lnTo>
                        <a:lnTo>
                          <a:pt x="2087" y="197"/>
                        </a:lnTo>
                        <a:lnTo>
                          <a:pt x="2135" y="174"/>
                        </a:lnTo>
                        <a:lnTo>
                          <a:pt x="2179" y="152"/>
                        </a:lnTo>
                        <a:lnTo>
                          <a:pt x="2218" y="129"/>
                        </a:lnTo>
                        <a:lnTo>
                          <a:pt x="2252" y="107"/>
                        </a:lnTo>
                        <a:lnTo>
                          <a:pt x="2283" y="86"/>
                        </a:lnTo>
                        <a:lnTo>
                          <a:pt x="2308" y="66"/>
                        </a:lnTo>
                        <a:lnTo>
                          <a:pt x="2328" y="48"/>
                        </a:lnTo>
                        <a:lnTo>
                          <a:pt x="2341" y="30"/>
                        </a:lnTo>
                        <a:lnTo>
                          <a:pt x="2351" y="14"/>
                        </a:lnTo>
                        <a:lnTo>
                          <a:pt x="2353" y="0"/>
                        </a:lnTo>
                        <a:lnTo>
                          <a:pt x="2353" y="756"/>
                        </a:lnTo>
                        <a:lnTo>
                          <a:pt x="2350" y="793"/>
                        </a:lnTo>
                        <a:lnTo>
                          <a:pt x="2339" y="829"/>
                        </a:lnTo>
                        <a:lnTo>
                          <a:pt x="2322" y="863"/>
                        </a:lnTo>
                        <a:lnTo>
                          <a:pt x="2298" y="898"/>
                        </a:lnTo>
                        <a:lnTo>
                          <a:pt x="2269" y="931"/>
                        </a:lnTo>
                        <a:lnTo>
                          <a:pt x="2233" y="964"/>
                        </a:lnTo>
                        <a:lnTo>
                          <a:pt x="2193" y="994"/>
                        </a:lnTo>
                        <a:lnTo>
                          <a:pt x="2145" y="1024"/>
                        </a:lnTo>
                        <a:lnTo>
                          <a:pt x="2094" y="1052"/>
                        </a:lnTo>
                        <a:lnTo>
                          <a:pt x="2038" y="1078"/>
                        </a:lnTo>
                        <a:lnTo>
                          <a:pt x="1977" y="1103"/>
                        </a:lnTo>
                        <a:lnTo>
                          <a:pt x="1912" y="1125"/>
                        </a:lnTo>
                        <a:lnTo>
                          <a:pt x="1843" y="1146"/>
                        </a:lnTo>
                        <a:lnTo>
                          <a:pt x="1769" y="1165"/>
                        </a:lnTo>
                        <a:lnTo>
                          <a:pt x="1693" y="1182"/>
                        </a:lnTo>
                        <a:lnTo>
                          <a:pt x="1613" y="1196"/>
                        </a:lnTo>
                        <a:lnTo>
                          <a:pt x="1531" y="1209"/>
                        </a:lnTo>
                        <a:lnTo>
                          <a:pt x="1446" y="1218"/>
                        </a:lnTo>
                        <a:lnTo>
                          <a:pt x="1358" y="1225"/>
                        </a:lnTo>
                        <a:lnTo>
                          <a:pt x="1268" y="1230"/>
                        </a:lnTo>
                        <a:lnTo>
                          <a:pt x="1177" y="1231"/>
                        </a:lnTo>
                        <a:lnTo>
                          <a:pt x="1166" y="1231"/>
                        </a:lnTo>
                        <a:lnTo>
                          <a:pt x="1074" y="1228"/>
                        </a:lnTo>
                        <a:lnTo>
                          <a:pt x="985" y="1223"/>
                        </a:lnTo>
                        <a:lnTo>
                          <a:pt x="897" y="1215"/>
                        </a:lnTo>
                        <a:lnTo>
                          <a:pt x="812" y="1205"/>
                        </a:lnTo>
                        <a:lnTo>
                          <a:pt x="731" y="1192"/>
                        </a:lnTo>
                        <a:lnTo>
                          <a:pt x="651" y="1178"/>
                        </a:lnTo>
                        <a:lnTo>
                          <a:pt x="576" y="1161"/>
                        </a:lnTo>
                        <a:lnTo>
                          <a:pt x="503" y="1142"/>
                        </a:lnTo>
                        <a:lnTo>
                          <a:pt x="435" y="1121"/>
                        </a:lnTo>
                        <a:lnTo>
                          <a:pt x="370" y="1099"/>
                        </a:lnTo>
                        <a:lnTo>
                          <a:pt x="311" y="1074"/>
                        </a:lnTo>
                        <a:lnTo>
                          <a:pt x="255" y="1049"/>
                        </a:lnTo>
                        <a:lnTo>
                          <a:pt x="204" y="1020"/>
                        </a:lnTo>
                        <a:lnTo>
                          <a:pt x="159" y="992"/>
                        </a:lnTo>
                        <a:lnTo>
                          <a:pt x="118" y="962"/>
                        </a:lnTo>
                        <a:lnTo>
                          <a:pt x="83" y="930"/>
                        </a:lnTo>
                        <a:lnTo>
                          <a:pt x="54" y="897"/>
                        </a:lnTo>
                        <a:lnTo>
                          <a:pt x="31" y="863"/>
                        </a:lnTo>
                        <a:lnTo>
                          <a:pt x="14" y="829"/>
                        </a:lnTo>
                        <a:lnTo>
                          <a:pt x="4" y="792"/>
                        </a:lnTo>
                        <a:lnTo>
                          <a:pt x="0" y="756"/>
                        </a:lnTo>
                        <a:lnTo>
                          <a:pt x="0" y="0"/>
                        </a:lnTo>
                        <a:close/>
                      </a:path>
                    </a:pathLst>
                  </a:custGeom>
                  <a:solidFill>
                    <a:srgbClr val="3898C5"/>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39" name="Freeform 17"/>
                  <p:cNvSpPr>
                    <a:spLocks/>
                  </p:cNvSpPr>
                  <p:nvPr/>
                </p:nvSpPr>
                <p:spPr bwMode="auto">
                  <a:xfrm>
                    <a:off x="2437714" y="5223793"/>
                    <a:ext cx="223873" cy="285965"/>
                  </a:xfrm>
                  <a:custGeom>
                    <a:avLst/>
                    <a:gdLst>
                      <a:gd name="T0" fmla="*/ 1187 w 1187"/>
                      <a:gd name="T1" fmla="*/ 0 h 1231"/>
                      <a:gd name="T2" fmla="*/ 1187 w 1187"/>
                      <a:gd name="T3" fmla="*/ 756 h 1231"/>
                      <a:gd name="T4" fmla="*/ 1184 w 1187"/>
                      <a:gd name="T5" fmla="*/ 793 h 1231"/>
                      <a:gd name="T6" fmla="*/ 1173 w 1187"/>
                      <a:gd name="T7" fmla="*/ 829 h 1231"/>
                      <a:gd name="T8" fmla="*/ 1156 w 1187"/>
                      <a:gd name="T9" fmla="*/ 863 h 1231"/>
                      <a:gd name="T10" fmla="*/ 1132 w 1187"/>
                      <a:gd name="T11" fmla="*/ 898 h 1231"/>
                      <a:gd name="T12" fmla="*/ 1103 w 1187"/>
                      <a:gd name="T13" fmla="*/ 931 h 1231"/>
                      <a:gd name="T14" fmla="*/ 1067 w 1187"/>
                      <a:gd name="T15" fmla="*/ 964 h 1231"/>
                      <a:gd name="T16" fmla="*/ 1027 w 1187"/>
                      <a:gd name="T17" fmla="*/ 994 h 1231"/>
                      <a:gd name="T18" fmla="*/ 979 w 1187"/>
                      <a:gd name="T19" fmla="*/ 1024 h 1231"/>
                      <a:gd name="T20" fmla="*/ 928 w 1187"/>
                      <a:gd name="T21" fmla="*/ 1052 h 1231"/>
                      <a:gd name="T22" fmla="*/ 872 w 1187"/>
                      <a:gd name="T23" fmla="*/ 1078 h 1231"/>
                      <a:gd name="T24" fmla="*/ 811 w 1187"/>
                      <a:gd name="T25" fmla="*/ 1103 h 1231"/>
                      <a:gd name="T26" fmla="*/ 746 w 1187"/>
                      <a:gd name="T27" fmla="*/ 1125 h 1231"/>
                      <a:gd name="T28" fmla="*/ 677 w 1187"/>
                      <a:gd name="T29" fmla="*/ 1146 h 1231"/>
                      <a:gd name="T30" fmla="*/ 603 w 1187"/>
                      <a:gd name="T31" fmla="*/ 1165 h 1231"/>
                      <a:gd name="T32" fmla="*/ 527 w 1187"/>
                      <a:gd name="T33" fmla="*/ 1182 h 1231"/>
                      <a:gd name="T34" fmla="*/ 447 w 1187"/>
                      <a:gd name="T35" fmla="*/ 1196 h 1231"/>
                      <a:gd name="T36" fmla="*/ 365 w 1187"/>
                      <a:gd name="T37" fmla="*/ 1209 h 1231"/>
                      <a:gd name="T38" fmla="*/ 280 w 1187"/>
                      <a:gd name="T39" fmla="*/ 1218 h 1231"/>
                      <a:gd name="T40" fmla="*/ 192 w 1187"/>
                      <a:gd name="T41" fmla="*/ 1225 h 1231"/>
                      <a:gd name="T42" fmla="*/ 102 w 1187"/>
                      <a:gd name="T43" fmla="*/ 1230 h 1231"/>
                      <a:gd name="T44" fmla="*/ 11 w 1187"/>
                      <a:gd name="T45" fmla="*/ 1231 h 1231"/>
                      <a:gd name="T46" fmla="*/ 0 w 1187"/>
                      <a:gd name="T47" fmla="*/ 1231 h 1231"/>
                      <a:gd name="T48" fmla="*/ 0 w 1187"/>
                      <a:gd name="T49" fmla="*/ 389 h 1231"/>
                      <a:gd name="T50" fmla="*/ 11 w 1187"/>
                      <a:gd name="T51" fmla="*/ 389 h 1231"/>
                      <a:gd name="T52" fmla="*/ 94 w 1187"/>
                      <a:gd name="T53" fmla="*/ 387 h 1231"/>
                      <a:gd name="T54" fmla="*/ 176 w 1187"/>
                      <a:gd name="T55" fmla="*/ 383 h 1231"/>
                      <a:gd name="T56" fmla="*/ 257 w 1187"/>
                      <a:gd name="T57" fmla="*/ 375 h 1231"/>
                      <a:gd name="T58" fmla="*/ 335 w 1187"/>
                      <a:gd name="T59" fmla="*/ 365 h 1231"/>
                      <a:gd name="T60" fmla="*/ 412 w 1187"/>
                      <a:gd name="T61" fmla="*/ 352 h 1231"/>
                      <a:gd name="T62" fmla="*/ 486 w 1187"/>
                      <a:gd name="T63" fmla="*/ 338 h 1231"/>
                      <a:gd name="T64" fmla="*/ 557 w 1187"/>
                      <a:gd name="T65" fmla="*/ 322 h 1231"/>
                      <a:gd name="T66" fmla="*/ 626 w 1187"/>
                      <a:gd name="T67" fmla="*/ 304 h 1231"/>
                      <a:gd name="T68" fmla="*/ 691 w 1187"/>
                      <a:gd name="T69" fmla="*/ 284 h 1231"/>
                      <a:gd name="T70" fmla="*/ 754 w 1187"/>
                      <a:gd name="T71" fmla="*/ 263 h 1231"/>
                      <a:gd name="T72" fmla="*/ 814 w 1187"/>
                      <a:gd name="T73" fmla="*/ 242 h 1231"/>
                      <a:gd name="T74" fmla="*/ 869 w 1187"/>
                      <a:gd name="T75" fmla="*/ 220 h 1231"/>
                      <a:gd name="T76" fmla="*/ 921 w 1187"/>
                      <a:gd name="T77" fmla="*/ 197 h 1231"/>
                      <a:gd name="T78" fmla="*/ 969 w 1187"/>
                      <a:gd name="T79" fmla="*/ 174 h 1231"/>
                      <a:gd name="T80" fmla="*/ 1013 w 1187"/>
                      <a:gd name="T81" fmla="*/ 152 h 1231"/>
                      <a:gd name="T82" fmla="*/ 1052 w 1187"/>
                      <a:gd name="T83" fmla="*/ 129 h 1231"/>
                      <a:gd name="T84" fmla="*/ 1086 w 1187"/>
                      <a:gd name="T85" fmla="*/ 107 h 1231"/>
                      <a:gd name="T86" fmla="*/ 1117 w 1187"/>
                      <a:gd name="T87" fmla="*/ 86 h 1231"/>
                      <a:gd name="T88" fmla="*/ 1142 w 1187"/>
                      <a:gd name="T89" fmla="*/ 66 h 1231"/>
                      <a:gd name="T90" fmla="*/ 1162 w 1187"/>
                      <a:gd name="T91" fmla="*/ 48 h 1231"/>
                      <a:gd name="T92" fmla="*/ 1175 w 1187"/>
                      <a:gd name="T93" fmla="*/ 30 h 1231"/>
                      <a:gd name="T94" fmla="*/ 1185 w 1187"/>
                      <a:gd name="T95" fmla="*/ 14 h 1231"/>
                      <a:gd name="T96" fmla="*/ 1187 w 1187"/>
                      <a:gd name="T97" fmla="*/ 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7" h="1231">
                        <a:moveTo>
                          <a:pt x="1187" y="0"/>
                        </a:moveTo>
                        <a:lnTo>
                          <a:pt x="1187" y="756"/>
                        </a:lnTo>
                        <a:lnTo>
                          <a:pt x="1184" y="793"/>
                        </a:lnTo>
                        <a:lnTo>
                          <a:pt x="1173" y="829"/>
                        </a:lnTo>
                        <a:lnTo>
                          <a:pt x="1156" y="863"/>
                        </a:lnTo>
                        <a:lnTo>
                          <a:pt x="1132" y="898"/>
                        </a:lnTo>
                        <a:lnTo>
                          <a:pt x="1103" y="931"/>
                        </a:lnTo>
                        <a:lnTo>
                          <a:pt x="1067" y="964"/>
                        </a:lnTo>
                        <a:lnTo>
                          <a:pt x="1027" y="994"/>
                        </a:lnTo>
                        <a:lnTo>
                          <a:pt x="979" y="1024"/>
                        </a:lnTo>
                        <a:lnTo>
                          <a:pt x="928" y="1052"/>
                        </a:lnTo>
                        <a:lnTo>
                          <a:pt x="872" y="1078"/>
                        </a:lnTo>
                        <a:lnTo>
                          <a:pt x="811" y="1103"/>
                        </a:lnTo>
                        <a:lnTo>
                          <a:pt x="746" y="1125"/>
                        </a:lnTo>
                        <a:lnTo>
                          <a:pt x="677" y="1146"/>
                        </a:lnTo>
                        <a:lnTo>
                          <a:pt x="603" y="1165"/>
                        </a:lnTo>
                        <a:lnTo>
                          <a:pt x="527" y="1182"/>
                        </a:lnTo>
                        <a:lnTo>
                          <a:pt x="447" y="1196"/>
                        </a:lnTo>
                        <a:lnTo>
                          <a:pt x="365" y="1209"/>
                        </a:lnTo>
                        <a:lnTo>
                          <a:pt x="280" y="1218"/>
                        </a:lnTo>
                        <a:lnTo>
                          <a:pt x="192" y="1225"/>
                        </a:lnTo>
                        <a:lnTo>
                          <a:pt x="102" y="1230"/>
                        </a:lnTo>
                        <a:lnTo>
                          <a:pt x="11" y="1231"/>
                        </a:lnTo>
                        <a:lnTo>
                          <a:pt x="0" y="1231"/>
                        </a:lnTo>
                        <a:lnTo>
                          <a:pt x="0" y="389"/>
                        </a:lnTo>
                        <a:lnTo>
                          <a:pt x="11" y="389"/>
                        </a:lnTo>
                        <a:lnTo>
                          <a:pt x="94" y="387"/>
                        </a:lnTo>
                        <a:lnTo>
                          <a:pt x="176" y="383"/>
                        </a:lnTo>
                        <a:lnTo>
                          <a:pt x="257" y="375"/>
                        </a:lnTo>
                        <a:lnTo>
                          <a:pt x="335" y="365"/>
                        </a:lnTo>
                        <a:lnTo>
                          <a:pt x="412" y="352"/>
                        </a:lnTo>
                        <a:lnTo>
                          <a:pt x="486" y="338"/>
                        </a:lnTo>
                        <a:lnTo>
                          <a:pt x="557" y="322"/>
                        </a:lnTo>
                        <a:lnTo>
                          <a:pt x="626" y="304"/>
                        </a:lnTo>
                        <a:lnTo>
                          <a:pt x="691" y="284"/>
                        </a:lnTo>
                        <a:lnTo>
                          <a:pt x="754" y="263"/>
                        </a:lnTo>
                        <a:lnTo>
                          <a:pt x="814" y="242"/>
                        </a:lnTo>
                        <a:lnTo>
                          <a:pt x="869" y="220"/>
                        </a:lnTo>
                        <a:lnTo>
                          <a:pt x="921" y="197"/>
                        </a:lnTo>
                        <a:lnTo>
                          <a:pt x="969" y="174"/>
                        </a:lnTo>
                        <a:lnTo>
                          <a:pt x="1013" y="152"/>
                        </a:lnTo>
                        <a:lnTo>
                          <a:pt x="1052" y="129"/>
                        </a:lnTo>
                        <a:lnTo>
                          <a:pt x="1086" y="107"/>
                        </a:lnTo>
                        <a:lnTo>
                          <a:pt x="1117" y="86"/>
                        </a:lnTo>
                        <a:lnTo>
                          <a:pt x="1142" y="66"/>
                        </a:lnTo>
                        <a:lnTo>
                          <a:pt x="1162" y="48"/>
                        </a:lnTo>
                        <a:lnTo>
                          <a:pt x="1175" y="30"/>
                        </a:lnTo>
                        <a:lnTo>
                          <a:pt x="1185" y="14"/>
                        </a:lnTo>
                        <a:lnTo>
                          <a:pt x="1187" y="0"/>
                        </a:lnTo>
                        <a:close/>
                      </a:path>
                    </a:pathLst>
                  </a:custGeom>
                  <a:solidFill>
                    <a:srgbClr val="59B3D8"/>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40" name="Freeform 6"/>
                  <p:cNvSpPr>
                    <a:spLocks/>
                  </p:cNvSpPr>
                  <p:nvPr/>
                </p:nvSpPr>
                <p:spPr bwMode="auto">
                  <a:xfrm>
                    <a:off x="2211372" y="5119908"/>
                    <a:ext cx="446036" cy="20017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41" name="Freeform 7"/>
                  <p:cNvSpPr>
                    <a:spLocks/>
                  </p:cNvSpPr>
                  <p:nvPr/>
                </p:nvSpPr>
                <p:spPr bwMode="auto">
                  <a:xfrm>
                    <a:off x="2198554" y="5055824"/>
                    <a:ext cx="471670" cy="238304"/>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rgbClr val="7FBA4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42" name="Freeform 8"/>
                  <p:cNvSpPr>
                    <a:spLocks/>
                  </p:cNvSpPr>
                  <p:nvPr/>
                </p:nvSpPr>
                <p:spPr bwMode="auto">
                  <a:xfrm>
                    <a:off x="2199408" y="5040064"/>
                    <a:ext cx="469961" cy="183017"/>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43" name="Freeform 9"/>
                  <p:cNvSpPr>
                    <a:spLocks/>
                  </p:cNvSpPr>
                  <p:nvPr/>
                </p:nvSpPr>
                <p:spPr bwMode="auto">
                  <a:xfrm>
                    <a:off x="2201117" y="4964567"/>
                    <a:ext cx="466544" cy="234491"/>
                  </a:xfrm>
                  <a:custGeom>
                    <a:avLst/>
                    <a:gdLst>
                      <a:gd name="T0" fmla="*/ 130 w 2461"/>
                      <a:gd name="T1" fmla="*/ 0 h 1113"/>
                      <a:gd name="T2" fmla="*/ 1241 w 2461"/>
                      <a:gd name="T3" fmla="*/ 98 h 1113"/>
                      <a:gd name="T4" fmla="*/ 1231 w 2461"/>
                      <a:gd name="T5" fmla="*/ 454 h 1113"/>
                      <a:gd name="T6" fmla="*/ 1241 w 2461"/>
                      <a:gd name="T7" fmla="*/ 238 h 1113"/>
                      <a:gd name="T8" fmla="*/ 2364 w 2461"/>
                      <a:gd name="T9" fmla="*/ 173 h 1113"/>
                      <a:gd name="T10" fmla="*/ 2364 w 2461"/>
                      <a:gd name="T11" fmla="*/ 346 h 1113"/>
                      <a:gd name="T12" fmla="*/ 2461 w 2461"/>
                      <a:gd name="T13" fmla="*/ 605 h 1113"/>
                      <a:gd name="T14" fmla="*/ 2343 w 2461"/>
                      <a:gd name="T15" fmla="*/ 810 h 1113"/>
                      <a:gd name="T16" fmla="*/ 2341 w 2461"/>
                      <a:gd name="T17" fmla="*/ 812 h 1113"/>
                      <a:gd name="T18" fmla="*/ 2335 w 2461"/>
                      <a:gd name="T19" fmla="*/ 816 h 1113"/>
                      <a:gd name="T20" fmla="*/ 2325 w 2461"/>
                      <a:gd name="T21" fmla="*/ 824 h 1113"/>
                      <a:gd name="T22" fmla="*/ 2313 w 2461"/>
                      <a:gd name="T23" fmla="*/ 833 h 1113"/>
                      <a:gd name="T24" fmla="*/ 2296 w 2461"/>
                      <a:gd name="T25" fmla="*/ 846 h 1113"/>
                      <a:gd name="T26" fmla="*/ 2275 w 2461"/>
                      <a:gd name="T27" fmla="*/ 859 h 1113"/>
                      <a:gd name="T28" fmla="*/ 2250 w 2461"/>
                      <a:gd name="T29" fmla="*/ 875 h 1113"/>
                      <a:gd name="T30" fmla="*/ 2221 w 2461"/>
                      <a:gd name="T31" fmla="*/ 891 h 1113"/>
                      <a:gd name="T32" fmla="*/ 2189 w 2461"/>
                      <a:gd name="T33" fmla="*/ 908 h 1113"/>
                      <a:gd name="T34" fmla="*/ 2152 w 2461"/>
                      <a:gd name="T35" fmla="*/ 927 h 1113"/>
                      <a:gd name="T36" fmla="*/ 2111 w 2461"/>
                      <a:gd name="T37" fmla="*/ 946 h 1113"/>
                      <a:gd name="T38" fmla="*/ 2067 w 2461"/>
                      <a:gd name="T39" fmla="*/ 965 h 1113"/>
                      <a:gd name="T40" fmla="*/ 2018 w 2461"/>
                      <a:gd name="T41" fmla="*/ 985 h 1113"/>
                      <a:gd name="T42" fmla="*/ 1966 w 2461"/>
                      <a:gd name="T43" fmla="*/ 1004 h 1113"/>
                      <a:gd name="T44" fmla="*/ 1909 w 2461"/>
                      <a:gd name="T45" fmla="*/ 1021 h 1113"/>
                      <a:gd name="T46" fmla="*/ 1849 w 2461"/>
                      <a:gd name="T47" fmla="*/ 1039 h 1113"/>
                      <a:gd name="T48" fmla="*/ 1784 w 2461"/>
                      <a:gd name="T49" fmla="*/ 1055 h 1113"/>
                      <a:gd name="T50" fmla="*/ 1713 w 2461"/>
                      <a:gd name="T51" fmla="*/ 1070 h 1113"/>
                      <a:gd name="T52" fmla="*/ 1640 w 2461"/>
                      <a:gd name="T53" fmla="*/ 1083 h 1113"/>
                      <a:gd name="T54" fmla="*/ 1563 w 2461"/>
                      <a:gd name="T55" fmla="*/ 1094 h 1113"/>
                      <a:gd name="T56" fmla="*/ 1481 w 2461"/>
                      <a:gd name="T57" fmla="*/ 1102 h 1113"/>
                      <a:gd name="T58" fmla="*/ 1394 w 2461"/>
                      <a:gd name="T59" fmla="*/ 1108 h 1113"/>
                      <a:gd name="T60" fmla="*/ 1304 w 2461"/>
                      <a:gd name="T61" fmla="*/ 1113 h 1113"/>
                      <a:gd name="T62" fmla="*/ 1209 w 2461"/>
                      <a:gd name="T63" fmla="*/ 1113 h 1113"/>
                      <a:gd name="T64" fmla="*/ 1115 w 2461"/>
                      <a:gd name="T65" fmla="*/ 1109 h 1113"/>
                      <a:gd name="T66" fmla="*/ 1026 w 2461"/>
                      <a:gd name="T67" fmla="*/ 1103 h 1113"/>
                      <a:gd name="T68" fmla="*/ 942 w 2461"/>
                      <a:gd name="T69" fmla="*/ 1095 h 1113"/>
                      <a:gd name="T70" fmla="*/ 861 w 2461"/>
                      <a:gd name="T71" fmla="*/ 1083 h 1113"/>
                      <a:gd name="T72" fmla="*/ 786 w 2461"/>
                      <a:gd name="T73" fmla="*/ 1070 h 1113"/>
                      <a:gd name="T74" fmla="*/ 713 w 2461"/>
                      <a:gd name="T75" fmla="*/ 1054 h 1113"/>
                      <a:gd name="T76" fmla="*/ 646 w 2461"/>
                      <a:gd name="T77" fmla="*/ 1037 h 1113"/>
                      <a:gd name="T78" fmla="*/ 582 w 2461"/>
                      <a:gd name="T79" fmla="*/ 1018 h 1113"/>
                      <a:gd name="T80" fmla="*/ 524 w 2461"/>
                      <a:gd name="T81" fmla="*/ 998 h 1113"/>
                      <a:gd name="T82" fmla="*/ 469 w 2461"/>
                      <a:gd name="T83" fmla="*/ 977 h 1113"/>
                      <a:gd name="T84" fmla="*/ 418 w 2461"/>
                      <a:gd name="T85" fmla="*/ 957 h 1113"/>
                      <a:gd name="T86" fmla="*/ 371 w 2461"/>
                      <a:gd name="T87" fmla="*/ 936 h 1113"/>
                      <a:gd name="T88" fmla="*/ 328 w 2461"/>
                      <a:gd name="T89" fmla="*/ 915 h 1113"/>
                      <a:gd name="T90" fmla="*/ 289 w 2461"/>
                      <a:gd name="T91" fmla="*/ 894 h 1113"/>
                      <a:gd name="T92" fmla="*/ 255 w 2461"/>
                      <a:gd name="T93" fmla="*/ 874 h 1113"/>
                      <a:gd name="T94" fmla="*/ 223 w 2461"/>
                      <a:gd name="T95" fmla="*/ 854 h 1113"/>
                      <a:gd name="T96" fmla="*/ 196 w 2461"/>
                      <a:gd name="T97" fmla="*/ 836 h 1113"/>
                      <a:gd name="T98" fmla="*/ 172 w 2461"/>
                      <a:gd name="T99" fmla="*/ 819 h 1113"/>
                      <a:gd name="T100" fmla="*/ 152 w 2461"/>
                      <a:gd name="T101" fmla="*/ 805 h 1113"/>
                      <a:gd name="T102" fmla="*/ 136 w 2461"/>
                      <a:gd name="T103" fmla="*/ 792 h 1113"/>
                      <a:gd name="T104" fmla="*/ 124 w 2461"/>
                      <a:gd name="T105" fmla="*/ 782 h 1113"/>
                      <a:gd name="T106" fmla="*/ 115 w 2461"/>
                      <a:gd name="T107" fmla="*/ 773 h 1113"/>
                      <a:gd name="T108" fmla="*/ 110 w 2461"/>
                      <a:gd name="T109" fmla="*/ 769 h 1113"/>
                      <a:gd name="T110" fmla="*/ 108 w 2461"/>
                      <a:gd name="T111" fmla="*/ 767 h 1113"/>
                      <a:gd name="T112" fmla="*/ 0 w 2461"/>
                      <a:gd name="T113" fmla="*/ 529 h 1113"/>
                      <a:gd name="T114" fmla="*/ 118 w 2461"/>
                      <a:gd name="T115" fmla="*/ 281 h 1113"/>
                      <a:gd name="T116" fmla="*/ 130 w 2461"/>
                      <a:gd name="T117" fmla="*/ 0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61" h="1113">
                        <a:moveTo>
                          <a:pt x="130" y="0"/>
                        </a:moveTo>
                        <a:lnTo>
                          <a:pt x="1241" y="98"/>
                        </a:lnTo>
                        <a:lnTo>
                          <a:pt x="1231" y="454"/>
                        </a:lnTo>
                        <a:lnTo>
                          <a:pt x="1241" y="238"/>
                        </a:lnTo>
                        <a:lnTo>
                          <a:pt x="2364" y="173"/>
                        </a:lnTo>
                        <a:lnTo>
                          <a:pt x="2364" y="346"/>
                        </a:lnTo>
                        <a:lnTo>
                          <a:pt x="2461" y="605"/>
                        </a:lnTo>
                        <a:lnTo>
                          <a:pt x="2343" y="810"/>
                        </a:lnTo>
                        <a:lnTo>
                          <a:pt x="2341" y="812"/>
                        </a:lnTo>
                        <a:lnTo>
                          <a:pt x="2335" y="816"/>
                        </a:lnTo>
                        <a:lnTo>
                          <a:pt x="2325" y="824"/>
                        </a:lnTo>
                        <a:lnTo>
                          <a:pt x="2313" y="833"/>
                        </a:lnTo>
                        <a:lnTo>
                          <a:pt x="2296" y="846"/>
                        </a:lnTo>
                        <a:lnTo>
                          <a:pt x="2275" y="859"/>
                        </a:lnTo>
                        <a:lnTo>
                          <a:pt x="2250" y="875"/>
                        </a:lnTo>
                        <a:lnTo>
                          <a:pt x="2221" y="891"/>
                        </a:lnTo>
                        <a:lnTo>
                          <a:pt x="2189" y="908"/>
                        </a:lnTo>
                        <a:lnTo>
                          <a:pt x="2152" y="927"/>
                        </a:lnTo>
                        <a:lnTo>
                          <a:pt x="2111" y="946"/>
                        </a:lnTo>
                        <a:lnTo>
                          <a:pt x="2067" y="965"/>
                        </a:lnTo>
                        <a:lnTo>
                          <a:pt x="2018" y="985"/>
                        </a:lnTo>
                        <a:lnTo>
                          <a:pt x="1966" y="1004"/>
                        </a:lnTo>
                        <a:lnTo>
                          <a:pt x="1909" y="1021"/>
                        </a:lnTo>
                        <a:lnTo>
                          <a:pt x="1849" y="1039"/>
                        </a:lnTo>
                        <a:lnTo>
                          <a:pt x="1784" y="1055"/>
                        </a:lnTo>
                        <a:lnTo>
                          <a:pt x="1713" y="1070"/>
                        </a:lnTo>
                        <a:lnTo>
                          <a:pt x="1640" y="1083"/>
                        </a:lnTo>
                        <a:lnTo>
                          <a:pt x="1563" y="1094"/>
                        </a:lnTo>
                        <a:lnTo>
                          <a:pt x="1481" y="1102"/>
                        </a:lnTo>
                        <a:lnTo>
                          <a:pt x="1394" y="1108"/>
                        </a:lnTo>
                        <a:lnTo>
                          <a:pt x="1304" y="1113"/>
                        </a:lnTo>
                        <a:lnTo>
                          <a:pt x="1209" y="1113"/>
                        </a:lnTo>
                        <a:lnTo>
                          <a:pt x="1115" y="1109"/>
                        </a:lnTo>
                        <a:lnTo>
                          <a:pt x="1026" y="1103"/>
                        </a:lnTo>
                        <a:lnTo>
                          <a:pt x="942" y="1095"/>
                        </a:lnTo>
                        <a:lnTo>
                          <a:pt x="861" y="1083"/>
                        </a:lnTo>
                        <a:lnTo>
                          <a:pt x="786" y="1070"/>
                        </a:lnTo>
                        <a:lnTo>
                          <a:pt x="713" y="1054"/>
                        </a:lnTo>
                        <a:lnTo>
                          <a:pt x="646" y="1037"/>
                        </a:lnTo>
                        <a:lnTo>
                          <a:pt x="582" y="1018"/>
                        </a:lnTo>
                        <a:lnTo>
                          <a:pt x="524" y="998"/>
                        </a:lnTo>
                        <a:lnTo>
                          <a:pt x="469" y="977"/>
                        </a:lnTo>
                        <a:lnTo>
                          <a:pt x="418" y="957"/>
                        </a:lnTo>
                        <a:lnTo>
                          <a:pt x="371" y="936"/>
                        </a:lnTo>
                        <a:lnTo>
                          <a:pt x="328" y="915"/>
                        </a:lnTo>
                        <a:lnTo>
                          <a:pt x="289" y="894"/>
                        </a:lnTo>
                        <a:lnTo>
                          <a:pt x="255" y="874"/>
                        </a:lnTo>
                        <a:lnTo>
                          <a:pt x="223" y="854"/>
                        </a:lnTo>
                        <a:lnTo>
                          <a:pt x="196" y="836"/>
                        </a:lnTo>
                        <a:lnTo>
                          <a:pt x="172" y="819"/>
                        </a:lnTo>
                        <a:lnTo>
                          <a:pt x="152" y="805"/>
                        </a:lnTo>
                        <a:lnTo>
                          <a:pt x="136" y="792"/>
                        </a:lnTo>
                        <a:lnTo>
                          <a:pt x="124" y="782"/>
                        </a:lnTo>
                        <a:lnTo>
                          <a:pt x="115" y="773"/>
                        </a:lnTo>
                        <a:lnTo>
                          <a:pt x="110" y="769"/>
                        </a:lnTo>
                        <a:lnTo>
                          <a:pt x="108" y="767"/>
                        </a:lnTo>
                        <a:lnTo>
                          <a:pt x="0" y="529"/>
                        </a:lnTo>
                        <a:lnTo>
                          <a:pt x="118" y="281"/>
                        </a:lnTo>
                        <a:lnTo>
                          <a:pt x="130" y="0"/>
                        </a:lnTo>
                        <a:close/>
                      </a:path>
                    </a:pathLst>
                  </a:custGeom>
                  <a:solidFill>
                    <a:srgbClr val="7FBA4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44" name="Freeform 10"/>
                  <p:cNvSpPr>
                    <a:spLocks/>
                  </p:cNvSpPr>
                  <p:nvPr/>
                </p:nvSpPr>
                <p:spPr bwMode="auto">
                  <a:xfrm>
                    <a:off x="2199408" y="4946650"/>
                    <a:ext cx="469961" cy="186830"/>
                  </a:xfrm>
                  <a:custGeom>
                    <a:avLst/>
                    <a:gdLst>
                      <a:gd name="T0" fmla="*/ 130 w 2472"/>
                      <a:gd name="T1" fmla="*/ 0 h 885"/>
                      <a:gd name="T2" fmla="*/ 1241 w 2472"/>
                      <a:gd name="T3" fmla="*/ 98 h 885"/>
                      <a:gd name="T4" fmla="*/ 1231 w 2472"/>
                      <a:gd name="T5" fmla="*/ 454 h 885"/>
                      <a:gd name="T6" fmla="*/ 1241 w 2472"/>
                      <a:gd name="T7" fmla="*/ 238 h 885"/>
                      <a:gd name="T8" fmla="*/ 2364 w 2472"/>
                      <a:gd name="T9" fmla="*/ 173 h 885"/>
                      <a:gd name="T10" fmla="*/ 2364 w 2472"/>
                      <a:gd name="T11" fmla="*/ 346 h 885"/>
                      <a:gd name="T12" fmla="*/ 2472 w 2472"/>
                      <a:gd name="T13" fmla="*/ 605 h 885"/>
                      <a:gd name="T14" fmla="*/ 2470 w 2472"/>
                      <a:gd name="T15" fmla="*/ 607 h 885"/>
                      <a:gd name="T16" fmla="*/ 2462 w 2472"/>
                      <a:gd name="T17" fmla="*/ 611 h 885"/>
                      <a:gd name="T18" fmla="*/ 2450 w 2472"/>
                      <a:gd name="T19" fmla="*/ 617 h 885"/>
                      <a:gd name="T20" fmla="*/ 2433 w 2472"/>
                      <a:gd name="T21" fmla="*/ 627 h 885"/>
                      <a:gd name="T22" fmla="*/ 2412 w 2472"/>
                      <a:gd name="T23" fmla="*/ 638 h 885"/>
                      <a:gd name="T24" fmla="*/ 2386 w 2472"/>
                      <a:gd name="T25" fmla="*/ 651 h 885"/>
                      <a:gd name="T26" fmla="*/ 2355 w 2472"/>
                      <a:gd name="T27" fmla="*/ 664 h 885"/>
                      <a:gd name="T28" fmla="*/ 2320 w 2472"/>
                      <a:gd name="T29" fmla="*/ 680 h 885"/>
                      <a:gd name="T30" fmla="*/ 2281 w 2472"/>
                      <a:gd name="T31" fmla="*/ 697 h 885"/>
                      <a:gd name="T32" fmla="*/ 2237 w 2472"/>
                      <a:gd name="T33" fmla="*/ 714 h 885"/>
                      <a:gd name="T34" fmla="*/ 2189 w 2472"/>
                      <a:gd name="T35" fmla="*/ 731 h 885"/>
                      <a:gd name="T36" fmla="*/ 2138 w 2472"/>
                      <a:gd name="T37" fmla="*/ 749 h 885"/>
                      <a:gd name="T38" fmla="*/ 2081 w 2472"/>
                      <a:gd name="T39" fmla="*/ 767 h 885"/>
                      <a:gd name="T40" fmla="*/ 2021 w 2472"/>
                      <a:gd name="T41" fmla="*/ 785 h 885"/>
                      <a:gd name="T42" fmla="*/ 1957 w 2472"/>
                      <a:gd name="T43" fmla="*/ 802 h 885"/>
                      <a:gd name="T44" fmla="*/ 1889 w 2472"/>
                      <a:gd name="T45" fmla="*/ 818 h 885"/>
                      <a:gd name="T46" fmla="*/ 1818 w 2472"/>
                      <a:gd name="T47" fmla="*/ 833 h 885"/>
                      <a:gd name="T48" fmla="*/ 1744 w 2472"/>
                      <a:gd name="T49" fmla="*/ 847 h 885"/>
                      <a:gd name="T50" fmla="*/ 1664 w 2472"/>
                      <a:gd name="T51" fmla="*/ 858 h 885"/>
                      <a:gd name="T52" fmla="*/ 1583 w 2472"/>
                      <a:gd name="T53" fmla="*/ 869 h 885"/>
                      <a:gd name="T54" fmla="*/ 1497 w 2472"/>
                      <a:gd name="T55" fmla="*/ 877 h 885"/>
                      <a:gd name="T56" fmla="*/ 1408 w 2472"/>
                      <a:gd name="T57" fmla="*/ 882 h 885"/>
                      <a:gd name="T58" fmla="*/ 1316 w 2472"/>
                      <a:gd name="T59" fmla="*/ 885 h 885"/>
                      <a:gd name="T60" fmla="*/ 1220 w 2472"/>
                      <a:gd name="T61" fmla="*/ 885 h 885"/>
                      <a:gd name="T62" fmla="*/ 1124 w 2472"/>
                      <a:gd name="T63" fmla="*/ 883 h 885"/>
                      <a:gd name="T64" fmla="*/ 1033 w 2472"/>
                      <a:gd name="T65" fmla="*/ 877 h 885"/>
                      <a:gd name="T66" fmla="*/ 944 w 2472"/>
                      <a:gd name="T67" fmla="*/ 868 h 885"/>
                      <a:gd name="T68" fmla="*/ 860 w 2472"/>
                      <a:gd name="T69" fmla="*/ 856 h 885"/>
                      <a:gd name="T70" fmla="*/ 778 w 2472"/>
                      <a:gd name="T71" fmla="*/ 841 h 885"/>
                      <a:gd name="T72" fmla="*/ 702 w 2472"/>
                      <a:gd name="T73" fmla="*/ 826 h 885"/>
                      <a:gd name="T74" fmla="*/ 627 w 2472"/>
                      <a:gd name="T75" fmla="*/ 808 h 885"/>
                      <a:gd name="T76" fmla="*/ 558 w 2472"/>
                      <a:gd name="T77" fmla="*/ 789 h 885"/>
                      <a:gd name="T78" fmla="*/ 492 w 2472"/>
                      <a:gd name="T79" fmla="*/ 768 h 885"/>
                      <a:gd name="T80" fmla="*/ 431 w 2472"/>
                      <a:gd name="T81" fmla="*/ 747 h 885"/>
                      <a:gd name="T82" fmla="*/ 372 w 2472"/>
                      <a:gd name="T83" fmla="*/ 725 h 885"/>
                      <a:gd name="T84" fmla="*/ 319 w 2472"/>
                      <a:gd name="T85" fmla="*/ 703 h 885"/>
                      <a:gd name="T86" fmla="*/ 268 w 2472"/>
                      <a:gd name="T87" fmla="*/ 682 h 885"/>
                      <a:gd name="T88" fmla="*/ 222 w 2472"/>
                      <a:gd name="T89" fmla="*/ 660 h 885"/>
                      <a:gd name="T90" fmla="*/ 181 w 2472"/>
                      <a:gd name="T91" fmla="*/ 639 h 885"/>
                      <a:gd name="T92" fmla="*/ 144 w 2472"/>
                      <a:gd name="T93" fmla="*/ 619 h 885"/>
                      <a:gd name="T94" fmla="*/ 110 w 2472"/>
                      <a:gd name="T95" fmla="*/ 600 h 885"/>
                      <a:gd name="T96" fmla="*/ 81 w 2472"/>
                      <a:gd name="T97" fmla="*/ 584 h 885"/>
                      <a:gd name="T98" fmla="*/ 57 w 2472"/>
                      <a:gd name="T99" fmla="*/ 568 h 885"/>
                      <a:gd name="T100" fmla="*/ 37 w 2472"/>
                      <a:gd name="T101" fmla="*/ 555 h 885"/>
                      <a:gd name="T102" fmla="*/ 20 w 2472"/>
                      <a:gd name="T103" fmla="*/ 544 h 885"/>
                      <a:gd name="T104" fmla="*/ 10 w 2472"/>
                      <a:gd name="T105" fmla="*/ 537 h 885"/>
                      <a:gd name="T106" fmla="*/ 2 w 2472"/>
                      <a:gd name="T107" fmla="*/ 531 h 885"/>
                      <a:gd name="T108" fmla="*/ 0 w 2472"/>
                      <a:gd name="T109" fmla="*/ 529 h 885"/>
                      <a:gd name="T110" fmla="*/ 118 w 2472"/>
                      <a:gd name="T111" fmla="*/ 281 h 885"/>
                      <a:gd name="T112" fmla="*/ 130 w 2472"/>
                      <a:gd name="T113" fmla="*/ 0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85">
                        <a:moveTo>
                          <a:pt x="130" y="0"/>
                        </a:moveTo>
                        <a:lnTo>
                          <a:pt x="1241" y="98"/>
                        </a:lnTo>
                        <a:lnTo>
                          <a:pt x="1231" y="454"/>
                        </a:lnTo>
                        <a:lnTo>
                          <a:pt x="1241" y="238"/>
                        </a:lnTo>
                        <a:lnTo>
                          <a:pt x="2364" y="173"/>
                        </a:lnTo>
                        <a:lnTo>
                          <a:pt x="2364" y="346"/>
                        </a:lnTo>
                        <a:lnTo>
                          <a:pt x="2472" y="605"/>
                        </a:lnTo>
                        <a:lnTo>
                          <a:pt x="2470" y="607"/>
                        </a:lnTo>
                        <a:lnTo>
                          <a:pt x="2462" y="611"/>
                        </a:lnTo>
                        <a:lnTo>
                          <a:pt x="2450" y="617"/>
                        </a:lnTo>
                        <a:lnTo>
                          <a:pt x="2433" y="627"/>
                        </a:lnTo>
                        <a:lnTo>
                          <a:pt x="2412" y="638"/>
                        </a:lnTo>
                        <a:lnTo>
                          <a:pt x="2386" y="651"/>
                        </a:lnTo>
                        <a:lnTo>
                          <a:pt x="2355" y="664"/>
                        </a:lnTo>
                        <a:lnTo>
                          <a:pt x="2320" y="680"/>
                        </a:lnTo>
                        <a:lnTo>
                          <a:pt x="2281" y="697"/>
                        </a:lnTo>
                        <a:lnTo>
                          <a:pt x="2237" y="714"/>
                        </a:lnTo>
                        <a:lnTo>
                          <a:pt x="2189" y="731"/>
                        </a:lnTo>
                        <a:lnTo>
                          <a:pt x="2138" y="749"/>
                        </a:lnTo>
                        <a:lnTo>
                          <a:pt x="2081" y="767"/>
                        </a:lnTo>
                        <a:lnTo>
                          <a:pt x="2021" y="785"/>
                        </a:lnTo>
                        <a:lnTo>
                          <a:pt x="1957" y="802"/>
                        </a:lnTo>
                        <a:lnTo>
                          <a:pt x="1889" y="818"/>
                        </a:lnTo>
                        <a:lnTo>
                          <a:pt x="1818" y="833"/>
                        </a:lnTo>
                        <a:lnTo>
                          <a:pt x="1744" y="847"/>
                        </a:lnTo>
                        <a:lnTo>
                          <a:pt x="1664" y="858"/>
                        </a:lnTo>
                        <a:lnTo>
                          <a:pt x="1583" y="869"/>
                        </a:lnTo>
                        <a:lnTo>
                          <a:pt x="1497" y="877"/>
                        </a:lnTo>
                        <a:lnTo>
                          <a:pt x="1408" y="882"/>
                        </a:lnTo>
                        <a:lnTo>
                          <a:pt x="1316" y="885"/>
                        </a:lnTo>
                        <a:lnTo>
                          <a:pt x="1220" y="885"/>
                        </a:lnTo>
                        <a:lnTo>
                          <a:pt x="1124" y="883"/>
                        </a:lnTo>
                        <a:lnTo>
                          <a:pt x="1033" y="877"/>
                        </a:lnTo>
                        <a:lnTo>
                          <a:pt x="944" y="868"/>
                        </a:lnTo>
                        <a:lnTo>
                          <a:pt x="860" y="856"/>
                        </a:lnTo>
                        <a:lnTo>
                          <a:pt x="778" y="841"/>
                        </a:lnTo>
                        <a:lnTo>
                          <a:pt x="702" y="826"/>
                        </a:lnTo>
                        <a:lnTo>
                          <a:pt x="627" y="808"/>
                        </a:lnTo>
                        <a:lnTo>
                          <a:pt x="558" y="789"/>
                        </a:lnTo>
                        <a:lnTo>
                          <a:pt x="492" y="768"/>
                        </a:lnTo>
                        <a:lnTo>
                          <a:pt x="431" y="747"/>
                        </a:lnTo>
                        <a:lnTo>
                          <a:pt x="372" y="725"/>
                        </a:lnTo>
                        <a:lnTo>
                          <a:pt x="319" y="703"/>
                        </a:lnTo>
                        <a:lnTo>
                          <a:pt x="268" y="682"/>
                        </a:lnTo>
                        <a:lnTo>
                          <a:pt x="222" y="660"/>
                        </a:lnTo>
                        <a:lnTo>
                          <a:pt x="181" y="639"/>
                        </a:lnTo>
                        <a:lnTo>
                          <a:pt x="144" y="619"/>
                        </a:lnTo>
                        <a:lnTo>
                          <a:pt x="110" y="600"/>
                        </a:lnTo>
                        <a:lnTo>
                          <a:pt x="81" y="584"/>
                        </a:lnTo>
                        <a:lnTo>
                          <a:pt x="57" y="568"/>
                        </a:lnTo>
                        <a:lnTo>
                          <a:pt x="37" y="555"/>
                        </a:lnTo>
                        <a:lnTo>
                          <a:pt x="20" y="544"/>
                        </a:lnTo>
                        <a:lnTo>
                          <a:pt x="10" y="537"/>
                        </a:lnTo>
                        <a:lnTo>
                          <a:pt x="2" y="531"/>
                        </a:lnTo>
                        <a:lnTo>
                          <a:pt x="0" y="529"/>
                        </a:lnTo>
                        <a:lnTo>
                          <a:pt x="118" y="281"/>
                        </a:lnTo>
                        <a:lnTo>
                          <a:pt x="130"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45" name="Freeform 16"/>
                  <p:cNvSpPr>
                    <a:spLocks/>
                  </p:cNvSpPr>
                  <p:nvPr/>
                </p:nvSpPr>
                <p:spPr bwMode="auto">
                  <a:xfrm>
                    <a:off x="2206752" y="4803610"/>
                    <a:ext cx="446035" cy="289777"/>
                  </a:xfrm>
                  <a:custGeom>
                    <a:avLst/>
                    <a:gdLst>
                      <a:gd name="T0" fmla="*/ 1 w 2353"/>
                      <a:gd name="T1" fmla="*/ 2 h 1231"/>
                      <a:gd name="T2" fmla="*/ 9 w 2353"/>
                      <a:gd name="T3" fmla="*/ 12 h 1231"/>
                      <a:gd name="T4" fmla="*/ 27 w 2353"/>
                      <a:gd name="T5" fmla="*/ 32 h 1231"/>
                      <a:gd name="T6" fmla="*/ 54 w 2353"/>
                      <a:gd name="T7" fmla="*/ 59 h 1231"/>
                      <a:gd name="T8" fmla="*/ 94 w 2353"/>
                      <a:gd name="T9" fmla="*/ 92 h 1231"/>
                      <a:gd name="T10" fmla="*/ 146 w 2353"/>
                      <a:gd name="T11" fmla="*/ 128 h 1231"/>
                      <a:gd name="T12" fmla="*/ 212 w 2353"/>
                      <a:gd name="T13" fmla="*/ 168 h 1231"/>
                      <a:gd name="T14" fmla="*/ 293 w 2353"/>
                      <a:gd name="T15" fmla="*/ 209 h 1231"/>
                      <a:gd name="T16" fmla="*/ 391 w 2353"/>
                      <a:gd name="T17" fmla="*/ 250 h 1231"/>
                      <a:gd name="T18" fmla="*/ 506 w 2353"/>
                      <a:gd name="T19" fmla="*/ 287 h 1231"/>
                      <a:gd name="T20" fmla="*/ 639 w 2353"/>
                      <a:gd name="T21" fmla="*/ 323 h 1231"/>
                      <a:gd name="T22" fmla="*/ 793 w 2353"/>
                      <a:gd name="T23" fmla="*/ 352 h 1231"/>
                      <a:gd name="T24" fmla="*/ 968 w 2353"/>
                      <a:gd name="T25" fmla="*/ 374 h 1231"/>
                      <a:gd name="T26" fmla="*/ 1166 w 2353"/>
                      <a:gd name="T27" fmla="*/ 389 h 1231"/>
                      <a:gd name="T28" fmla="*/ 1260 w 2353"/>
                      <a:gd name="T29" fmla="*/ 387 h 1231"/>
                      <a:gd name="T30" fmla="*/ 1423 w 2353"/>
                      <a:gd name="T31" fmla="*/ 375 h 1231"/>
                      <a:gd name="T32" fmla="*/ 1578 w 2353"/>
                      <a:gd name="T33" fmla="*/ 352 h 1231"/>
                      <a:gd name="T34" fmla="*/ 1723 w 2353"/>
                      <a:gd name="T35" fmla="*/ 322 h 1231"/>
                      <a:gd name="T36" fmla="*/ 1857 w 2353"/>
                      <a:gd name="T37" fmla="*/ 284 h 1231"/>
                      <a:gd name="T38" fmla="*/ 1980 w 2353"/>
                      <a:gd name="T39" fmla="*/ 242 h 1231"/>
                      <a:gd name="T40" fmla="*/ 2087 w 2353"/>
                      <a:gd name="T41" fmla="*/ 197 h 1231"/>
                      <a:gd name="T42" fmla="*/ 2179 w 2353"/>
                      <a:gd name="T43" fmla="*/ 152 h 1231"/>
                      <a:gd name="T44" fmla="*/ 2252 w 2353"/>
                      <a:gd name="T45" fmla="*/ 107 h 1231"/>
                      <a:gd name="T46" fmla="*/ 2308 w 2353"/>
                      <a:gd name="T47" fmla="*/ 66 h 1231"/>
                      <a:gd name="T48" fmla="*/ 2341 w 2353"/>
                      <a:gd name="T49" fmla="*/ 30 h 1231"/>
                      <a:gd name="T50" fmla="*/ 2353 w 2353"/>
                      <a:gd name="T51" fmla="*/ 0 h 1231"/>
                      <a:gd name="T52" fmla="*/ 2350 w 2353"/>
                      <a:gd name="T53" fmla="*/ 793 h 1231"/>
                      <a:gd name="T54" fmla="*/ 2322 w 2353"/>
                      <a:gd name="T55" fmla="*/ 863 h 1231"/>
                      <a:gd name="T56" fmla="*/ 2269 w 2353"/>
                      <a:gd name="T57" fmla="*/ 931 h 1231"/>
                      <a:gd name="T58" fmla="*/ 2193 w 2353"/>
                      <a:gd name="T59" fmla="*/ 994 h 1231"/>
                      <a:gd name="T60" fmla="*/ 2094 w 2353"/>
                      <a:gd name="T61" fmla="*/ 1052 h 1231"/>
                      <a:gd name="T62" fmla="*/ 1977 w 2353"/>
                      <a:gd name="T63" fmla="*/ 1103 h 1231"/>
                      <a:gd name="T64" fmla="*/ 1843 w 2353"/>
                      <a:gd name="T65" fmla="*/ 1146 h 1231"/>
                      <a:gd name="T66" fmla="*/ 1693 w 2353"/>
                      <a:gd name="T67" fmla="*/ 1182 h 1231"/>
                      <a:gd name="T68" fmla="*/ 1531 w 2353"/>
                      <a:gd name="T69" fmla="*/ 1209 h 1231"/>
                      <a:gd name="T70" fmla="*/ 1358 w 2353"/>
                      <a:gd name="T71" fmla="*/ 1225 h 1231"/>
                      <a:gd name="T72" fmla="*/ 1177 w 2353"/>
                      <a:gd name="T73" fmla="*/ 1231 h 1231"/>
                      <a:gd name="T74" fmla="*/ 1074 w 2353"/>
                      <a:gd name="T75" fmla="*/ 1228 h 1231"/>
                      <a:gd name="T76" fmla="*/ 897 w 2353"/>
                      <a:gd name="T77" fmla="*/ 1215 h 1231"/>
                      <a:gd name="T78" fmla="*/ 731 w 2353"/>
                      <a:gd name="T79" fmla="*/ 1192 h 1231"/>
                      <a:gd name="T80" fmla="*/ 576 w 2353"/>
                      <a:gd name="T81" fmla="*/ 1161 h 1231"/>
                      <a:gd name="T82" fmla="*/ 435 w 2353"/>
                      <a:gd name="T83" fmla="*/ 1121 h 1231"/>
                      <a:gd name="T84" fmla="*/ 311 w 2353"/>
                      <a:gd name="T85" fmla="*/ 1074 h 1231"/>
                      <a:gd name="T86" fmla="*/ 204 w 2353"/>
                      <a:gd name="T87" fmla="*/ 1020 h 1231"/>
                      <a:gd name="T88" fmla="*/ 118 w 2353"/>
                      <a:gd name="T89" fmla="*/ 962 h 1231"/>
                      <a:gd name="T90" fmla="*/ 54 w 2353"/>
                      <a:gd name="T91" fmla="*/ 897 h 1231"/>
                      <a:gd name="T92" fmla="*/ 14 w 2353"/>
                      <a:gd name="T93" fmla="*/ 829 h 1231"/>
                      <a:gd name="T94" fmla="*/ 0 w 2353"/>
                      <a:gd name="T95" fmla="*/ 756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53" h="1231">
                        <a:moveTo>
                          <a:pt x="0" y="0"/>
                        </a:moveTo>
                        <a:lnTo>
                          <a:pt x="1" y="2"/>
                        </a:lnTo>
                        <a:lnTo>
                          <a:pt x="4" y="6"/>
                        </a:lnTo>
                        <a:lnTo>
                          <a:pt x="9" y="12"/>
                        </a:lnTo>
                        <a:lnTo>
                          <a:pt x="16" y="21"/>
                        </a:lnTo>
                        <a:lnTo>
                          <a:pt x="27" y="32"/>
                        </a:lnTo>
                        <a:lnTo>
                          <a:pt x="39" y="44"/>
                        </a:lnTo>
                        <a:lnTo>
                          <a:pt x="54" y="59"/>
                        </a:lnTo>
                        <a:lnTo>
                          <a:pt x="72" y="75"/>
                        </a:lnTo>
                        <a:lnTo>
                          <a:pt x="94" y="92"/>
                        </a:lnTo>
                        <a:lnTo>
                          <a:pt x="118" y="109"/>
                        </a:lnTo>
                        <a:lnTo>
                          <a:pt x="146" y="128"/>
                        </a:lnTo>
                        <a:lnTo>
                          <a:pt x="177" y="148"/>
                        </a:lnTo>
                        <a:lnTo>
                          <a:pt x="212" y="168"/>
                        </a:lnTo>
                        <a:lnTo>
                          <a:pt x="251" y="189"/>
                        </a:lnTo>
                        <a:lnTo>
                          <a:pt x="293" y="209"/>
                        </a:lnTo>
                        <a:lnTo>
                          <a:pt x="340" y="230"/>
                        </a:lnTo>
                        <a:lnTo>
                          <a:pt x="391" y="250"/>
                        </a:lnTo>
                        <a:lnTo>
                          <a:pt x="446" y="269"/>
                        </a:lnTo>
                        <a:lnTo>
                          <a:pt x="506" y="287"/>
                        </a:lnTo>
                        <a:lnTo>
                          <a:pt x="570" y="306"/>
                        </a:lnTo>
                        <a:lnTo>
                          <a:pt x="639" y="323"/>
                        </a:lnTo>
                        <a:lnTo>
                          <a:pt x="714" y="338"/>
                        </a:lnTo>
                        <a:lnTo>
                          <a:pt x="793" y="352"/>
                        </a:lnTo>
                        <a:lnTo>
                          <a:pt x="878" y="364"/>
                        </a:lnTo>
                        <a:lnTo>
                          <a:pt x="968" y="374"/>
                        </a:lnTo>
                        <a:lnTo>
                          <a:pt x="1065" y="383"/>
                        </a:lnTo>
                        <a:lnTo>
                          <a:pt x="1166" y="389"/>
                        </a:lnTo>
                        <a:lnTo>
                          <a:pt x="1177" y="389"/>
                        </a:lnTo>
                        <a:lnTo>
                          <a:pt x="1260" y="387"/>
                        </a:lnTo>
                        <a:lnTo>
                          <a:pt x="1342" y="383"/>
                        </a:lnTo>
                        <a:lnTo>
                          <a:pt x="1423" y="375"/>
                        </a:lnTo>
                        <a:lnTo>
                          <a:pt x="1501" y="365"/>
                        </a:lnTo>
                        <a:lnTo>
                          <a:pt x="1578" y="352"/>
                        </a:lnTo>
                        <a:lnTo>
                          <a:pt x="1652" y="338"/>
                        </a:lnTo>
                        <a:lnTo>
                          <a:pt x="1723" y="322"/>
                        </a:lnTo>
                        <a:lnTo>
                          <a:pt x="1792" y="304"/>
                        </a:lnTo>
                        <a:lnTo>
                          <a:pt x="1857" y="284"/>
                        </a:lnTo>
                        <a:lnTo>
                          <a:pt x="1920" y="263"/>
                        </a:lnTo>
                        <a:lnTo>
                          <a:pt x="1980" y="242"/>
                        </a:lnTo>
                        <a:lnTo>
                          <a:pt x="2035" y="220"/>
                        </a:lnTo>
                        <a:lnTo>
                          <a:pt x="2087" y="197"/>
                        </a:lnTo>
                        <a:lnTo>
                          <a:pt x="2135" y="174"/>
                        </a:lnTo>
                        <a:lnTo>
                          <a:pt x="2179" y="152"/>
                        </a:lnTo>
                        <a:lnTo>
                          <a:pt x="2218" y="129"/>
                        </a:lnTo>
                        <a:lnTo>
                          <a:pt x="2252" y="107"/>
                        </a:lnTo>
                        <a:lnTo>
                          <a:pt x="2283" y="86"/>
                        </a:lnTo>
                        <a:lnTo>
                          <a:pt x="2308" y="66"/>
                        </a:lnTo>
                        <a:lnTo>
                          <a:pt x="2328" y="48"/>
                        </a:lnTo>
                        <a:lnTo>
                          <a:pt x="2341" y="30"/>
                        </a:lnTo>
                        <a:lnTo>
                          <a:pt x="2351" y="14"/>
                        </a:lnTo>
                        <a:lnTo>
                          <a:pt x="2353" y="0"/>
                        </a:lnTo>
                        <a:lnTo>
                          <a:pt x="2353" y="756"/>
                        </a:lnTo>
                        <a:lnTo>
                          <a:pt x="2350" y="793"/>
                        </a:lnTo>
                        <a:lnTo>
                          <a:pt x="2339" y="829"/>
                        </a:lnTo>
                        <a:lnTo>
                          <a:pt x="2322" y="863"/>
                        </a:lnTo>
                        <a:lnTo>
                          <a:pt x="2298" y="898"/>
                        </a:lnTo>
                        <a:lnTo>
                          <a:pt x="2269" y="931"/>
                        </a:lnTo>
                        <a:lnTo>
                          <a:pt x="2233" y="964"/>
                        </a:lnTo>
                        <a:lnTo>
                          <a:pt x="2193" y="994"/>
                        </a:lnTo>
                        <a:lnTo>
                          <a:pt x="2145" y="1024"/>
                        </a:lnTo>
                        <a:lnTo>
                          <a:pt x="2094" y="1052"/>
                        </a:lnTo>
                        <a:lnTo>
                          <a:pt x="2038" y="1078"/>
                        </a:lnTo>
                        <a:lnTo>
                          <a:pt x="1977" y="1103"/>
                        </a:lnTo>
                        <a:lnTo>
                          <a:pt x="1912" y="1125"/>
                        </a:lnTo>
                        <a:lnTo>
                          <a:pt x="1843" y="1146"/>
                        </a:lnTo>
                        <a:lnTo>
                          <a:pt x="1769" y="1165"/>
                        </a:lnTo>
                        <a:lnTo>
                          <a:pt x="1693" y="1182"/>
                        </a:lnTo>
                        <a:lnTo>
                          <a:pt x="1613" y="1196"/>
                        </a:lnTo>
                        <a:lnTo>
                          <a:pt x="1531" y="1209"/>
                        </a:lnTo>
                        <a:lnTo>
                          <a:pt x="1446" y="1218"/>
                        </a:lnTo>
                        <a:lnTo>
                          <a:pt x="1358" y="1225"/>
                        </a:lnTo>
                        <a:lnTo>
                          <a:pt x="1268" y="1230"/>
                        </a:lnTo>
                        <a:lnTo>
                          <a:pt x="1177" y="1231"/>
                        </a:lnTo>
                        <a:lnTo>
                          <a:pt x="1166" y="1231"/>
                        </a:lnTo>
                        <a:lnTo>
                          <a:pt x="1074" y="1228"/>
                        </a:lnTo>
                        <a:lnTo>
                          <a:pt x="985" y="1223"/>
                        </a:lnTo>
                        <a:lnTo>
                          <a:pt x="897" y="1215"/>
                        </a:lnTo>
                        <a:lnTo>
                          <a:pt x="812" y="1205"/>
                        </a:lnTo>
                        <a:lnTo>
                          <a:pt x="731" y="1192"/>
                        </a:lnTo>
                        <a:lnTo>
                          <a:pt x="651" y="1178"/>
                        </a:lnTo>
                        <a:lnTo>
                          <a:pt x="576" y="1161"/>
                        </a:lnTo>
                        <a:lnTo>
                          <a:pt x="503" y="1142"/>
                        </a:lnTo>
                        <a:lnTo>
                          <a:pt x="435" y="1121"/>
                        </a:lnTo>
                        <a:lnTo>
                          <a:pt x="370" y="1099"/>
                        </a:lnTo>
                        <a:lnTo>
                          <a:pt x="311" y="1074"/>
                        </a:lnTo>
                        <a:lnTo>
                          <a:pt x="255" y="1049"/>
                        </a:lnTo>
                        <a:lnTo>
                          <a:pt x="204" y="1020"/>
                        </a:lnTo>
                        <a:lnTo>
                          <a:pt x="159" y="992"/>
                        </a:lnTo>
                        <a:lnTo>
                          <a:pt x="118" y="962"/>
                        </a:lnTo>
                        <a:lnTo>
                          <a:pt x="83" y="930"/>
                        </a:lnTo>
                        <a:lnTo>
                          <a:pt x="54" y="897"/>
                        </a:lnTo>
                        <a:lnTo>
                          <a:pt x="31" y="863"/>
                        </a:lnTo>
                        <a:lnTo>
                          <a:pt x="14" y="829"/>
                        </a:lnTo>
                        <a:lnTo>
                          <a:pt x="4" y="792"/>
                        </a:lnTo>
                        <a:lnTo>
                          <a:pt x="0" y="756"/>
                        </a:lnTo>
                        <a:lnTo>
                          <a:pt x="0" y="0"/>
                        </a:lnTo>
                        <a:close/>
                      </a:path>
                    </a:pathLst>
                  </a:custGeom>
                  <a:solidFill>
                    <a:srgbClr val="3898C5"/>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46" name="Freeform 17"/>
                  <p:cNvSpPr>
                    <a:spLocks/>
                  </p:cNvSpPr>
                  <p:nvPr/>
                </p:nvSpPr>
                <p:spPr bwMode="auto">
                  <a:xfrm>
                    <a:off x="2432332" y="4805516"/>
                    <a:ext cx="223872" cy="285965"/>
                  </a:xfrm>
                  <a:custGeom>
                    <a:avLst/>
                    <a:gdLst>
                      <a:gd name="T0" fmla="*/ 1187 w 1187"/>
                      <a:gd name="T1" fmla="*/ 0 h 1231"/>
                      <a:gd name="T2" fmla="*/ 1187 w 1187"/>
                      <a:gd name="T3" fmla="*/ 756 h 1231"/>
                      <a:gd name="T4" fmla="*/ 1184 w 1187"/>
                      <a:gd name="T5" fmla="*/ 793 h 1231"/>
                      <a:gd name="T6" fmla="*/ 1173 w 1187"/>
                      <a:gd name="T7" fmla="*/ 829 h 1231"/>
                      <a:gd name="T8" fmla="*/ 1156 w 1187"/>
                      <a:gd name="T9" fmla="*/ 863 h 1231"/>
                      <a:gd name="T10" fmla="*/ 1132 w 1187"/>
                      <a:gd name="T11" fmla="*/ 898 h 1231"/>
                      <a:gd name="T12" fmla="*/ 1103 w 1187"/>
                      <a:gd name="T13" fmla="*/ 931 h 1231"/>
                      <a:gd name="T14" fmla="*/ 1067 w 1187"/>
                      <a:gd name="T15" fmla="*/ 964 h 1231"/>
                      <a:gd name="T16" fmla="*/ 1027 w 1187"/>
                      <a:gd name="T17" fmla="*/ 994 h 1231"/>
                      <a:gd name="T18" fmla="*/ 979 w 1187"/>
                      <a:gd name="T19" fmla="*/ 1024 h 1231"/>
                      <a:gd name="T20" fmla="*/ 928 w 1187"/>
                      <a:gd name="T21" fmla="*/ 1052 h 1231"/>
                      <a:gd name="T22" fmla="*/ 872 w 1187"/>
                      <a:gd name="T23" fmla="*/ 1078 h 1231"/>
                      <a:gd name="T24" fmla="*/ 811 w 1187"/>
                      <a:gd name="T25" fmla="*/ 1103 h 1231"/>
                      <a:gd name="T26" fmla="*/ 746 w 1187"/>
                      <a:gd name="T27" fmla="*/ 1125 h 1231"/>
                      <a:gd name="T28" fmla="*/ 677 w 1187"/>
                      <a:gd name="T29" fmla="*/ 1146 h 1231"/>
                      <a:gd name="T30" fmla="*/ 603 w 1187"/>
                      <a:gd name="T31" fmla="*/ 1165 h 1231"/>
                      <a:gd name="T32" fmla="*/ 527 w 1187"/>
                      <a:gd name="T33" fmla="*/ 1182 h 1231"/>
                      <a:gd name="T34" fmla="*/ 447 w 1187"/>
                      <a:gd name="T35" fmla="*/ 1196 h 1231"/>
                      <a:gd name="T36" fmla="*/ 365 w 1187"/>
                      <a:gd name="T37" fmla="*/ 1209 h 1231"/>
                      <a:gd name="T38" fmla="*/ 280 w 1187"/>
                      <a:gd name="T39" fmla="*/ 1218 h 1231"/>
                      <a:gd name="T40" fmla="*/ 192 w 1187"/>
                      <a:gd name="T41" fmla="*/ 1225 h 1231"/>
                      <a:gd name="T42" fmla="*/ 102 w 1187"/>
                      <a:gd name="T43" fmla="*/ 1230 h 1231"/>
                      <a:gd name="T44" fmla="*/ 11 w 1187"/>
                      <a:gd name="T45" fmla="*/ 1231 h 1231"/>
                      <a:gd name="T46" fmla="*/ 0 w 1187"/>
                      <a:gd name="T47" fmla="*/ 1231 h 1231"/>
                      <a:gd name="T48" fmla="*/ 0 w 1187"/>
                      <a:gd name="T49" fmla="*/ 389 h 1231"/>
                      <a:gd name="T50" fmla="*/ 11 w 1187"/>
                      <a:gd name="T51" fmla="*/ 389 h 1231"/>
                      <a:gd name="T52" fmla="*/ 94 w 1187"/>
                      <a:gd name="T53" fmla="*/ 387 h 1231"/>
                      <a:gd name="T54" fmla="*/ 176 w 1187"/>
                      <a:gd name="T55" fmla="*/ 383 h 1231"/>
                      <a:gd name="T56" fmla="*/ 257 w 1187"/>
                      <a:gd name="T57" fmla="*/ 375 h 1231"/>
                      <a:gd name="T58" fmla="*/ 335 w 1187"/>
                      <a:gd name="T59" fmla="*/ 365 h 1231"/>
                      <a:gd name="T60" fmla="*/ 412 w 1187"/>
                      <a:gd name="T61" fmla="*/ 352 h 1231"/>
                      <a:gd name="T62" fmla="*/ 486 w 1187"/>
                      <a:gd name="T63" fmla="*/ 338 h 1231"/>
                      <a:gd name="T64" fmla="*/ 557 w 1187"/>
                      <a:gd name="T65" fmla="*/ 322 h 1231"/>
                      <a:gd name="T66" fmla="*/ 626 w 1187"/>
                      <a:gd name="T67" fmla="*/ 304 h 1231"/>
                      <a:gd name="T68" fmla="*/ 691 w 1187"/>
                      <a:gd name="T69" fmla="*/ 284 h 1231"/>
                      <a:gd name="T70" fmla="*/ 754 w 1187"/>
                      <a:gd name="T71" fmla="*/ 263 h 1231"/>
                      <a:gd name="T72" fmla="*/ 814 w 1187"/>
                      <a:gd name="T73" fmla="*/ 242 h 1231"/>
                      <a:gd name="T74" fmla="*/ 869 w 1187"/>
                      <a:gd name="T75" fmla="*/ 220 h 1231"/>
                      <a:gd name="T76" fmla="*/ 921 w 1187"/>
                      <a:gd name="T77" fmla="*/ 197 h 1231"/>
                      <a:gd name="T78" fmla="*/ 969 w 1187"/>
                      <a:gd name="T79" fmla="*/ 174 h 1231"/>
                      <a:gd name="T80" fmla="*/ 1013 w 1187"/>
                      <a:gd name="T81" fmla="*/ 152 h 1231"/>
                      <a:gd name="T82" fmla="*/ 1052 w 1187"/>
                      <a:gd name="T83" fmla="*/ 129 h 1231"/>
                      <a:gd name="T84" fmla="*/ 1086 w 1187"/>
                      <a:gd name="T85" fmla="*/ 107 h 1231"/>
                      <a:gd name="T86" fmla="*/ 1117 w 1187"/>
                      <a:gd name="T87" fmla="*/ 86 h 1231"/>
                      <a:gd name="T88" fmla="*/ 1142 w 1187"/>
                      <a:gd name="T89" fmla="*/ 66 h 1231"/>
                      <a:gd name="T90" fmla="*/ 1162 w 1187"/>
                      <a:gd name="T91" fmla="*/ 48 h 1231"/>
                      <a:gd name="T92" fmla="*/ 1175 w 1187"/>
                      <a:gd name="T93" fmla="*/ 30 h 1231"/>
                      <a:gd name="T94" fmla="*/ 1185 w 1187"/>
                      <a:gd name="T95" fmla="*/ 14 h 1231"/>
                      <a:gd name="T96" fmla="*/ 1187 w 1187"/>
                      <a:gd name="T97" fmla="*/ 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7" h="1231">
                        <a:moveTo>
                          <a:pt x="1187" y="0"/>
                        </a:moveTo>
                        <a:lnTo>
                          <a:pt x="1187" y="756"/>
                        </a:lnTo>
                        <a:lnTo>
                          <a:pt x="1184" y="793"/>
                        </a:lnTo>
                        <a:lnTo>
                          <a:pt x="1173" y="829"/>
                        </a:lnTo>
                        <a:lnTo>
                          <a:pt x="1156" y="863"/>
                        </a:lnTo>
                        <a:lnTo>
                          <a:pt x="1132" y="898"/>
                        </a:lnTo>
                        <a:lnTo>
                          <a:pt x="1103" y="931"/>
                        </a:lnTo>
                        <a:lnTo>
                          <a:pt x="1067" y="964"/>
                        </a:lnTo>
                        <a:lnTo>
                          <a:pt x="1027" y="994"/>
                        </a:lnTo>
                        <a:lnTo>
                          <a:pt x="979" y="1024"/>
                        </a:lnTo>
                        <a:lnTo>
                          <a:pt x="928" y="1052"/>
                        </a:lnTo>
                        <a:lnTo>
                          <a:pt x="872" y="1078"/>
                        </a:lnTo>
                        <a:lnTo>
                          <a:pt x="811" y="1103"/>
                        </a:lnTo>
                        <a:lnTo>
                          <a:pt x="746" y="1125"/>
                        </a:lnTo>
                        <a:lnTo>
                          <a:pt x="677" y="1146"/>
                        </a:lnTo>
                        <a:lnTo>
                          <a:pt x="603" y="1165"/>
                        </a:lnTo>
                        <a:lnTo>
                          <a:pt x="527" y="1182"/>
                        </a:lnTo>
                        <a:lnTo>
                          <a:pt x="447" y="1196"/>
                        </a:lnTo>
                        <a:lnTo>
                          <a:pt x="365" y="1209"/>
                        </a:lnTo>
                        <a:lnTo>
                          <a:pt x="280" y="1218"/>
                        </a:lnTo>
                        <a:lnTo>
                          <a:pt x="192" y="1225"/>
                        </a:lnTo>
                        <a:lnTo>
                          <a:pt x="102" y="1230"/>
                        </a:lnTo>
                        <a:lnTo>
                          <a:pt x="11" y="1231"/>
                        </a:lnTo>
                        <a:lnTo>
                          <a:pt x="0" y="1231"/>
                        </a:lnTo>
                        <a:lnTo>
                          <a:pt x="0" y="389"/>
                        </a:lnTo>
                        <a:lnTo>
                          <a:pt x="11" y="389"/>
                        </a:lnTo>
                        <a:lnTo>
                          <a:pt x="94" y="387"/>
                        </a:lnTo>
                        <a:lnTo>
                          <a:pt x="176" y="383"/>
                        </a:lnTo>
                        <a:lnTo>
                          <a:pt x="257" y="375"/>
                        </a:lnTo>
                        <a:lnTo>
                          <a:pt x="335" y="365"/>
                        </a:lnTo>
                        <a:lnTo>
                          <a:pt x="412" y="352"/>
                        </a:lnTo>
                        <a:lnTo>
                          <a:pt x="486" y="338"/>
                        </a:lnTo>
                        <a:lnTo>
                          <a:pt x="557" y="322"/>
                        </a:lnTo>
                        <a:lnTo>
                          <a:pt x="626" y="304"/>
                        </a:lnTo>
                        <a:lnTo>
                          <a:pt x="691" y="284"/>
                        </a:lnTo>
                        <a:lnTo>
                          <a:pt x="754" y="263"/>
                        </a:lnTo>
                        <a:lnTo>
                          <a:pt x="814" y="242"/>
                        </a:lnTo>
                        <a:lnTo>
                          <a:pt x="869" y="220"/>
                        </a:lnTo>
                        <a:lnTo>
                          <a:pt x="921" y="197"/>
                        </a:lnTo>
                        <a:lnTo>
                          <a:pt x="969" y="174"/>
                        </a:lnTo>
                        <a:lnTo>
                          <a:pt x="1013" y="152"/>
                        </a:lnTo>
                        <a:lnTo>
                          <a:pt x="1052" y="129"/>
                        </a:lnTo>
                        <a:lnTo>
                          <a:pt x="1086" y="107"/>
                        </a:lnTo>
                        <a:lnTo>
                          <a:pt x="1117" y="86"/>
                        </a:lnTo>
                        <a:lnTo>
                          <a:pt x="1142" y="66"/>
                        </a:lnTo>
                        <a:lnTo>
                          <a:pt x="1162" y="48"/>
                        </a:lnTo>
                        <a:lnTo>
                          <a:pt x="1175" y="30"/>
                        </a:lnTo>
                        <a:lnTo>
                          <a:pt x="1185" y="14"/>
                        </a:lnTo>
                        <a:lnTo>
                          <a:pt x="1187" y="0"/>
                        </a:lnTo>
                        <a:close/>
                      </a:path>
                    </a:pathLst>
                  </a:custGeom>
                  <a:solidFill>
                    <a:srgbClr val="59B3D8"/>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47" name="Freeform 8"/>
                  <p:cNvSpPr>
                    <a:spLocks/>
                  </p:cNvSpPr>
                  <p:nvPr/>
                </p:nvSpPr>
                <p:spPr bwMode="auto">
                  <a:xfrm>
                    <a:off x="2200517" y="4722477"/>
                    <a:ext cx="461923" cy="201848"/>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48" name="Freeform 9"/>
                  <p:cNvSpPr>
                    <a:spLocks/>
                  </p:cNvSpPr>
                  <p:nvPr/>
                </p:nvSpPr>
                <p:spPr bwMode="auto">
                  <a:xfrm>
                    <a:off x="2240784" y="4751313"/>
                    <a:ext cx="381389" cy="13264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7FBA00"/>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49" name="Freeform 10"/>
                  <p:cNvSpPr>
                    <a:spLocks/>
                  </p:cNvSpPr>
                  <p:nvPr/>
                </p:nvSpPr>
                <p:spPr bwMode="auto">
                  <a:xfrm>
                    <a:off x="2233310" y="4747213"/>
                    <a:ext cx="396338" cy="10765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8D43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grpSp>
            <p:grpSp>
              <p:nvGrpSpPr>
                <p:cNvPr id="212" name="Medium stack"/>
                <p:cNvGrpSpPr/>
                <p:nvPr/>
              </p:nvGrpSpPr>
              <p:grpSpPr>
                <a:xfrm>
                  <a:off x="4284010" y="4068914"/>
                  <a:ext cx="381232" cy="490879"/>
                  <a:chOff x="2198554" y="4722477"/>
                  <a:chExt cx="471670" cy="789187"/>
                </a:xfrm>
              </p:grpSpPr>
              <p:sp>
                <p:nvSpPr>
                  <p:cNvPr id="226" name="Freeform 16"/>
                  <p:cNvSpPr>
                    <a:spLocks/>
                  </p:cNvSpPr>
                  <p:nvPr/>
                </p:nvSpPr>
                <p:spPr bwMode="auto">
                  <a:xfrm>
                    <a:off x="2212132" y="5221887"/>
                    <a:ext cx="446036" cy="289777"/>
                  </a:xfrm>
                  <a:custGeom>
                    <a:avLst/>
                    <a:gdLst>
                      <a:gd name="T0" fmla="*/ 1 w 2353"/>
                      <a:gd name="T1" fmla="*/ 2 h 1231"/>
                      <a:gd name="T2" fmla="*/ 9 w 2353"/>
                      <a:gd name="T3" fmla="*/ 12 h 1231"/>
                      <a:gd name="T4" fmla="*/ 27 w 2353"/>
                      <a:gd name="T5" fmla="*/ 32 h 1231"/>
                      <a:gd name="T6" fmla="*/ 54 w 2353"/>
                      <a:gd name="T7" fmla="*/ 59 h 1231"/>
                      <a:gd name="T8" fmla="*/ 94 w 2353"/>
                      <a:gd name="T9" fmla="*/ 92 h 1231"/>
                      <a:gd name="T10" fmla="*/ 146 w 2353"/>
                      <a:gd name="T11" fmla="*/ 128 h 1231"/>
                      <a:gd name="T12" fmla="*/ 212 w 2353"/>
                      <a:gd name="T13" fmla="*/ 168 h 1231"/>
                      <a:gd name="T14" fmla="*/ 293 w 2353"/>
                      <a:gd name="T15" fmla="*/ 209 h 1231"/>
                      <a:gd name="T16" fmla="*/ 391 w 2353"/>
                      <a:gd name="T17" fmla="*/ 250 h 1231"/>
                      <a:gd name="T18" fmla="*/ 506 w 2353"/>
                      <a:gd name="T19" fmla="*/ 287 h 1231"/>
                      <a:gd name="T20" fmla="*/ 639 w 2353"/>
                      <a:gd name="T21" fmla="*/ 323 h 1231"/>
                      <a:gd name="T22" fmla="*/ 793 w 2353"/>
                      <a:gd name="T23" fmla="*/ 352 h 1231"/>
                      <a:gd name="T24" fmla="*/ 968 w 2353"/>
                      <a:gd name="T25" fmla="*/ 374 h 1231"/>
                      <a:gd name="T26" fmla="*/ 1166 w 2353"/>
                      <a:gd name="T27" fmla="*/ 389 h 1231"/>
                      <a:gd name="T28" fmla="*/ 1260 w 2353"/>
                      <a:gd name="T29" fmla="*/ 387 h 1231"/>
                      <a:gd name="T30" fmla="*/ 1423 w 2353"/>
                      <a:gd name="T31" fmla="*/ 375 h 1231"/>
                      <a:gd name="T32" fmla="*/ 1578 w 2353"/>
                      <a:gd name="T33" fmla="*/ 352 h 1231"/>
                      <a:gd name="T34" fmla="*/ 1723 w 2353"/>
                      <a:gd name="T35" fmla="*/ 322 h 1231"/>
                      <a:gd name="T36" fmla="*/ 1857 w 2353"/>
                      <a:gd name="T37" fmla="*/ 284 h 1231"/>
                      <a:gd name="T38" fmla="*/ 1980 w 2353"/>
                      <a:gd name="T39" fmla="*/ 242 h 1231"/>
                      <a:gd name="T40" fmla="*/ 2087 w 2353"/>
                      <a:gd name="T41" fmla="*/ 197 h 1231"/>
                      <a:gd name="T42" fmla="*/ 2179 w 2353"/>
                      <a:gd name="T43" fmla="*/ 152 h 1231"/>
                      <a:gd name="T44" fmla="*/ 2252 w 2353"/>
                      <a:gd name="T45" fmla="*/ 107 h 1231"/>
                      <a:gd name="T46" fmla="*/ 2308 w 2353"/>
                      <a:gd name="T47" fmla="*/ 66 h 1231"/>
                      <a:gd name="T48" fmla="*/ 2341 w 2353"/>
                      <a:gd name="T49" fmla="*/ 30 h 1231"/>
                      <a:gd name="T50" fmla="*/ 2353 w 2353"/>
                      <a:gd name="T51" fmla="*/ 0 h 1231"/>
                      <a:gd name="T52" fmla="*/ 2350 w 2353"/>
                      <a:gd name="T53" fmla="*/ 793 h 1231"/>
                      <a:gd name="T54" fmla="*/ 2322 w 2353"/>
                      <a:gd name="T55" fmla="*/ 863 h 1231"/>
                      <a:gd name="T56" fmla="*/ 2269 w 2353"/>
                      <a:gd name="T57" fmla="*/ 931 h 1231"/>
                      <a:gd name="T58" fmla="*/ 2193 w 2353"/>
                      <a:gd name="T59" fmla="*/ 994 h 1231"/>
                      <a:gd name="T60" fmla="*/ 2094 w 2353"/>
                      <a:gd name="T61" fmla="*/ 1052 h 1231"/>
                      <a:gd name="T62" fmla="*/ 1977 w 2353"/>
                      <a:gd name="T63" fmla="*/ 1103 h 1231"/>
                      <a:gd name="T64" fmla="*/ 1843 w 2353"/>
                      <a:gd name="T65" fmla="*/ 1146 h 1231"/>
                      <a:gd name="T66" fmla="*/ 1693 w 2353"/>
                      <a:gd name="T67" fmla="*/ 1182 h 1231"/>
                      <a:gd name="T68" fmla="*/ 1531 w 2353"/>
                      <a:gd name="T69" fmla="*/ 1209 h 1231"/>
                      <a:gd name="T70" fmla="*/ 1358 w 2353"/>
                      <a:gd name="T71" fmla="*/ 1225 h 1231"/>
                      <a:gd name="T72" fmla="*/ 1177 w 2353"/>
                      <a:gd name="T73" fmla="*/ 1231 h 1231"/>
                      <a:gd name="T74" fmla="*/ 1074 w 2353"/>
                      <a:gd name="T75" fmla="*/ 1228 h 1231"/>
                      <a:gd name="T76" fmla="*/ 897 w 2353"/>
                      <a:gd name="T77" fmla="*/ 1215 h 1231"/>
                      <a:gd name="T78" fmla="*/ 731 w 2353"/>
                      <a:gd name="T79" fmla="*/ 1192 h 1231"/>
                      <a:gd name="T80" fmla="*/ 576 w 2353"/>
                      <a:gd name="T81" fmla="*/ 1161 h 1231"/>
                      <a:gd name="T82" fmla="*/ 435 w 2353"/>
                      <a:gd name="T83" fmla="*/ 1121 h 1231"/>
                      <a:gd name="T84" fmla="*/ 311 w 2353"/>
                      <a:gd name="T85" fmla="*/ 1074 h 1231"/>
                      <a:gd name="T86" fmla="*/ 204 w 2353"/>
                      <a:gd name="T87" fmla="*/ 1020 h 1231"/>
                      <a:gd name="T88" fmla="*/ 118 w 2353"/>
                      <a:gd name="T89" fmla="*/ 962 h 1231"/>
                      <a:gd name="T90" fmla="*/ 54 w 2353"/>
                      <a:gd name="T91" fmla="*/ 897 h 1231"/>
                      <a:gd name="T92" fmla="*/ 14 w 2353"/>
                      <a:gd name="T93" fmla="*/ 829 h 1231"/>
                      <a:gd name="T94" fmla="*/ 0 w 2353"/>
                      <a:gd name="T95" fmla="*/ 756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53" h="1231">
                        <a:moveTo>
                          <a:pt x="0" y="0"/>
                        </a:moveTo>
                        <a:lnTo>
                          <a:pt x="1" y="2"/>
                        </a:lnTo>
                        <a:lnTo>
                          <a:pt x="4" y="6"/>
                        </a:lnTo>
                        <a:lnTo>
                          <a:pt x="9" y="12"/>
                        </a:lnTo>
                        <a:lnTo>
                          <a:pt x="16" y="21"/>
                        </a:lnTo>
                        <a:lnTo>
                          <a:pt x="27" y="32"/>
                        </a:lnTo>
                        <a:lnTo>
                          <a:pt x="39" y="44"/>
                        </a:lnTo>
                        <a:lnTo>
                          <a:pt x="54" y="59"/>
                        </a:lnTo>
                        <a:lnTo>
                          <a:pt x="72" y="75"/>
                        </a:lnTo>
                        <a:lnTo>
                          <a:pt x="94" y="92"/>
                        </a:lnTo>
                        <a:lnTo>
                          <a:pt x="118" y="109"/>
                        </a:lnTo>
                        <a:lnTo>
                          <a:pt x="146" y="128"/>
                        </a:lnTo>
                        <a:lnTo>
                          <a:pt x="177" y="148"/>
                        </a:lnTo>
                        <a:lnTo>
                          <a:pt x="212" y="168"/>
                        </a:lnTo>
                        <a:lnTo>
                          <a:pt x="251" y="189"/>
                        </a:lnTo>
                        <a:lnTo>
                          <a:pt x="293" y="209"/>
                        </a:lnTo>
                        <a:lnTo>
                          <a:pt x="340" y="230"/>
                        </a:lnTo>
                        <a:lnTo>
                          <a:pt x="391" y="250"/>
                        </a:lnTo>
                        <a:lnTo>
                          <a:pt x="446" y="269"/>
                        </a:lnTo>
                        <a:lnTo>
                          <a:pt x="506" y="287"/>
                        </a:lnTo>
                        <a:lnTo>
                          <a:pt x="570" y="306"/>
                        </a:lnTo>
                        <a:lnTo>
                          <a:pt x="639" y="323"/>
                        </a:lnTo>
                        <a:lnTo>
                          <a:pt x="714" y="338"/>
                        </a:lnTo>
                        <a:lnTo>
                          <a:pt x="793" y="352"/>
                        </a:lnTo>
                        <a:lnTo>
                          <a:pt x="878" y="364"/>
                        </a:lnTo>
                        <a:lnTo>
                          <a:pt x="968" y="374"/>
                        </a:lnTo>
                        <a:lnTo>
                          <a:pt x="1065" y="383"/>
                        </a:lnTo>
                        <a:lnTo>
                          <a:pt x="1166" y="389"/>
                        </a:lnTo>
                        <a:lnTo>
                          <a:pt x="1177" y="389"/>
                        </a:lnTo>
                        <a:lnTo>
                          <a:pt x="1260" y="387"/>
                        </a:lnTo>
                        <a:lnTo>
                          <a:pt x="1342" y="383"/>
                        </a:lnTo>
                        <a:lnTo>
                          <a:pt x="1423" y="375"/>
                        </a:lnTo>
                        <a:lnTo>
                          <a:pt x="1501" y="365"/>
                        </a:lnTo>
                        <a:lnTo>
                          <a:pt x="1578" y="352"/>
                        </a:lnTo>
                        <a:lnTo>
                          <a:pt x="1652" y="338"/>
                        </a:lnTo>
                        <a:lnTo>
                          <a:pt x="1723" y="322"/>
                        </a:lnTo>
                        <a:lnTo>
                          <a:pt x="1792" y="304"/>
                        </a:lnTo>
                        <a:lnTo>
                          <a:pt x="1857" y="284"/>
                        </a:lnTo>
                        <a:lnTo>
                          <a:pt x="1920" y="263"/>
                        </a:lnTo>
                        <a:lnTo>
                          <a:pt x="1980" y="242"/>
                        </a:lnTo>
                        <a:lnTo>
                          <a:pt x="2035" y="220"/>
                        </a:lnTo>
                        <a:lnTo>
                          <a:pt x="2087" y="197"/>
                        </a:lnTo>
                        <a:lnTo>
                          <a:pt x="2135" y="174"/>
                        </a:lnTo>
                        <a:lnTo>
                          <a:pt x="2179" y="152"/>
                        </a:lnTo>
                        <a:lnTo>
                          <a:pt x="2218" y="129"/>
                        </a:lnTo>
                        <a:lnTo>
                          <a:pt x="2252" y="107"/>
                        </a:lnTo>
                        <a:lnTo>
                          <a:pt x="2283" y="86"/>
                        </a:lnTo>
                        <a:lnTo>
                          <a:pt x="2308" y="66"/>
                        </a:lnTo>
                        <a:lnTo>
                          <a:pt x="2328" y="48"/>
                        </a:lnTo>
                        <a:lnTo>
                          <a:pt x="2341" y="30"/>
                        </a:lnTo>
                        <a:lnTo>
                          <a:pt x="2351" y="14"/>
                        </a:lnTo>
                        <a:lnTo>
                          <a:pt x="2353" y="0"/>
                        </a:lnTo>
                        <a:lnTo>
                          <a:pt x="2353" y="756"/>
                        </a:lnTo>
                        <a:lnTo>
                          <a:pt x="2350" y="793"/>
                        </a:lnTo>
                        <a:lnTo>
                          <a:pt x="2339" y="829"/>
                        </a:lnTo>
                        <a:lnTo>
                          <a:pt x="2322" y="863"/>
                        </a:lnTo>
                        <a:lnTo>
                          <a:pt x="2298" y="898"/>
                        </a:lnTo>
                        <a:lnTo>
                          <a:pt x="2269" y="931"/>
                        </a:lnTo>
                        <a:lnTo>
                          <a:pt x="2233" y="964"/>
                        </a:lnTo>
                        <a:lnTo>
                          <a:pt x="2193" y="994"/>
                        </a:lnTo>
                        <a:lnTo>
                          <a:pt x="2145" y="1024"/>
                        </a:lnTo>
                        <a:lnTo>
                          <a:pt x="2094" y="1052"/>
                        </a:lnTo>
                        <a:lnTo>
                          <a:pt x="2038" y="1078"/>
                        </a:lnTo>
                        <a:lnTo>
                          <a:pt x="1977" y="1103"/>
                        </a:lnTo>
                        <a:lnTo>
                          <a:pt x="1912" y="1125"/>
                        </a:lnTo>
                        <a:lnTo>
                          <a:pt x="1843" y="1146"/>
                        </a:lnTo>
                        <a:lnTo>
                          <a:pt x="1769" y="1165"/>
                        </a:lnTo>
                        <a:lnTo>
                          <a:pt x="1693" y="1182"/>
                        </a:lnTo>
                        <a:lnTo>
                          <a:pt x="1613" y="1196"/>
                        </a:lnTo>
                        <a:lnTo>
                          <a:pt x="1531" y="1209"/>
                        </a:lnTo>
                        <a:lnTo>
                          <a:pt x="1446" y="1218"/>
                        </a:lnTo>
                        <a:lnTo>
                          <a:pt x="1358" y="1225"/>
                        </a:lnTo>
                        <a:lnTo>
                          <a:pt x="1268" y="1230"/>
                        </a:lnTo>
                        <a:lnTo>
                          <a:pt x="1177" y="1231"/>
                        </a:lnTo>
                        <a:lnTo>
                          <a:pt x="1166" y="1231"/>
                        </a:lnTo>
                        <a:lnTo>
                          <a:pt x="1074" y="1228"/>
                        </a:lnTo>
                        <a:lnTo>
                          <a:pt x="985" y="1223"/>
                        </a:lnTo>
                        <a:lnTo>
                          <a:pt x="897" y="1215"/>
                        </a:lnTo>
                        <a:lnTo>
                          <a:pt x="812" y="1205"/>
                        </a:lnTo>
                        <a:lnTo>
                          <a:pt x="731" y="1192"/>
                        </a:lnTo>
                        <a:lnTo>
                          <a:pt x="651" y="1178"/>
                        </a:lnTo>
                        <a:lnTo>
                          <a:pt x="576" y="1161"/>
                        </a:lnTo>
                        <a:lnTo>
                          <a:pt x="503" y="1142"/>
                        </a:lnTo>
                        <a:lnTo>
                          <a:pt x="435" y="1121"/>
                        </a:lnTo>
                        <a:lnTo>
                          <a:pt x="370" y="1099"/>
                        </a:lnTo>
                        <a:lnTo>
                          <a:pt x="311" y="1074"/>
                        </a:lnTo>
                        <a:lnTo>
                          <a:pt x="255" y="1049"/>
                        </a:lnTo>
                        <a:lnTo>
                          <a:pt x="204" y="1020"/>
                        </a:lnTo>
                        <a:lnTo>
                          <a:pt x="159" y="992"/>
                        </a:lnTo>
                        <a:lnTo>
                          <a:pt x="118" y="962"/>
                        </a:lnTo>
                        <a:lnTo>
                          <a:pt x="83" y="930"/>
                        </a:lnTo>
                        <a:lnTo>
                          <a:pt x="54" y="897"/>
                        </a:lnTo>
                        <a:lnTo>
                          <a:pt x="31" y="863"/>
                        </a:lnTo>
                        <a:lnTo>
                          <a:pt x="14" y="829"/>
                        </a:lnTo>
                        <a:lnTo>
                          <a:pt x="4" y="792"/>
                        </a:lnTo>
                        <a:lnTo>
                          <a:pt x="0" y="756"/>
                        </a:lnTo>
                        <a:lnTo>
                          <a:pt x="0" y="0"/>
                        </a:lnTo>
                        <a:close/>
                      </a:path>
                    </a:pathLst>
                  </a:custGeom>
                  <a:solidFill>
                    <a:srgbClr val="3898C5"/>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27" name="Freeform 17"/>
                  <p:cNvSpPr>
                    <a:spLocks/>
                  </p:cNvSpPr>
                  <p:nvPr/>
                </p:nvSpPr>
                <p:spPr bwMode="auto">
                  <a:xfrm>
                    <a:off x="2437714" y="5223793"/>
                    <a:ext cx="223873" cy="285965"/>
                  </a:xfrm>
                  <a:custGeom>
                    <a:avLst/>
                    <a:gdLst>
                      <a:gd name="T0" fmla="*/ 1187 w 1187"/>
                      <a:gd name="T1" fmla="*/ 0 h 1231"/>
                      <a:gd name="T2" fmla="*/ 1187 w 1187"/>
                      <a:gd name="T3" fmla="*/ 756 h 1231"/>
                      <a:gd name="T4" fmla="*/ 1184 w 1187"/>
                      <a:gd name="T5" fmla="*/ 793 h 1231"/>
                      <a:gd name="T6" fmla="*/ 1173 w 1187"/>
                      <a:gd name="T7" fmla="*/ 829 h 1231"/>
                      <a:gd name="T8" fmla="*/ 1156 w 1187"/>
                      <a:gd name="T9" fmla="*/ 863 h 1231"/>
                      <a:gd name="T10" fmla="*/ 1132 w 1187"/>
                      <a:gd name="T11" fmla="*/ 898 h 1231"/>
                      <a:gd name="T12" fmla="*/ 1103 w 1187"/>
                      <a:gd name="T13" fmla="*/ 931 h 1231"/>
                      <a:gd name="T14" fmla="*/ 1067 w 1187"/>
                      <a:gd name="T15" fmla="*/ 964 h 1231"/>
                      <a:gd name="T16" fmla="*/ 1027 w 1187"/>
                      <a:gd name="T17" fmla="*/ 994 h 1231"/>
                      <a:gd name="T18" fmla="*/ 979 w 1187"/>
                      <a:gd name="T19" fmla="*/ 1024 h 1231"/>
                      <a:gd name="T20" fmla="*/ 928 w 1187"/>
                      <a:gd name="T21" fmla="*/ 1052 h 1231"/>
                      <a:gd name="T22" fmla="*/ 872 w 1187"/>
                      <a:gd name="T23" fmla="*/ 1078 h 1231"/>
                      <a:gd name="T24" fmla="*/ 811 w 1187"/>
                      <a:gd name="T25" fmla="*/ 1103 h 1231"/>
                      <a:gd name="T26" fmla="*/ 746 w 1187"/>
                      <a:gd name="T27" fmla="*/ 1125 h 1231"/>
                      <a:gd name="T28" fmla="*/ 677 w 1187"/>
                      <a:gd name="T29" fmla="*/ 1146 h 1231"/>
                      <a:gd name="T30" fmla="*/ 603 w 1187"/>
                      <a:gd name="T31" fmla="*/ 1165 h 1231"/>
                      <a:gd name="T32" fmla="*/ 527 w 1187"/>
                      <a:gd name="T33" fmla="*/ 1182 h 1231"/>
                      <a:gd name="T34" fmla="*/ 447 w 1187"/>
                      <a:gd name="T35" fmla="*/ 1196 h 1231"/>
                      <a:gd name="T36" fmla="*/ 365 w 1187"/>
                      <a:gd name="T37" fmla="*/ 1209 h 1231"/>
                      <a:gd name="T38" fmla="*/ 280 w 1187"/>
                      <a:gd name="T39" fmla="*/ 1218 h 1231"/>
                      <a:gd name="T40" fmla="*/ 192 w 1187"/>
                      <a:gd name="T41" fmla="*/ 1225 h 1231"/>
                      <a:gd name="T42" fmla="*/ 102 w 1187"/>
                      <a:gd name="T43" fmla="*/ 1230 h 1231"/>
                      <a:gd name="T44" fmla="*/ 11 w 1187"/>
                      <a:gd name="T45" fmla="*/ 1231 h 1231"/>
                      <a:gd name="T46" fmla="*/ 0 w 1187"/>
                      <a:gd name="T47" fmla="*/ 1231 h 1231"/>
                      <a:gd name="T48" fmla="*/ 0 w 1187"/>
                      <a:gd name="T49" fmla="*/ 389 h 1231"/>
                      <a:gd name="T50" fmla="*/ 11 w 1187"/>
                      <a:gd name="T51" fmla="*/ 389 h 1231"/>
                      <a:gd name="T52" fmla="*/ 94 w 1187"/>
                      <a:gd name="T53" fmla="*/ 387 h 1231"/>
                      <a:gd name="T54" fmla="*/ 176 w 1187"/>
                      <a:gd name="T55" fmla="*/ 383 h 1231"/>
                      <a:gd name="T56" fmla="*/ 257 w 1187"/>
                      <a:gd name="T57" fmla="*/ 375 h 1231"/>
                      <a:gd name="T58" fmla="*/ 335 w 1187"/>
                      <a:gd name="T59" fmla="*/ 365 h 1231"/>
                      <a:gd name="T60" fmla="*/ 412 w 1187"/>
                      <a:gd name="T61" fmla="*/ 352 h 1231"/>
                      <a:gd name="T62" fmla="*/ 486 w 1187"/>
                      <a:gd name="T63" fmla="*/ 338 h 1231"/>
                      <a:gd name="T64" fmla="*/ 557 w 1187"/>
                      <a:gd name="T65" fmla="*/ 322 h 1231"/>
                      <a:gd name="T66" fmla="*/ 626 w 1187"/>
                      <a:gd name="T67" fmla="*/ 304 h 1231"/>
                      <a:gd name="T68" fmla="*/ 691 w 1187"/>
                      <a:gd name="T69" fmla="*/ 284 h 1231"/>
                      <a:gd name="T70" fmla="*/ 754 w 1187"/>
                      <a:gd name="T71" fmla="*/ 263 h 1231"/>
                      <a:gd name="T72" fmla="*/ 814 w 1187"/>
                      <a:gd name="T73" fmla="*/ 242 h 1231"/>
                      <a:gd name="T74" fmla="*/ 869 w 1187"/>
                      <a:gd name="T75" fmla="*/ 220 h 1231"/>
                      <a:gd name="T76" fmla="*/ 921 w 1187"/>
                      <a:gd name="T77" fmla="*/ 197 h 1231"/>
                      <a:gd name="T78" fmla="*/ 969 w 1187"/>
                      <a:gd name="T79" fmla="*/ 174 h 1231"/>
                      <a:gd name="T80" fmla="*/ 1013 w 1187"/>
                      <a:gd name="T81" fmla="*/ 152 h 1231"/>
                      <a:gd name="T82" fmla="*/ 1052 w 1187"/>
                      <a:gd name="T83" fmla="*/ 129 h 1231"/>
                      <a:gd name="T84" fmla="*/ 1086 w 1187"/>
                      <a:gd name="T85" fmla="*/ 107 h 1231"/>
                      <a:gd name="T86" fmla="*/ 1117 w 1187"/>
                      <a:gd name="T87" fmla="*/ 86 h 1231"/>
                      <a:gd name="T88" fmla="*/ 1142 w 1187"/>
                      <a:gd name="T89" fmla="*/ 66 h 1231"/>
                      <a:gd name="T90" fmla="*/ 1162 w 1187"/>
                      <a:gd name="T91" fmla="*/ 48 h 1231"/>
                      <a:gd name="T92" fmla="*/ 1175 w 1187"/>
                      <a:gd name="T93" fmla="*/ 30 h 1231"/>
                      <a:gd name="T94" fmla="*/ 1185 w 1187"/>
                      <a:gd name="T95" fmla="*/ 14 h 1231"/>
                      <a:gd name="T96" fmla="*/ 1187 w 1187"/>
                      <a:gd name="T97" fmla="*/ 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7" h="1231">
                        <a:moveTo>
                          <a:pt x="1187" y="0"/>
                        </a:moveTo>
                        <a:lnTo>
                          <a:pt x="1187" y="756"/>
                        </a:lnTo>
                        <a:lnTo>
                          <a:pt x="1184" y="793"/>
                        </a:lnTo>
                        <a:lnTo>
                          <a:pt x="1173" y="829"/>
                        </a:lnTo>
                        <a:lnTo>
                          <a:pt x="1156" y="863"/>
                        </a:lnTo>
                        <a:lnTo>
                          <a:pt x="1132" y="898"/>
                        </a:lnTo>
                        <a:lnTo>
                          <a:pt x="1103" y="931"/>
                        </a:lnTo>
                        <a:lnTo>
                          <a:pt x="1067" y="964"/>
                        </a:lnTo>
                        <a:lnTo>
                          <a:pt x="1027" y="994"/>
                        </a:lnTo>
                        <a:lnTo>
                          <a:pt x="979" y="1024"/>
                        </a:lnTo>
                        <a:lnTo>
                          <a:pt x="928" y="1052"/>
                        </a:lnTo>
                        <a:lnTo>
                          <a:pt x="872" y="1078"/>
                        </a:lnTo>
                        <a:lnTo>
                          <a:pt x="811" y="1103"/>
                        </a:lnTo>
                        <a:lnTo>
                          <a:pt x="746" y="1125"/>
                        </a:lnTo>
                        <a:lnTo>
                          <a:pt x="677" y="1146"/>
                        </a:lnTo>
                        <a:lnTo>
                          <a:pt x="603" y="1165"/>
                        </a:lnTo>
                        <a:lnTo>
                          <a:pt x="527" y="1182"/>
                        </a:lnTo>
                        <a:lnTo>
                          <a:pt x="447" y="1196"/>
                        </a:lnTo>
                        <a:lnTo>
                          <a:pt x="365" y="1209"/>
                        </a:lnTo>
                        <a:lnTo>
                          <a:pt x="280" y="1218"/>
                        </a:lnTo>
                        <a:lnTo>
                          <a:pt x="192" y="1225"/>
                        </a:lnTo>
                        <a:lnTo>
                          <a:pt x="102" y="1230"/>
                        </a:lnTo>
                        <a:lnTo>
                          <a:pt x="11" y="1231"/>
                        </a:lnTo>
                        <a:lnTo>
                          <a:pt x="0" y="1231"/>
                        </a:lnTo>
                        <a:lnTo>
                          <a:pt x="0" y="389"/>
                        </a:lnTo>
                        <a:lnTo>
                          <a:pt x="11" y="389"/>
                        </a:lnTo>
                        <a:lnTo>
                          <a:pt x="94" y="387"/>
                        </a:lnTo>
                        <a:lnTo>
                          <a:pt x="176" y="383"/>
                        </a:lnTo>
                        <a:lnTo>
                          <a:pt x="257" y="375"/>
                        </a:lnTo>
                        <a:lnTo>
                          <a:pt x="335" y="365"/>
                        </a:lnTo>
                        <a:lnTo>
                          <a:pt x="412" y="352"/>
                        </a:lnTo>
                        <a:lnTo>
                          <a:pt x="486" y="338"/>
                        </a:lnTo>
                        <a:lnTo>
                          <a:pt x="557" y="322"/>
                        </a:lnTo>
                        <a:lnTo>
                          <a:pt x="626" y="304"/>
                        </a:lnTo>
                        <a:lnTo>
                          <a:pt x="691" y="284"/>
                        </a:lnTo>
                        <a:lnTo>
                          <a:pt x="754" y="263"/>
                        </a:lnTo>
                        <a:lnTo>
                          <a:pt x="814" y="242"/>
                        </a:lnTo>
                        <a:lnTo>
                          <a:pt x="869" y="220"/>
                        </a:lnTo>
                        <a:lnTo>
                          <a:pt x="921" y="197"/>
                        </a:lnTo>
                        <a:lnTo>
                          <a:pt x="969" y="174"/>
                        </a:lnTo>
                        <a:lnTo>
                          <a:pt x="1013" y="152"/>
                        </a:lnTo>
                        <a:lnTo>
                          <a:pt x="1052" y="129"/>
                        </a:lnTo>
                        <a:lnTo>
                          <a:pt x="1086" y="107"/>
                        </a:lnTo>
                        <a:lnTo>
                          <a:pt x="1117" y="86"/>
                        </a:lnTo>
                        <a:lnTo>
                          <a:pt x="1142" y="66"/>
                        </a:lnTo>
                        <a:lnTo>
                          <a:pt x="1162" y="48"/>
                        </a:lnTo>
                        <a:lnTo>
                          <a:pt x="1175" y="30"/>
                        </a:lnTo>
                        <a:lnTo>
                          <a:pt x="1185" y="14"/>
                        </a:lnTo>
                        <a:lnTo>
                          <a:pt x="1187" y="0"/>
                        </a:lnTo>
                        <a:close/>
                      </a:path>
                    </a:pathLst>
                  </a:custGeom>
                  <a:solidFill>
                    <a:srgbClr val="59B3D8"/>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28" name="Freeform 6"/>
                  <p:cNvSpPr>
                    <a:spLocks/>
                  </p:cNvSpPr>
                  <p:nvPr/>
                </p:nvSpPr>
                <p:spPr bwMode="auto">
                  <a:xfrm>
                    <a:off x="2211372" y="5119908"/>
                    <a:ext cx="446036" cy="20017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29" name="Freeform 7"/>
                  <p:cNvSpPr>
                    <a:spLocks/>
                  </p:cNvSpPr>
                  <p:nvPr/>
                </p:nvSpPr>
                <p:spPr bwMode="auto">
                  <a:xfrm>
                    <a:off x="2198554" y="5055824"/>
                    <a:ext cx="471670" cy="238304"/>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rgbClr val="7FBA4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30" name="Freeform 8"/>
                  <p:cNvSpPr>
                    <a:spLocks/>
                  </p:cNvSpPr>
                  <p:nvPr/>
                </p:nvSpPr>
                <p:spPr bwMode="auto">
                  <a:xfrm>
                    <a:off x="2199408" y="5040064"/>
                    <a:ext cx="469961" cy="183017"/>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31" name="Freeform 9"/>
                  <p:cNvSpPr>
                    <a:spLocks/>
                  </p:cNvSpPr>
                  <p:nvPr/>
                </p:nvSpPr>
                <p:spPr bwMode="auto">
                  <a:xfrm>
                    <a:off x="2201117" y="4964567"/>
                    <a:ext cx="466544" cy="234491"/>
                  </a:xfrm>
                  <a:custGeom>
                    <a:avLst/>
                    <a:gdLst>
                      <a:gd name="T0" fmla="*/ 130 w 2461"/>
                      <a:gd name="T1" fmla="*/ 0 h 1113"/>
                      <a:gd name="T2" fmla="*/ 1241 w 2461"/>
                      <a:gd name="T3" fmla="*/ 98 h 1113"/>
                      <a:gd name="T4" fmla="*/ 1231 w 2461"/>
                      <a:gd name="T5" fmla="*/ 454 h 1113"/>
                      <a:gd name="T6" fmla="*/ 1241 w 2461"/>
                      <a:gd name="T7" fmla="*/ 238 h 1113"/>
                      <a:gd name="T8" fmla="*/ 2364 w 2461"/>
                      <a:gd name="T9" fmla="*/ 173 h 1113"/>
                      <a:gd name="T10" fmla="*/ 2364 w 2461"/>
                      <a:gd name="T11" fmla="*/ 346 h 1113"/>
                      <a:gd name="T12" fmla="*/ 2461 w 2461"/>
                      <a:gd name="T13" fmla="*/ 605 h 1113"/>
                      <a:gd name="T14" fmla="*/ 2343 w 2461"/>
                      <a:gd name="T15" fmla="*/ 810 h 1113"/>
                      <a:gd name="T16" fmla="*/ 2341 w 2461"/>
                      <a:gd name="T17" fmla="*/ 812 h 1113"/>
                      <a:gd name="T18" fmla="*/ 2335 w 2461"/>
                      <a:gd name="T19" fmla="*/ 816 h 1113"/>
                      <a:gd name="T20" fmla="*/ 2325 w 2461"/>
                      <a:gd name="T21" fmla="*/ 824 h 1113"/>
                      <a:gd name="T22" fmla="*/ 2313 w 2461"/>
                      <a:gd name="T23" fmla="*/ 833 h 1113"/>
                      <a:gd name="T24" fmla="*/ 2296 w 2461"/>
                      <a:gd name="T25" fmla="*/ 846 h 1113"/>
                      <a:gd name="T26" fmla="*/ 2275 w 2461"/>
                      <a:gd name="T27" fmla="*/ 859 h 1113"/>
                      <a:gd name="T28" fmla="*/ 2250 w 2461"/>
                      <a:gd name="T29" fmla="*/ 875 h 1113"/>
                      <a:gd name="T30" fmla="*/ 2221 w 2461"/>
                      <a:gd name="T31" fmla="*/ 891 h 1113"/>
                      <a:gd name="T32" fmla="*/ 2189 w 2461"/>
                      <a:gd name="T33" fmla="*/ 908 h 1113"/>
                      <a:gd name="T34" fmla="*/ 2152 w 2461"/>
                      <a:gd name="T35" fmla="*/ 927 h 1113"/>
                      <a:gd name="T36" fmla="*/ 2111 w 2461"/>
                      <a:gd name="T37" fmla="*/ 946 h 1113"/>
                      <a:gd name="T38" fmla="*/ 2067 w 2461"/>
                      <a:gd name="T39" fmla="*/ 965 h 1113"/>
                      <a:gd name="T40" fmla="*/ 2018 w 2461"/>
                      <a:gd name="T41" fmla="*/ 985 h 1113"/>
                      <a:gd name="T42" fmla="*/ 1966 w 2461"/>
                      <a:gd name="T43" fmla="*/ 1004 h 1113"/>
                      <a:gd name="T44" fmla="*/ 1909 w 2461"/>
                      <a:gd name="T45" fmla="*/ 1021 h 1113"/>
                      <a:gd name="T46" fmla="*/ 1849 w 2461"/>
                      <a:gd name="T47" fmla="*/ 1039 h 1113"/>
                      <a:gd name="T48" fmla="*/ 1784 w 2461"/>
                      <a:gd name="T49" fmla="*/ 1055 h 1113"/>
                      <a:gd name="T50" fmla="*/ 1713 w 2461"/>
                      <a:gd name="T51" fmla="*/ 1070 h 1113"/>
                      <a:gd name="T52" fmla="*/ 1640 w 2461"/>
                      <a:gd name="T53" fmla="*/ 1083 h 1113"/>
                      <a:gd name="T54" fmla="*/ 1563 w 2461"/>
                      <a:gd name="T55" fmla="*/ 1094 h 1113"/>
                      <a:gd name="T56" fmla="*/ 1481 w 2461"/>
                      <a:gd name="T57" fmla="*/ 1102 h 1113"/>
                      <a:gd name="T58" fmla="*/ 1394 w 2461"/>
                      <a:gd name="T59" fmla="*/ 1108 h 1113"/>
                      <a:gd name="T60" fmla="*/ 1304 w 2461"/>
                      <a:gd name="T61" fmla="*/ 1113 h 1113"/>
                      <a:gd name="T62" fmla="*/ 1209 w 2461"/>
                      <a:gd name="T63" fmla="*/ 1113 h 1113"/>
                      <a:gd name="T64" fmla="*/ 1115 w 2461"/>
                      <a:gd name="T65" fmla="*/ 1109 h 1113"/>
                      <a:gd name="T66" fmla="*/ 1026 w 2461"/>
                      <a:gd name="T67" fmla="*/ 1103 h 1113"/>
                      <a:gd name="T68" fmla="*/ 942 w 2461"/>
                      <a:gd name="T69" fmla="*/ 1095 h 1113"/>
                      <a:gd name="T70" fmla="*/ 861 w 2461"/>
                      <a:gd name="T71" fmla="*/ 1083 h 1113"/>
                      <a:gd name="T72" fmla="*/ 786 w 2461"/>
                      <a:gd name="T73" fmla="*/ 1070 h 1113"/>
                      <a:gd name="T74" fmla="*/ 713 w 2461"/>
                      <a:gd name="T75" fmla="*/ 1054 h 1113"/>
                      <a:gd name="T76" fmla="*/ 646 w 2461"/>
                      <a:gd name="T77" fmla="*/ 1037 h 1113"/>
                      <a:gd name="T78" fmla="*/ 582 w 2461"/>
                      <a:gd name="T79" fmla="*/ 1018 h 1113"/>
                      <a:gd name="T80" fmla="*/ 524 w 2461"/>
                      <a:gd name="T81" fmla="*/ 998 h 1113"/>
                      <a:gd name="T82" fmla="*/ 469 w 2461"/>
                      <a:gd name="T83" fmla="*/ 977 h 1113"/>
                      <a:gd name="T84" fmla="*/ 418 w 2461"/>
                      <a:gd name="T85" fmla="*/ 957 h 1113"/>
                      <a:gd name="T86" fmla="*/ 371 w 2461"/>
                      <a:gd name="T87" fmla="*/ 936 h 1113"/>
                      <a:gd name="T88" fmla="*/ 328 w 2461"/>
                      <a:gd name="T89" fmla="*/ 915 h 1113"/>
                      <a:gd name="T90" fmla="*/ 289 w 2461"/>
                      <a:gd name="T91" fmla="*/ 894 h 1113"/>
                      <a:gd name="T92" fmla="*/ 255 w 2461"/>
                      <a:gd name="T93" fmla="*/ 874 h 1113"/>
                      <a:gd name="T94" fmla="*/ 223 w 2461"/>
                      <a:gd name="T95" fmla="*/ 854 h 1113"/>
                      <a:gd name="T96" fmla="*/ 196 w 2461"/>
                      <a:gd name="T97" fmla="*/ 836 h 1113"/>
                      <a:gd name="T98" fmla="*/ 172 w 2461"/>
                      <a:gd name="T99" fmla="*/ 819 h 1113"/>
                      <a:gd name="T100" fmla="*/ 152 w 2461"/>
                      <a:gd name="T101" fmla="*/ 805 h 1113"/>
                      <a:gd name="T102" fmla="*/ 136 w 2461"/>
                      <a:gd name="T103" fmla="*/ 792 h 1113"/>
                      <a:gd name="T104" fmla="*/ 124 w 2461"/>
                      <a:gd name="T105" fmla="*/ 782 h 1113"/>
                      <a:gd name="T106" fmla="*/ 115 w 2461"/>
                      <a:gd name="T107" fmla="*/ 773 h 1113"/>
                      <a:gd name="T108" fmla="*/ 110 w 2461"/>
                      <a:gd name="T109" fmla="*/ 769 h 1113"/>
                      <a:gd name="T110" fmla="*/ 108 w 2461"/>
                      <a:gd name="T111" fmla="*/ 767 h 1113"/>
                      <a:gd name="T112" fmla="*/ 0 w 2461"/>
                      <a:gd name="T113" fmla="*/ 529 h 1113"/>
                      <a:gd name="T114" fmla="*/ 118 w 2461"/>
                      <a:gd name="T115" fmla="*/ 281 h 1113"/>
                      <a:gd name="T116" fmla="*/ 130 w 2461"/>
                      <a:gd name="T117" fmla="*/ 0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61" h="1113">
                        <a:moveTo>
                          <a:pt x="130" y="0"/>
                        </a:moveTo>
                        <a:lnTo>
                          <a:pt x="1241" y="98"/>
                        </a:lnTo>
                        <a:lnTo>
                          <a:pt x="1231" y="454"/>
                        </a:lnTo>
                        <a:lnTo>
                          <a:pt x="1241" y="238"/>
                        </a:lnTo>
                        <a:lnTo>
                          <a:pt x="2364" y="173"/>
                        </a:lnTo>
                        <a:lnTo>
                          <a:pt x="2364" y="346"/>
                        </a:lnTo>
                        <a:lnTo>
                          <a:pt x="2461" y="605"/>
                        </a:lnTo>
                        <a:lnTo>
                          <a:pt x="2343" y="810"/>
                        </a:lnTo>
                        <a:lnTo>
                          <a:pt x="2341" y="812"/>
                        </a:lnTo>
                        <a:lnTo>
                          <a:pt x="2335" y="816"/>
                        </a:lnTo>
                        <a:lnTo>
                          <a:pt x="2325" y="824"/>
                        </a:lnTo>
                        <a:lnTo>
                          <a:pt x="2313" y="833"/>
                        </a:lnTo>
                        <a:lnTo>
                          <a:pt x="2296" y="846"/>
                        </a:lnTo>
                        <a:lnTo>
                          <a:pt x="2275" y="859"/>
                        </a:lnTo>
                        <a:lnTo>
                          <a:pt x="2250" y="875"/>
                        </a:lnTo>
                        <a:lnTo>
                          <a:pt x="2221" y="891"/>
                        </a:lnTo>
                        <a:lnTo>
                          <a:pt x="2189" y="908"/>
                        </a:lnTo>
                        <a:lnTo>
                          <a:pt x="2152" y="927"/>
                        </a:lnTo>
                        <a:lnTo>
                          <a:pt x="2111" y="946"/>
                        </a:lnTo>
                        <a:lnTo>
                          <a:pt x="2067" y="965"/>
                        </a:lnTo>
                        <a:lnTo>
                          <a:pt x="2018" y="985"/>
                        </a:lnTo>
                        <a:lnTo>
                          <a:pt x="1966" y="1004"/>
                        </a:lnTo>
                        <a:lnTo>
                          <a:pt x="1909" y="1021"/>
                        </a:lnTo>
                        <a:lnTo>
                          <a:pt x="1849" y="1039"/>
                        </a:lnTo>
                        <a:lnTo>
                          <a:pt x="1784" y="1055"/>
                        </a:lnTo>
                        <a:lnTo>
                          <a:pt x="1713" y="1070"/>
                        </a:lnTo>
                        <a:lnTo>
                          <a:pt x="1640" y="1083"/>
                        </a:lnTo>
                        <a:lnTo>
                          <a:pt x="1563" y="1094"/>
                        </a:lnTo>
                        <a:lnTo>
                          <a:pt x="1481" y="1102"/>
                        </a:lnTo>
                        <a:lnTo>
                          <a:pt x="1394" y="1108"/>
                        </a:lnTo>
                        <a:lnTo>
                          <a:pt x="1304" y="1113"/>
                        </a:lnTo>
                        <a:lnTo>
                          <a:pt x="1209" y="1113"/>
                        </a:lnTo>
                        <a:lnTo>
                          <a:pt x="1115" y="1109"/>
                        </a:lnTo>
                        <a:lnTo>
                          <a:pt x="1026" y="1103"/>
                        </a:lnTo>
                        <a:lnTo>
                          <a:pt x="942" y="1095"/>
                        </a:lnTo>
                        <a:lnTo>
                          <a:pt x="861" y="1083"/>
                        </a:lnTo>
                        <a:lnTo>
                          <a:pt x="786" y="1070"/>
                        </a:lnTo>
                        <a:lnTo>
                          <a:pt x="713" y="1054"/>
                        </a:lnTo>
                        <a:lnTo>
                          <a:pt x="646" y="1037"/>
                        </a:lnTo>
                        <a:lnTo>
                          <a:pt x="582" y="1018"/>
                        </a:lnTo>
                        <a:lnTo>
                          <a:pt x="524" y="998"/>
                        </a:lnTo>
                        <a:lnTo>
                          <a:pt x="469" y="977"/>
                        </a:lnTo>
                        <a:lnTo>
                          <a:pt x="418" y="957"/>
                        </a:lnTo>
                        <a:lnTo>
                          <a:pt x="371" y="936"/>
                        </a:lnTo>
                        <a:lnTo>
                          <a:pt x="328" y="915"/>
                        </a:lnTo>
                        <a:lnTo>
                          <a:pt x="289" y="894"/>
                        </a:lnTo>
                        <a:lnTo>
                          <a:pt x="255" y="874"/>
                        </a:lnTo>
                        <a:lnTo>
                          <a:pt x="223" y="854"/>
                        </a:lnTo>
                        <a:lnTo>
                          <a:pt x="196" y="836"/>
                        </a:lnTo>
                        <a:lnTo>
                          <a:pt x="172" y="819"/>
                        </a:lnTo>
                        <a:lnTo>
                          <a:pt x="152" y="805"/>
                        </a:lnTo>
                        <a:lnTo>
                          <a:pt x="136" y="792"/>
                        </a:lnTo>
                        <a:lnTo>
                          <a:pt x="124" y="782"/>
                        </a:lnTo>
                        <a:lnTo>
                          <a:pt x="115" y="773"/>
                        </a:lnTo>
                        <a:lnTo>
                          <a:pt x="110" y="769"/>
                        </a:lnTo>
                        <a:lnTo>
                          <a:pt x="108" y="767"/>
                        </a:lnTo>
                        <a:lnTo>
                          <a:pt x="0" y="529"/>
                        </a:lnTo>
                        <a:lnTo>
                          <a:pt x="118" y="281"/>
                        </a:lnTo>
                        <a:lnTo>
                          <a:pt x="130" y="0"/>
                        </a:lnTo>
                        <a:close/>
                      </a:path>
                    </a:pathLst>
                  </a:custGeom>
                  <a:solidFill>
                    <a:srgbClr val="7FBA4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32" name="Freeform 10"/>
                  <p:cNvSpPr>
                    <a:spLocks/>
                  </p:cNvSpPr>
                  <p:nvPr/>
                </p:nvSpPr>
                <p:spPr bwMode="auto">
                  <a:xfrm>
                    <a:off x="2199408" y="4946650"/>
                    <a:ext cx="469961" cy="186830"/>
                  </a:xfrm>
                  <a:custGeom>
                    <a:avLst/>
                    <a:gdLst>
                      <a:gd name="T0" fmla="*/ 130 w 2472"/>
                      <a:gd name="T1" fmla="*/ 0 h 885"/>
                      <a:gd name="T2" fmla="*/ 1241 w 2472"/>
                      <a:gd name="T3" fmla="*/ 98 h 885"/>
                      <a:gd name="T4" fmla="*/ 1231 w 2472"/>
                      <a:gd name="T5" fmla="*/ 454 h 885"/>
                      <a:gd name="T6" fmla="*/ 1241 w 2472"/>
                      <a:gd name="T7" fmla="*/ 238 h 885"/>
                      <a:gd name="T8" fmla="*/ 2364 w 2472"/>
                      <a:gd name="T9" fmla="*/ 173 h 885"/>
                      <a:gd name="T10" fmla="*/ 2364 w 2472"/>
                      <a:gd name="T11" fmla="*/ 346 h 885"/>
                      <a:gd name="T12" fmla="*/ 2472 w 2472"/>
                      <a:gd name="T13" fmla="*/ 605 h 885"/>
                      <a:gd name="T14" fmla="*/ 2470 w 2472"/>
                      <a:gd name="T15" fmla="*/ 607 h 885"/>
                      <a:gd name="T16" fmla="*/ 2462 w 2472"/>
                      <a:gd name="T17" fmla="*/ 611 h 885"/>
                      <a:gd name="T18" fmla="*/ 2450 w 2472"/>
                      <a:gd name="T19" fmla="*/ 617 h 885"/>
                      <a:gd name="T20" fmla="*/ 2433 w 2472"/>
                      <a:gd name="T21" fmla="*/ 627 h 885"/>
                      <a:gd name="T22" fmla="*/ 2412 w 2472"/>
                      <a:gd name="T23" fmla="*/ 638 h 885"/>
                      <a:gd name="T24" fmla="*/ 2386 w 2472"/>
                      <a:gd name="T25" fmla="*/ 651 h 885"/>
                      <a:gd name="T26" fmla="*/ 2355 w 2472"/>
                      <a:gd name="T27" fmla="*/ 664 h 885"/>
                      <a:gd name="T28" fmla="*/ 2320 w 2472"/>
                      <a:gd name="T29" fmla="*/ 680 h 885"/>
                      <a:gd name="T30" fmla="*/ 2281 w 2472"/>
                      <a:gd name="T31" fmla="*/ 697 h 885"/>
                      <a:gd name="T32" fmla="*/ 2237 w 2472"/>
                      <a:gd name="T33" fmla="*/ 714 h 885"/>
                      <a:gd name="T34" fmla="*/ 2189 w 2472"/>
                      <a:gd name="T35" fmla="*/ 731 h 885"/>
                      <a:gd name="T36" fmla="*/ 2138 w 2472"/>
                      <a:gd name="T37" fmla="*/ 749 h 885"/>
                      <a:gd name="T38" fmla="*/ 2081 w 2472"/>
                      <a:gd name="T39" fmla="*/ 767 h 885"/>
                      <a:gd name="T40" fmla="*/ 2021 w 2472"/>
                      <a:gd name="T41" fmla="*/ 785 h 885"/>
                      <a:gd name="T42" fmla="*/ 1957 w 2472"/>
                      <a:gd name="T43" fmla="*/ 802 h 885"/>
                      <a:gd name="T44" fmla="*/ 1889 w 2472"/>
                      <a:gd name="T45" fmla="*/ 818 h 885"/>
                      <a:gd name="T46" fmla="*/ 1818 w 2472"/>
                      <a:gd name="T47" fmla="*/ 833 h 885"/>
                      <a:gd name="T48" fmla="*/ 1744 w 2472"/>
                      <a:gd name="T49" fmla="*/ 847 h 885"/>
                      <a:gd name="T50" fmla="*/ 1664 w 2472"/>
                      <a:gd name="T51" fmla="*/ 858 h 885"/>
                      <a:gd name="T52" fmla="*/ 1583 w 2472"/>
                      <a:gd name="T53" fmla="*/ 869 h 885"/>
                      <a:gd name="T54" fmla="*/ 1497 w 2472"/>
                      <a:gd name="T55" fmla="*/ 877 h 885"/>
                      <a:gd name="T56" fmla="*/ 1408 w 2472"/>
                      <a:gd name="T57" fmla="*/ 882 h 885"/>
                      <a:gd name="T58" fmla="*/ 1316 w 2472"/>
                      <a:gd name="T59" fmla="*/ 885 h 885"/>
                      <a:gd name="T60" fmla="*/ 1220 w 2472"/>
                      <a:gd name="T61" fmla="*/ 885 h 885"/>
                      <a:gd name="T62" fmla="*/ 1124 w 2472"/>
                      <a:gd name="T63" fmla="*/ 883 h 885"/>
                      <a:gd name="T64" fmla="*/ 1033 w 2472"/>
                      <a:gd name="T65" fmla="*/ 877 h 885"/>
                      <a:gd name="T66" fmla="*/ 944 w 2472"/>
                      <a:gd name="T67" fmla="*/ 868 h 885"/>
                      <a:gd name="T68" fmla="*/ 860 w 2472"/>
                      <a:gd name="T69" fmla="*/ 856 h 885"/>
                      <a:gd name="T70" fmla="*/ 778 w 2472"/>
                      <a:gd name="T71" fmla="*/ 841 h 885"/>
                      <a:gd name="T72" fmla="*/ 702 w 2472"/>
                      <a:gd name="T73" fmla="*/ 826 h 885"/>
                      <a:gd name="T74" fmla="*/ 627 w 2472"/>
                      <a:gd name="T75" fmla="*/ 808 h 885"/>
                      <a:gd name="T76" fmla="*/ 558 w 2472"/>
                      <a:gd name="T77" fmla="*/ 789 h 885"/>
                      <a:gd name="T78" fmla="*/ 492 w 2472"/>
                      <a:gd name="T79" fmla="*/ 768 h 885"/>
                      <a:gd name="T80" fmla="*/ 431 w 2472"/>
                      <a:gd name="T81" fmla="*/ 747 h 885"/>
                      <a:gd name="T82" fmla="*/ 372 w 2472"/>
                      <a:gd name="T83" fmla="*/ 725 h 885"/>
                      <a:gd name="T84" fmla="*/ 319 w 2472"/>
                      <a:gd name="T85" fmla="*/ 703 h 885"/>
                      <a:gd name="T86" fmla="*/ 268 w 2472"/>
                      <a:gd name="T87" fmla="*/ 682 h 885"/>
                      <a:gd name="T88" fmla="*/ 222 w 2472"/>
                      <a:gd name="T89" fmla="*/ 660 h 885"/>
                      <a:gd name="T90" fmla="*/ 181 w 2472"/>
                      <a:gd name="T91" fmla="*/ 639 h 885"/>
                      <a:gd name="T92" fmla="*/ 144 w 2472"/>
                      <a:gd name="T93" fmla="*/ 619 h 885"/>
                      <a:gd name="T94" fmla="*/ 110 w 2472"/>
                      <a:gd name="T95" fmla="*/ 600 h 885"/>
                      <a:gd name="T96" fmla="*/ 81 w 2472"/>
                      <a:gd name="T97" fmla="*/ 584 h 885"/>
                      <a:gd name="T98" fmla="*/ 57 w 2472"/>
                      <a:gd name="T99" fmla="*/ 568 h 885"/>
                      <a:gd name="T100" fmla="*/ 37 w 2472"/>
                      <a:gd name="T101" fmla="*/ 555 h 885"/>
                      <a:gd name="T102" fmla="*/ 20 w 2472"/>
                      <a:gd name="T103" fmla="*/ 544 h 885"/>
                      <a:gd name="T104" fmla="*/ 10 w 2472"/>
                      <a:gd name="T105" fmla="*/ 537 h 885"/>
                      <a:gd name="T106" fmla="*/ 2 w 2472"/>
                      <a:gd name="T107" fmla="*/ 531 h 885"/>
                      <a:gd name="T108" fmla="*/ 0 w 2472"/>
                      <a:gd name="T109" fmla="*/ 529 h 885"/>
                      <a:gd name="T110" fmla="*/ 118 w 2472"/>
                      <a:gd name="T111" fmla="*/ 281 h 885"/>
                      <a:gd name="T112" fmla="*/ 130 w 2472"/>
                      <a:gd name="T113" fmla="*/ 0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85">
                        <a:moveTo>
                          <a:pt x="130" y="0"/>
                        </a:moveTo>
                        <a:lnTo>
                          <a:pt x="1241" y="98"/>
                        </a:lnTo>
                        <a:lnTo>
                          <a:pt x="1231" y="454"/>
                        </a:lnTo>
                        <a:lnTo>
                          <a:pt x="1241" y="238"/>
                        </a:lnTo>
                        <a:lnTo>
                          <a:pt x="2364" y="173"/>
                        </a:lnTo>
                        <a:lnTo>
                          <a:pt x="2364" y="346"/>
                        </a:lnTo>
                        <a:lnTo>
                          <a:pt x="2472" y="605"/>
                        </a:lnTo>
                        <a:lnTo>
                          <a:pt x="2470" y="607"/>
                        </a:lnTo>
                        <a:lnTo>
                          <a:pt x="2462" y="611"/>
                        </a:lnTo>
                        <a:lnTo>
                          <a:pt x="2450" y="617"/>
                        </a:lnTo>
                        <a:lnTo>
                          <a:pt x="2433" y="627"/>
                        </a:lnTo>
                        <a:lnTo>
                          <a:pt x="2412" y="638"/>
                        </a:lnTo>
                        <a:lnTo>
                          <a:pt x="2386" y="651"/>
                        </a:lnTo>
                        <a:lnTo>
                          <a:pt x="2355" y="664"/>
                        </a:lnTo>
                        <a:lnTo>
                          <a:pt x="2320" y="680"/>
                        </a:lnTo>
                        <a:lnTo>
                          <a:pt x="2281" y="697"/>
                        </a:lnTo>
                        <a:lnTo>
                          <a:pt x="2237" y="714"/>
                        </a:lnTo>
                        <a:lnTo>
                          <a:pt x="2189" y="731"/>
                        </a:lnTo>
                        <a:lnTo>
                          <a:pt x="2138" y="749"/>
                        </a:lnTo>
                        <a:lnTo>
                          <a:pt x="2081" y="767"/>
                        </a:lnTo>
                        <a:lnTo>
                          <a:pt x="2021" y="785"/>
                        </a:lnTo>
                        <a:lnTo>
                          <a:pt x="1957" y="802"/>
                        </a:lnTo>
                        <a:lnTo>
                          <a:pt x="1889" y="818"/>
                        </a:lnTo>
                        <a:lnTo>
                          <a:pt x="1818" y="833"/>
                        </a:lnTo>
                        <a:lnTo>
                          <a:pt x="1744" y="847"/>
                        </a:lnTo>
                        <a:lnTo>
                          <a:pt x="1664" y="858"/>
                        </a:lnTo>
                        <a:lnTo>
                          <a:pt x="1583" y="869"/>
                        </a:lnTo>
                        <a:lnTo>
                          <a:pt x="1497" y="877"/>
                        </a:lnTo>
                        <a:lnTo>
                          <a:pt x="1408" y="882"/>
                        </a:lnTo>
                        <a:lnTo>
                          <a:pt x="1316" y="885"/>
                        </a:lnTo>
                        <a:lnTo>
                          <a:pt x="1220" y="885"/>
                        </a:lnTo>
                        <a:lnTo>
                          <a:pt x="1124" y="883"/>
                        </a:lnTo>
                        <a:lnTo>
                          <a:pt x="1033" y="877"/>
                        </a:lnTo>
                        <a:lnTo>
                          <a:pt x="944" y="868"/>
                        </a:lnTo>
                        <a:lnTo>
                          <a:pt x="860" y="856"/>
                        </a:lnTo>
                        <a:lnTo>
                          <a:pt x="778" y="841"/>
                        </a:lnTo>
                        <a:lnTo>
                          <a:pt x="702" y="826"/>
                        </a:lnTo>
                        <a:lnTo>
                          <a:pt x="627" y="808"/>
                        </a:lnTo>
                        <a:lnTo>
                          <a:pt x="558" y="789"/>
                        </a:lnTo>
                        <a:lnTo>
                          <a:pt x="492" y="768"/>
                        </a:lnTo>
                        <a:lnTo>
                          <a:pt x="431" y="747"/>
                        </a:lnTo>
                        <a:lnTo>
                          <a:pt x="372" y="725"/>
                        </a:lnTo>
                        <a:lnTo>
                          <a:pt x="319" y="703"/>
                        </a:lnTo>
                        <a:lnTo>
                          <a:pt x="268" y="682"/>
                        </a:lnTo>
                        <a:lnTo>
                          <a:pt x="222" y="660"/>
                        </a:lnTo>
                        <a:lnTo>
                          <a:pt x="181" y="639"/>
                        </a:lnTo>
                        <a:lnTo>
                          <a:pt x="144" y="619"/>
                        </a:lnTo>
                        <a:lnTo>
                          <a:pt x="110" y="600"/>
                        </a:lnTo>
                        <a:lnTo>
                          <a:pt x="81" y="584"/>
                        </a:lnTo>
                        <a:lnTo>
                          <a:pt x="57" y="568"/>
                        </a:lnTo>
                        <a:lnTo>
                          <a:pt x="37" y="555"/>
                        </a:lnTo>
                        <a:lnTo>
                          <a:pt x="20" y="544"/>
                        </a:lnTo>
                        <a:lnTo>
                          <a:pt x="10" y="537"/>
                        </a:lnTo>
                        <a:lnTo>
                          <a:pt x="2" y="531"/>
                        </a:lnTo>
                        <a:lnTo>
                          <a:pt x="0" y="529"/>
                        </a:lnTo>
                        <a:lnTo>
                          <a:pt x="118" y="281"/>
                        </a:lnTo>
                        <a:lnTo>
                          <a:pt x="130"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33" name="Freeform 16"/>
                  <p:cNvSpPr>
                    <a:spLocks/>
                  </p:cNvSpPr>
                  <p:nvPr/>
                </p:nvSpPr>
                <p:spPr bwMode="auto">
                  <a:xfrm>
                    <a:off x="2206752" y="4803610"/>
                    <a:ext cx="446035" cy="289777"/>
                  </a:xfrm>
                  <a:custGeom>
                    <a:avLst/>
                    <a:gdLst>
                      <a:gd name="T0" fmla="*/ 1 w 2353"/>
                      <a:gd name="T1" fmla="*/ 2 h 1231"/>
                      <a:gd name="T2" fmla="*/ 9 w 2353"/>
                      <a:gd name="T3" fmla="*/ 12 h 1231"/>
                      <a:gd name="T4" fmla="*/ 27 w 2353"/>
                      <a:gd name="T5" fmla="*/ 32 h 1231"/>
                      <a:gd name="T6" fmla="*/ 54 w 2353"/>
                      <a:gd name="T7" fmla="*/ 59 h 1231"/>
                      <a:gd name="T8" fmla="*/ 94 w 2353"/>
                      <a:gd name="T9" fmla="*/ 92 h 1231"/>
                      <a:gd name="T10" fmla="*/ 146 w 2353"/>
                      <a:gd name="T11" fmla="*/ 128 h 1231"/>
                      <a:gd name="T12" fmla="*/ 212 w 2353"/>
                      <a:gd name="T13" fmla="*/ 168 h 1231"/>
                      <a:gd name="T14" fmla="*/ 293 w 2353"/>
                      <a:gd name="T15" fmla="*/ 209 h 1231"/>
                      <a:gd name="T16" fmla="*/ 391 w 2353"/>
                      <a:gd name="T17" fmla="*/ 250 h 1231"/>
                      <a:gd name="T18" fmla="*/ 506 w 2353"/>
                      <a:gd name="T19" fmla="*/ 287 h 1231"/>
                      <a:gd name="T20" fmla="*/ 639 w 2353"/>
                      <a:gd name="T21" fmla="*/ 323 h 1231"/>
                      <a:gd name="T22" fmla="*/ 793 w 2353"/>
                      <a:gd name="T23" fmla="*/ 352 h 1231"/>
                      <a:gd name="T24" fmla="*/ 968 w 2353"/>
                      <a:gd name="T25" fmla="*/ 374 h 1231"/>
                      <a:gd name="T26" fmla="*/ 1166 w 2353"/>
                      <a:gd name="T27" fmla="*/ 389 h 1231"/>
                      <a:gd name="T28" fmla="*/ 1260 w 2353"/>
                      <a:gd name="T29" fmla="*/ 387 h 1231"/>
                      <a:gd name="T30" fmla="*/ 1423 w 2353"/>
                      <a:gd name="T31" fmla="*/ 375 h 1231"/>
                      <a:gd name="T32" fmla="*/ 1578 w 2353"/>
                      <a:gd name="T33" fmla="*/ 352 h 1231"/>
                      <a:gd name="T34" fmla="*/ 1723 w 2353"/>
                      <a:gd name="T35" fmla="*/ 322 h 1231"/>
                      <a:gd name="T36" fmla="*/ 1857 w 2353"/>
                      <a:gd name="T37" fmla="*/ 284 h 1231"/>
                      <a:gd name="T38" fmla="*/ 1980 w 2353"/>
                      <a:gd name="T39" fmla="*/ 242 h 1231"/>
                      <a:gd name="T40" fmla="*/ 2087 w 2353"/>
                      <a:gd name="T41" fmla="*/ 197 h 1231"/>
                      <a:gd name="T42" fmla="*/ 2179 w 2353"/>
                      <a:gd name="T43" fmla="*/ 152 h 1231"/>
                      <a:gd name="T44" fmla="*/ 2252 w 2353"/>
                      <a:gd name="T45" fmla="*/ 107 h 1231"/>
                      <a:gd name="T46" fmla="*/ 2308 w 2353"/>
                      <a:gd name="T47" fmla="*/ 66 h 1231"/>
                      <a:gd name="T48" fmla="*/ 2341 w 2353"/>
                      <a:gd name="T49" fmla="*/ 30 h 1231"/>
                      <a:gd name="T50" fmla="*/ 2353 w 2353"/>
                      <a:gd name="T51" fmla="*/ 0 h 1231"/>
                      <a:gd name="T52" fmla="*/ 2350 w 2353"/>
                      <a:gd name="T53" fmla="*/ 793 h 1231"/>
                      <a:gd name="T54" fmla="*/ 2322 w 2353"/>
                      <a:gd name="T55" fmla="*/ 863 h 1231"/>
                      <a:gd name="T56" fmla="*/ 2269 w 2353"/>
                      <a:gd name="T57" fmla="*/ 931 h 1231"/>
                      <a:gd name="T58" fmla="*/ 2193 w 2353"/>
                      <a:gd name="T59" fmla="*/ 994 h 1231"/>
                      <a:gd name="T60" fmla="*/ 2094 w 2353"/>
                      <a:gd name="T61" fmla="*/ 1052 h 1231"/>
                      <a:gd name="T62" fmla="*/ 1977 w 2353"/>
                      <a:gd name="T63" fmla="*/ 1103 h 1231"/>
                      <a:gd name="T64" fmla="*/ 1843 w 2353"/>
                      <a:gd name="T65" fmla="*/ 1146 h 1231"/>
                      <a:gd name="T66" fmla="*/ 1693 w 2353"/>
                      <a:gd name="T67" fmla="*/ 1182 h 1231"/>
                      <a:gd name="T68" fmla="*/ 1531 w 2353"/>
                      <a:gd name="T69" fmla="*/ 1209 h 1231"/>
                      <a:gd name="T70" fmla="*/ 1358 w 2353"/>
                      <a:gd name="T71" fmla="*/ 1225 h 1231"/>
                      <a:gd name="T72" fmla="*/ 1177 w 2353"/>
                      <a:gd name="T73" fmla="*/ 1231 h 1231"/>
                      <a:gd name="T74" fmla="*/ 1074 w 2353"/>
                      <a:gd name="T75" fmla="*/ 1228 h 1231"/>
                      <a:gd name="T76" fmla="*/ 897 w 2353"/>
                      <a:gd name="T77" fmla="*/ 1215 h 1231"/>
                      <a:gd name="T78" fmla="*/ 731 w 2353"/>
                      <a:gd name="T79" fmla="*/ 1192 h 1231"/>
                      <a:gd name="T80" fmla="*/ 576 w 2353"/>
                      <a:gd name="T81" fmla="*/ 1161 h 1231"/>
                      <a:gd name="T82" fmla="*/ 435 w 2353"/>
                      <a:gd name="T83" fmla="*/ 1121 h 1231"/>
                      <a:gd name="T84" fmla="*/ 311 w 2353"/>
                      <a:gd name="T85" fmla="*/ 1074 h 1231"/>
                      <a:gd name="T86" fmla="*/ 204 w 2353"/>
                      <a:gd name="T87" fmla="*/ 1020 h 1231"/>
                      <a:gd name="T88" fmla="*/ 118 w 2353"/>
                      <a:gd name="T89" fmla="*/ 962 h 1231"/>
                      <a:gd name="T90" fmla="*/ 54 w 2353"/>
                      <a:gd name="T91" fmla="*/ 897 h 1231"/>
                      <a:gd name="T92" fmla="*/ 14 w 2353"/>
                      <a:gd name="T93" fmla="*/ 829 h 1231"/>
                      <a:gd name="T94" fmla="*/ 0 w 2353"/>
                      <a:gd name="T95" fmla="*/ 756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53" h="1231">
                        <a:moveTo>
                          <a:pt x="0" y="0"/>
                        </a:moveTo>
                        <a:lnTo>
                          <a:pt x="1" y="2"/>
                        </a:lnTo>
                        <a:lnTo>
                          <a:pt x="4" y="6"/>
                        </a:lnTo>
                        <a:lnTo>
                          <a:pt x="9" y="12"/>
                        </a:lnTo>
                        <a:lnTo>
                          <a:pt x="16" y="21"/>
                        </a:lnTo>
                        <a:lnTo>
                          <a:pt x="27" y="32"/>
                        </a:lnTo>
                        <a:lnTo>
                          <a:pt x="39" y="44"/>
                        </a:lnTo>
                        <a:lnTo>
                          <a:pt x="54" y="59"/>
                        </a:lnTo>
                        <a:lnTo>
                          <a:pt x="72" y="75"/>
                        </a:lnTo>
                        <a:lnTo>
                          <a:pt x="94" y="92"/>
                        </a:lnTo>
                        <a:lnTo>
                          <a:pt x="118" y="109"/>
                        </a:lnTo>
                        <a:lnTo>
                          <a:pt x="146" y="128"/>
                        </a:lnTo>
                        <a:lnTo>
                          <a:pt x="177" y="148"/>
                        </a:lnTo>
                        <a:lnTo>
                          <a:pt x="212" y="168"/>
                        </a:lnTo>
                        <a:lnTo>
                          <a:pt x="251" y="189"/>
                        </a:lnTo>
                        <a:lnTo>
                          <a:pt x="293" y="209"/>
                        </a:lnTo>
                        <a:lnTo>
                          <a:pt x="340" y="230"/>
                        </a:lnTo>
                        <a:lnTo>
                          <a:pt x="391" y="250"/>
                        </a:lnTo>
                        <a:lnTo>
                          <a:pt x="446" y="269"/>
                        </a:lnTo>
                        <a:lnTo>
                          <a:pt x="506" y="287"/>
                        </a:lnTo>
                        <a:lnTo>
                          <a:pt x="570" y="306"/>
                        </a:lnTo>
                        <a:lnTo>
                          <a:pt x="639" y="323"/>
                        </a:lnTo>
                        <a:lnTo>
                          <a:pt x="714" y="338"/>
                        </a:lnTo>
                        <a:lnTo>
                          <a:pt x="793" y="352"/>
                        </a:lnTo>
                        <a:lnTo>
                          <a:pt x="878" y="364"/>
                        </a:lnTo>
                        <a:lnTo>
                          <a:pt x="968" y="374"/>
                        </a:lnTo>
                        <a:lnTo>
                          <a:pt x="1065" y="383"/>
                        </a:lnTo>
                        <a:lnTo>
                          <a:pt x="1166" y="389"/>
                        </a:lnTo>
                        <a:lnTo>
                          <a:pt x="1177" y="389"/>
                        </a:lnTo>
                        <a:lnTo>
                          <a:pt x="1260" y="387"/>
                        </a:lnTo>
                        <a:lnTo>
                          <a:pt x="1342" y="383"/>
                        </a:lnTo>
                        <a:lnTo>
                          <a:pt x="1423" y="375"/>
                        </a:lnTo>
                        <a:lnTo>
                          <a:pt x="1501" y="365"/>
                        </a:lnTo>
                        <a:lnTo>
                          <a:pt x="1578" y="352"/>
                        </a:lnTo>
                        <a:lnTo>
                          <a:pt x="1652" y="338"/>
                        </a:lnTo>
                        <a:lnTo>
                          <a:pt x="1723" y="322"/>
                        </a:lnTo>
                        <a:lnTo>
                          <a:pt x="1792" y="304"/>
                        </a:lnTo>
                        <a:lnTo>
                          <a:pt x="1857" y="284"/>
                        </a:lnTo>
                        <a:lnTo>
                          <a:pt x="1920" y="263"/>
                        </a:lnTo>
                        <a:lnTo>
                          <a:pt x="1980" y="242"/>
                        </a:lnTo>
                        <a:lnTo>
                          <a:pt x="2035" y="220"/>
                        </a:lnTo>
                        <a:lnTo>
                          <a:pt x="2087" y="197"/>
                        </a:lnTo>
                        <a:lnTo>
                          <a:pt x="2135" y="174"/>
                        </a:lnTo>
                        <a:lnTo>
                          <a:pt x="2179" y="152"/>
                        </a:lnTo>
                        <a:lnTo>
                          <a:pt x="2218" y="129"/>
                        </a:lnTo>
                        <a:lnTo>
                          <a:pt x="2252" y="107"/>
                        </a:lnTo>
                        <a:lnTo>
                          <a:pt x="2283" y="86"/>
                        </a:lnTo>
                        <a:lnTo>
                          <a:pt x="2308" y="66"/>
                        </a:lnTo>
                        <a:lnTo>
                          <a:pt x="2328" y="48"/>
                        </a:lnTo>
                        <a:lnTo>
                          <a:pt x="2341" y="30"/>
                        </a:lnTo>
                        <a:lnTo>
                          <a:pt x="2351" y="14"/>
                        </a:lnTo>
                        <a:lnTo>
                          <a:pt x="2353" y="0"/>
                        </a:lnTo>
                        <a:lnTo>
                          <a:pt x="2353" y="756"/>
                        </a:lnTo>
                        <a:lnTo>
                          <a:pt x="2350" y="793"/>
                        </a:lnTo>
                        <a:lnTo>
                          <a:pt x="2339" y="829"/>
                        </a:lnTo>
                        <a:lnTo>
                          <a:pt x="2322" y="863"/>
                        </a:lnTo>
                        <a:lnTo>
                          <a:pt x="2298" y="898"/>
                        </a:lnTo>
                        <a:lnTo>
                          <a:pt x="2269" y="931"/>
                        </a:lnTo>
                        <a:lnTo>
                          <a:pt x="2233" y="964"/>
                        </a:lnTo>
                        <a:lnTo>
                          <a:pt x="2193" y="994"/>
                        </a:lnTo>
                        <a:lnTo>
                          <a:pt x="2145" y="1024"/>
                        </a:lnTo>
                        <a:lnTo>
                          <a:pt x="2094" y="1052"/>
                        </a:lnTo>
                        <a:lnTo>
                          <a:pt x="2038" y="1078"/>
                        </a:lnTo>
                        <a:lnTo>
                          <a:pt x="1977" y="1103"/>
                        </a:lnTo>
                        <a:lnTo>
                          <a:pt x="1912" y="1125"/>
                        </a:lnTo>
                        <a:lnTo>
                          <a:pt x="1843" y="1146"/>
                        </a:lnTo>
                        <a:lnTo>
                          <a:pt x="1769" y="1165"/>
                        </a:lnTo>
                        <a:lnTo>
                          <a:pt x="1693" y="1182"/>
                        </a:lnTo>
                        <a:lnTo>
                          <a:pt x="1613" y="1196"/>
                        </a:lnTo>
                        <a:lnTo>
                          <a:pt x="1531" y="1209"/>
                        </a:lnTo>
                        <a:lnTo>
                          <a:pt x="1446" y="1218"/>
                        </a:lnTo>
                        <a:lnTo>
                          <a:pt x="1358" y="1225"/>
                        </a:lnTo>
                        <a:lnTo>
                          <a:pt x="1268" y="1230"/>
                        </a:lnTo>
                        <a:lnTo>
                          <a:pt x="1177" y="1231"/>
                        </a:lnTo>
                        <a:lnTo>
                          <a:pt x="1166" y="1231"/>
                        </a:lnTo>
                        <a:lnTo>
                          <a:pt x="1074" y="1228"/>
                        </a:lnTo>
                        <a:lnTo>
                          <a:pt x="985" y="1223"/>
                        </a:lnTo>
                        <a:lnTo>
                          <a:pt x="897" y="1215"/>
                        </a:lnTo>
                        <a:lnTo>
                          <a:pt x="812" y="1205"/>
                        </a:lnTo>
                        <a:lnTo>
                          <a:pt x="731" y="1192"/>
                        </a:lnTo>
                        <a:lnTo>
                          <a:pt x="651" y="1178"/>
                        </a:lnTo>
                        <a:lnTo>
                          <a:pt x="576" y="1161"/>
                        </a:lnTo>
                        <a:lnTo>
                          <a:pt x="503" y="1142"/>
                        </a:lnTo>
                        <a:lnTo>
                          <a:pt x="435" y="1121"/>
                        </a:lnTo>
                        <a:lnTo>
                          <a:pt x="370" y="1099"/>
                        </a:lnTo>
                        <a:lnTo>
                          <a:pt x="311" y="1074"/>
                        </a:lnTo>
                        <a:lnTo>
                          <a:pt x="255" y="1049"/>
                        </a:lnTo>
                        <a:lnTo>
                          <a:pt x="204" y="1020"/>
                        </a:lnTo>
                        <a:lnTo>
                          <a:pt x="159" y="992"/>
                        </a:lnTo>
                        <a:lnTo>
                          <a:pt x="118" y="962"/>
                        </a:lnTo>
                        <a:lnTo>
                          <a:pt x="83" y="930"/>
                        </a:lnTo>
                        <a:lnTo>
                          <a:pt x="54" y="897"/>
                        </a:lnTo>
                        <a:lnTo>
                          <a:pt x="31" y="863"/>
                        </a:lnTo>
                        <a:lnTo>
                          <a:pt x="14" y="829"/>
                        </a:lnTo>
                        <a:lnTo>
                          <a:pt x="4" y="792"/>
                        </a:lnTo>
                        <a:lnTo>
                          <a:pt x="0" y="756"/>
                        </a:lnTo>
                        <a:lnTo>
                          <a:pt x="0" y="0"/>
                        </a:lnTo>
                        <a:close/>
                      </a:path>
                    </a:pathLst>
                  </a:custGeom>
                  <a:solidFill>
                    <a:srgbClr val="3898C5"/>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34" name="Freeform 17"/>
                  <p:cNvSpPr>
                    <a:spLocks/>
                  </p:cNvSpPr>
                  <p:nvPr/>
                </p:nvSpPr>
                <p:spPr bwMode="auto">
                  <a:xfrm>
                    <a:off x="2432332" y="4805516"/>
                    <a:ext cx="223872" cy="285965"/>
                  </a:xfrm>
                  <a:custGeom>
                    <a:avLst/>
                    <a:gdLst>
                      <a:gd name="T0" fmla="*/ 1187 w 1187"/>
                      <a:gd name="T1" fmla="*/ 0 h 1231"/>
                      <a:gd name="T2" fmla="*/ 1187 w 1187"/>
                      <a:gd name="T3" fmla="*/ 756 h 1231"/>
                      <a:gd name="T4" fmla="*/ 1184 w 1187"/>
                      <a:gd name="T5" fmla="*/ 793 h 1231"/>
                      <a:gd name="T6" fmla="*/ 1173 w 1187"/>
                      <a:gd name="T7" fmla="*/ 829 h 1231"/>
                      <a:gd name="T8" fmla="*/ 1156 w 1187"/>
                      <a:gd name="T9" fmla="*/ 863 h 1231"/>
                      <a:gd name="T10" fmla="*/ 1132 w 1187"/>
                      <a:gd name="T11" fmla="*/ 898 h 1231"/>
                      <a:gd name="T12" fmla="*/ 1103 w 1187"/>
                      <a:gd name="T13" fmla="*/ 931 h 1231"/>
                      <a:gd name="T14" fmla="*/ 1067 w 1187"/>
                      <a:gd name="T15" fmla="*/ 964 h 1231"/>
                      <a:gd name="T16" fmla="*/ 1027 w 1187"/>
                      <a:gd name="T17" fmla="*/ 994 h 1231"/>
                      <a:gd name="T18" fmla="*/ 979 w 1187"/>
                      <a:gd name="T19" fmla="*/ 1024 h 1231"/>
                      <a:gd name="T20" fmla="*/ 928 w 1187"/>
                      <a:gd name="T21" fmla="*/ 1052 h 1231"/>
                      <a:gd name="T22" fmla="*/ 872 w 1187"/>
                      <a:gd name="T23" fmla="*/ 1078 h 1231"/>
                      <a:gd name="T24" fmla="*/ 811 w 1187"/>
                      <a:gd name="T25" fmla="*/ 1103 h 1231"/>
                      <a:gd name="T26" fmla="*/ 746 w 1187"/>
                      <a:gd name="T27" fmla="*/ 1125 h 1231"/>
                      <a:gd name="T28" fmla="*/ 677 w 1187"/>
                      <a:gd name="T29" fmla="*/ 1146 h 1231"/>
                      <a:gd name="T30" fmla="*/ 603 w 1187"/>
                      <a:gd name="T31" fmla="*/ 1165 h 1231"/>
                      <a:gd name="T32" fmla="*/ 527 w 1187"/>
                      <a:gd name="T33" fmla="*/ 1182 h 1231"/>
                      <a:gd name="T34" fmla="*/ 447 w 1187"/>
                      <a:gd name="T35" fmla="*/ 1196 h 1231"/>
                      <a:gd name="T36" fmla="*/ 365 w 1187"/>
                      <a:gd name="T37" fmla="*/ 1209 h 1231"/>
                      <a:gd name="T38" fmla="*/ 280 w 1187"/>
                      <a:gd name="T39" fmla="*/ 1218 h 1231"/>
                      <a:gd name="T40" fmla="*/ 192 w 1187"/>
                      <a:gd name="T41" fmla="*/ 1225 h 1231"/>
                      <a:gd name="T42" fmla="*/ 102 w 1187"/>
                      <a:gd name="T43" fmla="*/ 1230 h 1231"/>
                      <a:gd name="T44" fmla="*/ 11 w 1187"/>
                      <a:gd name="T45" fmla="*/ 1231 h 1231"/>
                      <a:gd name="T46" fmla="*/ 0 w 1187"/>
                      <a:gd name="T47" fmla="*/ 1231 h 1231"/>
                      <a:gd name="T48" fmla="*/ 0 w 1187"/>
                      <a:gd name="T49" fmla="*/ 389 h 1231"/>
                      <a:gd name="T50" fmla="*/ 11 w 1187"/>
                      <a:gd name="T51" fmla="*/ 389 h 1231"/>
                      <a:gd name="T52" fmla="*/ 94 w 1187"/>
                      <a:gd name="T53" fmla="*/ 387 h 1231"/>
                      <a:gd name="T54" fmla="*/ 176 w 1187"/>
                      <a:gd name="T55" fmla="*/ 383 h 1231"/>
                      <a:gd name="T56" fmla="*/ 257 w 1187"/>
                      <a:gd name="T57" fmla="*/ 375 h 1231"/>
                      <a:gd name="T58" fmla="*/ 335 w 1187"/>
                      <a:gd name="T59" fmla="*/ 365 h 1231"/>
                      <a:gd name="T60" fmla="*/ 412 w 1187"/>
                      <a:gd name="T61" fmla="*/ 352 h 1231"/>
                      <a:gd name="T62" fmla="*/ 486 w 1187"/>
                      <a:gd name="T63" fmla="*/ 338 h 1231"/>
                      <a:gd name="T64" fmla="*/ 557 w 1187"/>
                      <a:gd name="T65" fmla="*/ 322 h 1231"/>
                      <a:gd name="T66" fmla="*/ 626 w 1187"/>
                      <a:gd name="T67" fmla="*/ 304 h 1231"/>
                      <a:gd name="T68" fmla="*/ 691 w 1187"/>
                      <a:gd name="T69" fmla="*/ 284 h 1231"/>
                      <a:gd name="T70" fmla="*/ 754 w 1187"/>
                      <a:gd name="T71" fmla="*/ 263 h 1231"/>
                      <a:gd name="T72" fmla="*/ 814 w 1187"/>
                      <a:gd name="T73" fmla="*/ 242 h 1231"/>
                      <a:gd name="T74" fmla="*/ 869 w 1187"/>
                      <a:gd name="T75" fmla="*/ 220 h 1231"/>
                      <a:gd name="T76" fmla="*/ 921 w 1187"/>
                      <a:gd name="T77" fmla="*/ 197 h 1231"/>
                      <a:gd name="T78" fmla="*/ 969 w 1187"/>
                      <a:gd name="T79" fmla="*/ 174 h 1231"/>
                      <a:gd name="T80" fmla="*/ 1013 w 1187"/>
                      <a:gd name="T81" fmla="*/ 152 h 1231"/>
                      <a:gd name="T82" fmla="*/ 1052 w 1187"/>
                      <a:gd name="T83" fmla="*/ 129 h 1231"/>
                      <a:gd name="T84" fmla="*/ 1086 w 1187"/>
                      <a:gd name="T85" fmla="*/ 107 h 1231"/>
                      <a:gd name="T86" fmla="*/ 1117 w 1187"/>
                      <a:gd name="T87" fmla="*/ 86 h 1231"/>
                      <a:gd name="T88" fmla="*/ 1142 w 1187"/>
                      <a:gd name="T89" fmla="*/ 66 h 1231"/>
                      <a:gd name="T90" fmla="*/ 1162 w 1187"/>
                      <a:gd name="T91" fmla="*/ 48 h 1231"/>
                      <a:gd name="T92" fmla="*/ 1175 w 1187"/>
                      <a:gd name="T93" fmla="*/ 30 h 1231"/>
                      <a:gd name="T94" fmla="*/ 1185 w 1187"/>
                      <a:gd name="T95" fmla="*/ 14 h 1231"/>
                      <a:gd name="T96" fmla="*/ 1187 w 1187"/>
                      <a:gd name="T97" fmla="*/ 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7" h="1231">
                        <a:moveTo>
                          <a:pt x="1187" y="0"/>
                        </a:moveTo>
                        <a:lnTo>
                          <a:pt x="1187" y="756"/>
                        </a:lnTo>
                        <a:lnTo>
                          <a:pt x="1184" y="793"/>
                        </a:lnTo>
                        <a:lnTo>
                          <a:pt x="1173" y="829"/>
                        </a:lnTo>
                        <a:lnTo>
                          <a:pt x="1156" y="863"/>
                        </a:lnTo>
                        <a:lnTo>
                          <a:pt x="1132" y="898"/>
                        </a:lnTo>
                        <a:lnTo>
                          <a:pt x="1103" y="931"/>
                        </a:lnTo>
                        <a:lnTo>
                          <a:pt x="1067" y="964"/>
                        </a:lnTo>
                        <a:lnTo>
                          <a:pt x="1027" y="994"/>
                        </a:lnTo>
                        <a:lnTo>
                          <a:pt x="979" y="1024"/>
                        </a:lnTo>
                        <a:lnTo>
                          <a:pt x="928" y="1052"/>
                        </a:lnTo>
                        <a:lnTo>
                          <a:pt x="872" y="1078"/>
                        </a:lnTo>
                        <a:lnTo>
                          <a:pt x="811" y="1103"/>
                        </a:lnTo>
                        <a:lnTo>
                          <a:pt x="746" y="1125"/>
                        </a:lnTo>
                        <a:lnTo>
                          <a:pt x="677" y="1146"/>
                        </a:lnTo>
                        <a:lnTo>
                          <a:pt x="603" y="1165"/>
                        </a:lnTo>
                        <a:lnTo>
                          <a:pt x="527" y="1182"/>
                        </a:lnTo>
                        <a:lnTo>
                          <a:pt x="447" y="1196"/>
                        </a:lnTo>
                        <a:lnTo>
                          <a:pt x="365" y="1209"/>
                        </a:lnTo>
                        <a:lnTo>
                          <a:pt x="280" y="1218"/>
                        </a:lnTo>
                        <a:lnTo>
                          <a:pt x="192" y="1225"/>
                        </a:lnTo>
                        <a:lnTo>
                          <a:pt x="102" y="1230"/>
                        </a:lnTo>
                        <a:lnTo>
                          <a:pt x="11" y="1231"/>
                        </a:lnTo>
                        <a:lnTo>
                          <a:pt x="0" y="1231"/>
                        </a:lnTo>
                        <a:lnTo>
                          <a:pt x="0" y="389"/>
                        </a:lnTo>
                        <a:lnTo>
                          <a:pt x="11" y="389"/>
                        </a:lnTo>
                        <a:lnTo>
                          <a:pt x="94" y="387"/>
                        </a:lnTo>
                        <a:lnTo>
                          <a:pt x="176" y="383"/>
                        </a:lnTo>
                        <a:lnTo>
                          <a:pt x="257" y="375"/>
                        </a:lnTo>
                        <a:lnTo>
                          <a:pt x="335" y="365"/>
                        </a:lnTo>
                        <a:lnTo>
                          <a:pt x="412" y="352"/>
                        </a:lnTo>
                        <a:lnTo>
                          <a:pt x="486" y="338"/>
                        </a:lnTo>
                        <a:lnTo>
                          <a:pt x="557" y="322"/>
                        </a:lnTo>
                        <a:lnTo>
                          <a:pt x="626" y="304"/>
                        </a:lnTo>
                        <a:lnTo>
                          <a:pt x="691" y="284"/>
                        </a:lnTo>
                        <a:lnTo>
                          <a:pt x="754" y="263"/>
                        </a:lnTo>
                        <a:lnTo>
                          <a:pt x="814" y="242"/>
                        </a:lnTo>
                        <a:lnTo>
                          <a:pt x="869" y="220"/>
                        </a:lnTo>
                        <a:lnTo>
                          <a:pt x="921" y="197"/>
                        </a:lnTo>
                        <a:lnTo>
                          <a:pt x="969" y="174"/>
                        </a:lnTo>
                        <a:lnTo>
                          <a:pt x="1013" y="152"/>
                        </a:lnTo>
                        <a:lnTo>
                          <a:pt x="1052" y="129"/>
                        </a:lnTo>
                        <a:lnTo>
                          <a:pt x="1086" y="107"/>
                        </a:lnTo>
                        <a:lnTo>
                          <a:pt x="1117" y="86"/>
                        </a:lnTo>
                        <a:lnTo>
                          <a:pt x="1142" y="66"/>
                        </a:lnTo>
                        <a:lnTo>
                          <a:pt x="1162" y="48"/>
                        </a:lnTo>
                        <a:lnTo>
                          <a:pt x="1175" y="30"/>
                        </a:lnTo>
                        <a:lnTo>
                          <a:pt x="1185" y="14"/>
                        </a:lnTo>
                        <a:lnTo>
                          <a:pt x="1187" y="0"/>
                        </a:lnTo>
                        <a:close/>
                      </a:path>
                    </a:pathLst>
                  </a:custGeom>
                  <a:solidFill>
                    <a:srgbClr val="59B3D8"/>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35" name="Freeform 8"/>
                  <p:cNvSpPr>
                    <a:spLocks/>
                  </p:cNvSpPr>
                  <p:nvPr/>
                </p:nvSpPr>
                <p:spPr bwMode="auto">
                  <a:xfrm>
                    <a:off x="2200517" y="4722477"/>
                    <a:ext cx="461923" cy="201848"/>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36" name="Freeform 9"/>
                  <p:cNvSpPr>
                    <a:spLocks/>
                  </p:cNvSpPr>
                  <p:nvPr/>
                </p:nvSpPr>
                <p:spPr bwMode="auto">
                  <a:xfrm>
                    <a:off x="2240784" y="4751313"/>
                    <a:ext cx="381389" cy="13264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7FBA00"/>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37" name="Freeform 10"/>
                  <p:cNvSpPr>
                    <a:spLocks/>
                  </p:cNvSpPr>
                  <p:nvPr/>
                </p:nvSpPr>
                <p:spPr bwMode="auto">
                  <a:xfrm>
                    <a:off x="2233310" y="4747213"/>
                    <a:ext cx="396338" cy="10765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8D43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grpSp>
            <p:grpSp>
              <p:nvGrpSpPr>
                <p:cNvPr id="213" name="Medium stack"/>
                <p:cNvGrpSpPr/>
                <p:nvPr/>
              </p:nvGrpSpPr>
              <p:grpSpPr>
                <a:xfrm>
                  <a:off x="3838273" y="4202946"/>
                  <a:ext cx="270418" cy="348194"/>
                  <a:chOff x="2198554" y="4722477"/>
                  <a:chExt cx="471670" cy="789187"/>
                </a:xfrm>
              </p:grpSpPr>
              <p:sp>
                <p:nvSpPr>
                  <p:cNvPr id="214" name="Freeform 16"/>
                  <p:cNvSpPr>
                    <a:spLocks/>
                  </p:cNvSpPr>
                  <p:nvPr/>
                </p:nvSpPr>
                <p:spPr bwMode="auto">
                  <a:xfrm>
                    <a:off x="2212132" y="5221887"/>
                    <a:ext cx="446036" cy="289777"/>
                  </a:xfrm>
                  <a:custGeom>
                    <a:avLst/>
                    <a:gdLst>
                      <a:gd name="T0" fmla="*/ 1 w 2353"/>
                      <a:gd name="T1" fmla="*/ 2 h 1231"/>
                      <a:gd name="T2" fmla="*/ 9 w 2353"/>
                      <a:gd name="T3" fmla="*/ 12 h 1231"/>
                      <a:gd name="T4" fmla="*/ 27 w 2353"/>
                      <a:gd name="T5" fmla="*/ 32 h 1231"/>
                      <a:gd name="T6" fmla="*/ 54 w 2353"/>
                      <a:gd name="T7" fmla="*/ 59 h 1231"/>
                      <a:gd name="T8" fmla="*/ 94 w 2353"/>
                      <a:gd name="T9" fmla="*/ 92 h 1231"/>
                      <a:gd name="T10" fmla="*/ 146 w 2353"/>
                      <a:gd name="T11" fmla="*/ 128 h 1231"/>
                      <a:gd name="T12" fmla="*/ 212 w 2353"/>
                      <a:gd name="T13" fmla="*/ 168 h 1231"/>
                      <a:gd name="T14" fmla="*/ 293 w 2353"/>
                      <a:gd name="T15" fmla="*/ 209 h 1231"/>
                      <a:gd name="T16" fmla="*/ 391 w 2353"/>
                      <a:gd name="T17" fmla="*/ 250 h 1231"/>
                      <a:gd name="T18" fmla="*/ 506 w 2353"/>
                      <a:gd name="T19" fmla="*/ 287 h 1231"/>
                      <a:gd name="T20" fmla="*/ 639 w 2353"/>
                      <a:gd name="T21" fmla="*/ 323 h 1231"/>
                      <a:gd name="T22" fmla="*/ 793 w 2353"/>
                      <a:gd name="T23" fmla="*/ 352 h 1231"/>
                      <a:gd name="T24" fmla="*/ 968 w 2353"/>
                      <a:gd name="T25" fmla="*/ 374 h 1231"/>
                      <a:gd name="T26" fmla="*/ 1166 w 2353"/>
                      <a:gd name="T27" fmla="*/ 389 h 1231"/>
                      <a:gd name="T28" fmla="*/ 1260 w 2353"/>
                      <a:gd name="T29" fmla="*/ 387 h 1231"/>
                      <a:gd name="T30" fmla="*/ 1423 w 2353"/>
                      <a:gd name="T31" fmla="*/ 375 h 1231"/>
                      <a:gd name="T32" fmla="*/ 1578 w 2353"/>
                      <a:gd name="T33" fmla="*/ 352 h 1231"/>
                      <a:gd name="T34" fmla="*/ 1723 w 2353"/>
                      <a:gd name="T35" fmla="*/ 322 h 1231"/>
                      <a:gd name="T36" fmla="*/ 1857 w 2353"/>
                      <a:gd name="T37" fmla="*/ 284 h 1231"/>
                      <a:gd name="T38" fmla="*/ 1980 w 2353"/>
                      <a:gd name="T39" fmla="*/ 242 h 1231"/>
                      <a:gd name="T40" fmla="*/ 2087 w 2353"/>
                      <a:gd name="T41" fmla="*/ 197 h 1231"/>
                      <a:gd name="T42" fmla="*/ 2179 w 2353"/>
                      <a:gd name="T43" fmla="*/ 152 h 1231"/>
                      <a:gd name="T44" fmla="*/ 2252 w 2353"/>
                      <a:gd name="T45" fmla="*/ 107 h 1231"/>
                      <a:gd name="T46" fmla="*/ 2308 w 2353"/>
                      <a:gd name="T47" fmla="*/ 66 h 1231"/>
                      <a:gd name="T48" fmla="*/ 2341 w 2353"/>
                      <a:gd name="T49" fmla="*/ 30 h 1231"/>
                      <a:gd name="T50" fmla="*/ 2353 w 2353"/>
                      <a:gd name="T51" fmla="*/ 0 h 1231"/>
                      <a:gd name="T52" fmla="*/ 2350 w 2353"/>
                      <a:gd name="T53" fmla="*/ 793 h 1231"/>
                      <a:gd name="T54" fmla="*/ 2322 w 2353"/>
                      <a:gd name="T55" fmla="*/ 863 h 1231"/>
                      <a:gd name="T56" fmla="*/ 2269 w 2353"/>
                      <a:gd name="T57" fmla="*/ 931 h 1231"/>
                      <a:gd name="T58" fmla="*/ 2193 w 2353"/>
                      <a:gd name="T59" fmla="*/ 994 h 1231"/>
                      <a:gd name="T60" fmla="*/ 2094 w 2353"/>
                      <a:gd name="T61" fmla="*/ 1052 h 1231"/>
                      <a:gd name="T62" fmla="*/ 1977 w 2353"/>
                      <a:gd name="T63" fmla="*/ 1103 h 1231"/>
                      <a:gd name="T64" fmla="*/ 1843 w 2353"/>
                      <a:gd name="T65" fmla="*/ 1146 h 1231"/>
                      <a:gd name="T66" fmla="*/ 1693 w 2353"/>
                      <a:gd name="T67" fmla="*/ 1182 h 1231"/>
                      <a:gd name="T68" fmla="*/ 1531 w 2353"/>
                      <a:gd name="T69" fmla="*/ 1209 h 1231"/>
                      <a:gd name="T70" fmla="*/ 1358 w 2353"/>
                      <a:gd name="T71" fmla="*/ 1225 h 1231"/>
                      <a:gd name="T72" fmla="*/ 1177 w 2353"/>
                      <a:gd name="T73" fmla="*/ 1231 h 1231"/>
                      <a:gd name="T74" fmla="*/ 1074 w 2353"/>
                      <a:gd name="T75" fmla="*/ 1228 h 1231"/>
                      <a:gd name="T76" fmla="*/ 897 w 2353"/>
                      <a:gd name="T77" fmla="*/ 1215 h 1231"/>
                      <a:gd name="T78" fmla="*/ 731 w 2353"/>
                      <a:gd name="T79" fmla="*/ 1192 h 1231"/>
                      <a:gd name="T80" fmla="*/ 576 w 2353"/>
                      <a:gd name="T81" fmla="*/ 1161 h 1231"/>
                      <a:gd name="T82" fmla="*/ 435 w 2353"/>
                      <a:gd name="T83" fmla="*/ 1121 h 1231"/>
                      <a:gd name="T84" fmla="*/ 311 w 2353"/>
                      <a:gd name="T85" fmla="*/ 1074 h 1231"/>
                      <a:gd name="T86" fmla="*/ 204 w 2353"/>
                      <a:gd name="T87" fmla="*/ 1020 h 1231"/>
                      <a:gd name="T88" fmla="*/ 118 w 2353"/>
                      <a:gd name="T89" fmla="*/ 962 h 1231"/>
                      <a:gd name="T90" fmla="*/ 54 w 2353"/>
                      <a:gd name="T91" fmla="*/ 897 h 1231"/>
                      <a:gd name="T92" fmla="*/ 14 w 2353"/>
                      <a:gd name="T93" fmla="*/ 829 h 1231"/>
                      <a:gd name="T94" fmla="*/ 0 w 2353"/>
                      <a:gd name="T95" fmla="*/ 756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53" h="1231">
                        <a:moveTo>
                          <a:pt x="0" y="0"/>
                        </a:moveTo>
                        <a:lnTo>
                          <a:pt x="1" y="2"/>
                        </a:lnTo>
                        <a:lnTo>
                          <a:pt x="4" y="6"/>
                        </a:lnTo>
                        <a:lnTo>
                          <a:pt x="9" y="12"/>
                        </a:lnTo>
                        <a:lnTo>
                          <a:pt x="16" y="21"/>
                        </a:lnTo>
                        <a:lnTo>
                          <a:pt x="27" y="32"/>
                        </a:lnTo>
                        <a:lnTo>
                          <a:pt x="39" y="44"/>
                        </a:lnTo>
                        <a:lnTo>
                          <a:pt x="54" y="59"/>
                        </a:lnTo>
                        <a:lnTo>
                          <a:pt x="72" y="75"/>
                        </a:lnTo>
                        <a:lnTo>
                          <a:pt x="94" y="92"/>
                        </a:lnTo>
                        <a:lnTo>
                          <a:pt x="118" y="109"/>
                        </a:lnTo>
                        <a:lnTo>
                          <a:pt x="146" y="128"/>
                        </a:lnTo>
                        <a:lnTo>
                          <a:pt x="177" y="148"/>
                        </a:lnTo>
                        <a:lnTo>
                          <a:pt x="212" y="168"/>
                        </a:lnTo>
                        <a:lnTo>
                          <a:pt x="251" y="189"/>
                        </a:lnTo>
                        <a:lnTo>
                          <a:pt x="293" y="209"/>
                        </a:lnTo>
                        <a:lnTo>
                          <a:pt x="340" y="230"/>
                        </a:lnTo>
                        <a:lnTo>
                          <a:pt x="391" y="250"/>
                        </a:lnTo>
                        <a:lnTo>
                          <a:pt x="446" y="269"/>
                        </a:lnTo>
                        <a:lnTo>
                          <a:pt x="506" y="287"/>
                        </a:lnTo>
                        <a:lnTo>
                          <a:pt x="570" y="306"/>
                        </a:lnTo>
                        <a:lnTo>
                          <a:pt x="639" y="323"/>
                        </a:lnTo>
                        <a:lnTo>
                          <a:pt x="714" y="338"/>
                        </a:lnTo>
                        <a:lnTo>
                          <a:pt x="793" y="352"/>
                        </a:lnTo>
                        <a:lnTo>
                          <a:pt x="878" y="364"/>
                        </a:lnTo>
                        <a:lnTo>
                          <a:pt x="968" y="374"/>
                        </a:lnTo>
                        <a:lnTo>
                          <a:pt x="1065" y="383"/>
                        </a:lnTo>
                        <a:lnTo>
                          <a:pt x="1166" y="389"/>
                        </a:lnTo>
                        <a:lnTo>
                          <a:pt x="1177" y="389"/>
                        </a:lnTo>
                        <a:lnTo>
                          <a:pt x="1260" y="387"/>
                        </a:lnTo>
                        <a:lnTo>
                          <a:pt x="1342" y="383"/>
                        </a:lnTo>
                        <a:lnTo>
                          <a:pt x="1423" y="375"/>
                        </a:lnTo>
                        <a:lnTo>
                          <a:pt x="1501" y="365"/>
                        </a:lnTo>
                        <a:lnTo>
                          <a:pt x="1578" y="352"/>
                        </a:lnTo>
                        <a:lnTo>
                          <a:pt x="1652" y="338"/>
                        </a:lnTo>
                        <a:lnTo>
                          <a:pt x="1723" y="322"/>
                        </a:lnTo>
                        <a:lnTo>
                          <a:pt x="1792" y="304"/>
                        </a:lnTo>
                        <a:lnTo>
                          <a:pt x="1857" y="284"/>
                        </a:lnTo>
                        <a:lnTo>
                          <a:pt x="1920" y="263"/>
                        </a:lnTo>
                        <a:lnTo>
                          <a:pt x="1980" y="242"/>
                        </a:lnTo>
                        <a:lnTo>
                          <a:pt x="2035" y="220"/>
                        </a:lnTo>
                        <a:lnTo>
                          <a:pt x="2087" y="197"/>
                        </a:lnTo>
                        <a:lnTo>
                          <a:pt x="2135" y="174"/>
                        </a:lnTo>
                        <a:lnTo>
                          <a:pt x="2179" y="152"/>
                        </a:lnTo>
                        <a:lnTo>
                          <a:pt x="2218" y="129"/>
                        </a:lnTo>
                        <a:lnTo>
                          <a:pt x="2252" y="107"/>
                        </a:lnTo>
                        <a:lnTo>
                          <a:pt x="2283" y="86"/>
                        </a:lnTo>
                        <a:lnTo>
                          <a:pt x="2308" y="66"/>
                        </a:lnTo>
                        <a:lnTo>
                          <a:pt x="2328" y="48"/>
                        </a:lnTo>
                        <a:lnTo>
                          <a:pt x="2341" y="30"/>
                        </a:lnTo>
                        <a:lnTo>
                          <a:pt x="2351" y="14"/>
                        </a:lnTo>
                        <a:lnTo>
                          <a:pt x="2353" y="0"/>
                        </a:lnTo>
                        <a:lnTo>
                          <a:pt x="2353" y="756"/>
                        </a:lnTo>
                        <a:lnTo>
                          <a:pt x="2350" y="793"/>
                        </a:lnTo>
                        <a:lnTo>
                          <a:pt x="2339" y="829"/>
                        </a:lnTo>
                        <a:lnTo>
                          <a:pt x="2322" y="863"/>
                        </a:lnTo>
                        <a:lnTo>
                          <a:pt x="2298" y="898"/>
                        </a:lnTo>
                        <a:lnTo>
                          <a:pt x="2269" y="931"/>
                        </a:lnTo>
                        <a:lnTo>
                          <a:pt x="2233" y="964"/>
                        </a:lnTo>
                        <a:lnTo>
                          <a:pt x="2193" y="994"/>
                        </a:lnTo>
                        <a:lnTo>
                          <a:pt x="2145" y="1024"/>
                        </a:lnTo>
                        <a:lnTo>
                          <a:pt x="2094" y="1052"/>
                        </a:lnTo>
                        <a:lnTo>
                          <a:pt x="2038" y="1078"/>
                        </a:lnTo>
                        <a:lnTo>
                          <a:pt x="1977" y="1103"/>
                        </a:lnTo>
                        <a:lnTo>
                          <a:pt x="1912" y="1125"/>
                        </a:lnTo>
                        <a:lnTo>
                          <a:pt x="1843" y="1146"/>
                        </a:lnTo>
                        <a:lnTo>
                          <a:pt x="1769" y="1165"/>
                        </a:lnTo>
                        <a:lnTo>
                          <a:pt x="1693" y="1182"/>
                        </a:lnTo>
                        <a:lnTo>
                          <a:pt x="1613" y="1196"/>
                        </a:lnTo>
                        <a:lnTo>
                          <a:pt x="1531" y="1209"/>
                        </a:lnTo>
                        <a:lnTo>
                          <a:pt x="1446" y="1218"/>
                        </a:lnTo>
                        <a:lnTo>
                          <a:pt x="1358" y="1225"/>
                        </a:lnTo>
                        <a:lnTo>
                          <a:pt x="1268" y="1230"/>
                        </a:lnTo>
                        <a:lnTo>
                          <a:pt x="1177" y="1231"/>
                        </a:lnTo>
                        <a:lnTo>
                          <a:pt x="1166" y="1231"/>
                        </a:lnTo>
                        <a:lnTo>
                          <a:pt x="1074" y="1228"/>
                        </a:lnTo>
                        <a:lnTo>
                          <a:pt x="985" y="1223"/>
                        </a:lnTo>
                        <a:lnTo>
                          <a:pt x="897" y="1215"/>
                        </a:lnTo>
                        <a:lnTo>
                          <a:pt x="812" y="1205"/>
                        </a:lnTo>
                        <a:lnTo>
                          <a:pt x="731" y="1192"/>
                        </a:lnTo>
                        <a:lnTo>
                          <a:pt x="651" y="1178"/>
                        </a:lnTo>
                        <a:lnTo>
                          <a:pt x="576" y="1161"/>
                        </a:lnTo>
                        <a:lnTo>
                          <a:pt x="503" y="1142"/>
                        </a:lnTo>
                        <a:lnTo>
                          <a:pt x="435" y="1121"/>
                        </a:lnTo>
                        <a:lnTo>
                          <a:pt x="370" y="1099"/>
                        </a:lnTo>
                        <a:lnTo>
                          <a:pt x="311" y="1074"/>
                        </a:lnTo>
                        <a:lnTo>
                          <a:pt x="255" y="1049"/>
                        </a:lnTo>
                        <a:lnTo>
                          <a:pt x="204" y="1020"/>
                        </a:lnTo>
                        <a:lnTo>
                          <a:pt x="159" y="992"/>
                        </a:lnTo>
                        <a:lnTo>
                          <a:pt x="118" y="962"/>
                        </a:lnTo>
                        <a:lnTo>
                          <a:pt x="83" y="930"/>
                        </a:lnTo>
                        <a:lnTo>
                          <a:pt x="54" y="897"/>
                        </a:lnTo>
                        <a:lnTo>
                          <a:pt x="31" y="863"/>
                        </a:lnTo>
                        <a:lnTo>
                          <a:pt x="14" y="829"/>
                        </a:lnTo>
                        <a:lnTo>
                          <a:pt x="4" y="792"/>
                        </a:lnTo>
                        <a:lnTo>
                          <a:pt x="0" y="756"/>
                        </a:lnTo>
                        <a:lnTo>
                          <a:pt x="0" y="0"/>
                        </a:lnTo>
                        <a:close/>
                      </a:path>
                    </a:pathLst>
                  </a:custGeom>
                  <a:solidFill>
                    <a:srgbClr val="3898C5"/>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15" name="Freeform 17"/>
                  <p:cNvSpPr>
                    <a:spLocks/>
                  </p:cNvSpPr>
                  <p:nvPr/>
                </p:nvSpPr>
                <p:spPr bwMode="auto">
                  <a:xfrm>
                    <a:off x="2437714" y="5223793"/>
                    <a:ext cx="223873" cy="285965"/>
                  </a:xfrm>
                  <a:custGeom>
                    <a:avLst/>
                    <a:gdLst>
                      <a:gd name="T0" fmla="*/ 1187 w 1187"/>
                      <a:gd name="T1" fmla="*/ 0 h 1231"/>
                      <a:gd name="T2" fmla="*/ 1187 w 1187"/>
                      <a:gd name="T3" fmla="*/ 756 h 1231"/>
                      <a:gd name="T4" fmla="*/ 1184 w 1187"/>
                      <a:gd name="T5" fmla="*/ 793 h 1231"/>
                      <a:gd name="T6" fmla="*/ 1173 w 1187"/>
                      <a:gd name="T7" fmla="*/ 829 h 1231"/>
                      <a:gd name="T8" fmla="*/ 1156 w 1187"/>
                      <a:gd name="T9" fmla="*/ 863 h 1231"/>
                      <a:gd name="T10" fmla="*/ 1132 w 1187"/>
                      <a:gd name="T11" fmla="*/ 898 h 1231"/>
                      <a:gd name="T12" fmla="*/ 1103 w 1187"/>
                      <a:gd name="T13" fmla="*/ 931 h 1231"/>
                      <a:gd name="T14" fmla="*/ 1067 w 1187"/>
                      <a:gd name="T15" fmla="*/ 964 h 1231"/>
                      <a:gd name="T16" fmla="*/ 1027 w 1187"/>
                      <a:gd name="T17" fmla="*/ 994 h 1231"/>
                      <a:gd name="T18" fmla="*/ 979 w 1187"/>
                      <a:gd name="T19" fmla="*/ 1024 h 1231"/>
                      <a:gd name="T20" fmla="*/ 928 w 1187"/>
                      <a:gd name="T21" fmla="*/ 1052 h 1231"/>
                      <a:gd name="T22" fmla="*/ 872 w 1187"/>
                      <a:gd name="T23" fmla="*/ 1078 h 1231"/>
                      <a:gd name="T24" fmla="*/ 811 w 1187"/>
                      <a:gd name="T25" fmla="*/ 1103 h 1231"/>
                      <a:gd name="T26" fmla="*/ 746 w 1187"/>
                      <a:gd name="T27" fmla="*/ 1125 h 1231"/>
                      <a:gd name="T28" fmla="*/ 677 w 1187"/>
                      <a:gd name="T29" fmla="*/ 1146 h 1231"/>
                      <a:gd name="T30" fmla="*/ 603 w 1187"/>
                      <a:gd name="T31" fmla="*/ 1165 h 1231"/>
                      <a:gd name="T32" fmla="*/ 527 w 1187"/>
                      <a:gd name="T33" fmla="*/ 1182 h 1231"/>
                      <a:gd name="T34" fmla="*/ 447 w 1187"/>
                      <a:gd name="T35" fmla="*/ 1196 h 1231"/>
                      <a:gd name="T36" fmla="*/ 365 w 1187"/>
                      <a:gd name="T37" fmla="*/ 1209 h 1231"/>
                      <a:gd name="T38" fmla="*/ 280 w 1187"/>
                      <a:gd name="T39" fmla="*/ 1218 h 1231"/>
                      <a:gd name="T40" fmla="*/ 192 w 1187"/>
                      <a:gd name="T41" fmla="*/ 1225 h 1231"/>
                      <a:gd name="T42" fmla="*/ 102 w 1187"/>
                      <a:gd name="T43" fmla="*/ 1230 h 1231"/>
                      <a:gd name="T44" fmla="*/ 11 w 1187"/>
                      <a:gd name="T45" fmla="*/ 1231 h 1231"/>
                      <a:gd name="T46" fmla="*/ 0 w 1187"/>
                      <a:gd name="T47" fmla="*/ 1231 h 1231"/>
                      <a:gd name="T48" fmla="*/ 0 w 1187"/>
                      <a:gd name="T49" fmla="*/ 389 h 1231"/>
                      <a:gd name="T50" fmla="*/ 11 w 1187"/>
                      <a:gd name="T51" fmla="*/ 389 h 1231"/>
                      <a:gd name="T52" fmla="*/ 94 w 1187"/>
                      <a:gd name="T53" fmla="*/ 387 h 1231"/>
                      <a:gd name="T54" fmla="*/ 176 w 1187"/>
                      <a:gd name="T55" fmla="*/ 383 h 1231"/>
                      <a:gd name="T56" fmla="*/ 257 w 1187"/>
                      <a:gd name="T57" fmla="*/ 375 h 1231"/>
                      <a:gd name="T58" fmla="*/ 335 w 1187"/>
                      <a:gd name="T59" fmla="*/ 365 h 1231"/>
                      <a:gd name="T60" fmla="*/ 412 w 1187"/>
                      <a:gd name="T61" fmla="*/ 352 h 1231"/>
                      <a:gd name="T62" fmla="*/ 486 w 1187"/>
                      <a:gd name="T63" fmla="*/ 338 h 1231"/>
                      <a:gd name="T64" fmla="*/ 557 w 1187"/>
                      <a:gd name="T65" fmla="*/ 322 h 1231"/>
                      <a:gd name="T66" fmla="*/ 626 w 1187"/>
                      <a:gd name="T67" fmla="*/ 304 h 1231"/>
                      <a:gd name="T68" fmla="*/ 691 w 1187"/>
                      <a:gd name="T69" fmla="*/ 284 h 1231"/>
                      <a:gd name="T70" fmla="*/ 754 w 1187"/>
                      <a:gd name="T71" fmla="*/ 263 h 1231"/>
                      <a:gd name="T72" fmla="*/ 814 w 1187"/>
                      <a:gd name="T73" fmla="*/ 242 h 1231"/>
                      <a:gd name="T74" fmla="*/ 869 w 1187"/>
                      <a:gd name="T75" fmla="*/ 220 h 1231"/>
                      <a:gd name="T76" fmla="*/ 921 w 1187"/>
                      <a:gd name="T77" fmla="*/ 197 h 1231"/>
                      <a:gd name="T78" fmla="*/ 969 w 1187"/>
                      <a:gd name="T79" fmla="*/ 174 h 1231"/>
                      <a:gd name="T80" fmla="*/ 1013 w 1187"/>
                      <a:gd name="T81" fmla="*/ 152 h 1231"/>
                      <a:gd name="T82" fmla="*/ 1052 w 1187"/>
                      <a:gd name="T83" fmla="*/ 129 h 1231"/>
                      <a:gd name="T84" fmla="*/ 1086 w 1187"/>
                      <a:gd name="T85" fmla="*/ 107 h 1231"/>
                      <a:gd name="T86" fmla="*/ 1117 w 1187"/>
                      <a:gd name="T87" fmla="*/ 86 h 1231"/>
                      <a:gd name="T88" fmla="*/ 1142 w 1187"/>
                      <a:gd name="T89" fmla="*/ 66 h 1231"/>
                      <a:gd name="T90" fmla="*/ 1162 w 1187"/>
                      <a:gd name="T91" fmla="*/ 48 h 1231"/>
                      <a:gd name="T92" fmla="*/ 1175 w 1187"/>
                      <a:gd name="T93" fmla="*/ 30 h 1231"/>
                      <a:gd name="T94" fmla="*/ 1185 w 1187"/>
                      <a:gd name="T95" fmla="*/ 14 h 1231"/>
                      <a:gd name="T96" fmla="*/ 1187 w 1187"/>
                      <a:gd name="T97" fmla="*/ 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7" h="1231">
                        <a:moveTo>
                          <a:pt x="1187" y="0"/>
                        </a:moveTo>
                        <a:lnTo>
                          <a:pt x="1187" y="756"/>
                        </a:lnTo>
                        <a:lnTo>
                          <a:pt x="1184" y="793"/>
                        </a:lnTo>
                        <a:lnTo>
                          <a:pt x="1173" y="829"/>
                        </a:lnTo>
                        <a:lnTo>
                          <a:pt x="1156" y="863"/>
                        </a:lnTo>
                        <a:lnTo>
                          <a:pt x="1132" y="898"/>
                        </a:lnTo>
                        <a:lnTo>
                          <a:pt x="1103" y="931"/>
                        </a:lnTo>
                        <a:lnTo>
                          <a:pt x="1067" y="964"/>
                        </a:lnTo>
                        <a:lnTo>
                          <a:pt x="1027" y="994"/>
                        </a:lnTo>
                        <a:lnTo>
                          <a:pt x="979" y="1024"/>
                        </a:lnTo>
                        <a:lnTo>
                          <a:pt x="928" y="1052"/>
                        </a:lnTo>
                        <a:lnTo>
                          <a:pt x="872" y="1078"/>
                        </a:lnTo>
                        <a:lnTo>
                          <a:pt x="811" y="1103"/>
                        </a:lnTo>
                        <a:lnTo>
                          <a:pt x="746" y="1125"/>
                        </a:lnTo>
                        <a:lnTo>
                          <a:pt x="677" y="1146"/>
                        </a:lnTo>
                        <a:lnTo>
                          <a:pt x="603" y="1165"/>
                        </a:lnTo>
                        <a:lnTo>
                          <a:pt x="527" y="1182"/>
                        </a:lnTo>
                        <a:lnTo>
                          <a:pt x="447" y="1196"/>
                        </a:lnTo>
                        <a:lnTo>
                          <a:pt x="365" y="1209"/>
                        </a:lnTo>
                        <a:lnTo>
                          <a:pt x="280" y="1218"/>
                        </a:lnTo>
                        <a:lnTo>
                          <a:pt x="192" y="1225"/>
                        </a:lnTo>
                        <a:lnTo>
                          <a:pt x="102" y="1230"/>
                        </a:lnTo>
                        <a:lnTo>
                          <a:pt x="11" y="1231"/>
                        </a:lnTo>
                        <a:lnTo>
                          <a:pt x="0" y="1231"/>
                        </a:lnTo>
                        <a:lnTo>
                          <a:pt x="0" y="389"/>
                        </a:lnTo>
                        <a:lnTo>
                          <a:pt x="11" y="389"/>
                        </a:lnTo>
                        <a:lnTo>
                          <a:pt x="94" y="387"/>
                        </a:lnTo>
                        <a:lnTo>
                          <a:pt x="176" y="383"/>
                        </a:lnTo>
                        <a:lnTo>
                          <a:pt x="257" y="375"/>
                        </a:lnTo>
                        <a:lnTo>
                          <a:pt x="335" y="365"/>
                        </a:lnTo>
                        <a:lnTo>
                          <a:pt x="412" y="352"/>
                        </a:lnTo>
                        <a:lnTo>
                          <a:pt x="486" y="338"/>
                        </a:lnTo>
                        <a:lnTo>
                          <a:pt x="557" y="322"/>
                        </a:lnTo>
                        <a:lnTo>
                          <a:pt x="626" y="304"/>
                        </a:lnTo>
                        <a:lnTo>
                          <a:pt x="691" y="284"/>
                        </a:lnTo>
                        <a:lnTo>
                          <a:pt x="754" y="263"/>
                        </a:lnTo>
                        <a:lnTo>
                          <a:pt x="814" y="242"/>
                        </a:lnTo>
                        <a:lnTo>
                          <a:pt x="869" y="220"/>
                        </a:lnTo>
                        <a:lnTo>
                          <a:pt x="921" y="197"/>
                        </a:lnTo>
                        <a:lnTo>
                          <a:pt x="969" y="174"/>
                        </a:lnTo>
                        <a:lnTo>
                          <a:pt x="1013" y="152"/>
                        </a:lnTo>
                        <a:lnTo>
                          <a:pt x="1052" y="129"/>
                        </a:lnTo>
                        <a:lnTo>
                          <a:pt x="1086" y="107"/>
                        </a:lnTo>
                        <a:lnTo>
                          <a:pt x="1117" y="86"/>
                        </a:lnTo>
                        <a:lnTo>
                          <a:pt x="1142" y="66"/>
                        </a:lnTo>
                        <a:lnTo>
                          <a:pt x="1162" y="48"/>
                        </a:lnTo>
                        <a:lnTo>
                          <a:pt x="1175" y="30"/>
                        </a:lnTo>
                        <a:lnTo>
                          <a:pt x="1185" y="14"/>
                        </a:lnTo>
                        <a:lnTo>
                          <a:pt x="1187" y="0"/>
                        </a:lnTo>
                        <a:close/>
                      </a:path>
                    </a:pathLst>
                  </a:custGeom>
                  <a:solidFill>
                    <a:srgbClr val="59B3D8"/>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16" name="Freeform 6"/>
                  <p:cNvSpPr>
                    <a:spLocks/>
                  </p:cNvSpPr>
                  <p:nvPr/>
                </p:nvSpPr>
                <p:spPr bwMode="auto">
                  <a:xfrm>
                    <a:off x="2211372" y="5119908"/>
                    <a:ext cx="446036" cy="20017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17" name="Freeform 7"/>
                  <p:cNvSpPr>
                    <a:spLocks/>
                  </p:cNvSpPr>
                  <p:nvPr/>
                </p:nvSpPr>
                <p:spPr bwMode="auto">
                  <a:xfrm>
                    <a:off x="2198554" y="5055824"/>
                    <a:ext cx="471670" cy="238304"/>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rgbClr val="7FBA4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18" name="Freeform 8"/>
                  <p:cNvSpPr>
                    <a:spLocks/>
                  </p:cNvSpPr>
                  <p:nvPr/>
                </p:nvSpPr>
                <p:spPr bwMode="auto">
                  <a:xfrm>
                    <a:off x="2199408" y="5040064"/>
                    <a:ext cx="469961" cy="183017"/>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19" name="Freeform 9"/>
                  <p:cNvSpPr>
                    <a:spLocks/>
                  </p:cNvSpPr>
                  <p:nvPr/>
                </p:nvSpPr>
                <p:spPr bwMode="auto">
                  <a:xfrm>
                    <a:off x="2201117" y="4964567"/>
                    <a:ext cx="466544" cy="234491"/>
                  </a:xfrm>
                  <a:custGeom>
                    <a:avLst/>
                    <a:gdLst>
                      <a:gd name="T0" fmla="*/ 130 w 2461"/>
                      <a:gd name="T1" fmla="*/ 0 h 1113"/>
                      <a:gd name="T2" fmla="*/ 1241 w 2461"/>
                      <a:gd name="T3" fmla="*/ 98 h 1113"/>
                      <a:gd name="T4" fmla="*/ 1231 w 2461"/>
                      <a:gd name="T5" fmla="*/ 454 h 1113"/>
                      <a:gd name="T6" fmla="*/ 1241 w 2461"/>
                      <a:gd name="T7" fmla="*/ 238 h 1113"/>
                      <a:gd name="T8" fmla="*/ 2364 w 2461"/>
                      <a:gd name="T9" fmla="*/ 173 h 1113"/>
                      <a:gd name="T10" fmla="*/ 2364 w 2461"/>
                      <a:gd name="T11" fmla="*/ 346 h 1113"/>
                      <a:gd name="T12" fmla="*/ 2461 w 2461"/>
                      <a:gd name="T13" fmla="*/ 605 h 1113"/>
                      <a:gd name="T14" fmla="*/ 2343 w 2461"/>
                      <a:gd name="T15" fmla="*/ 810 h 1113"/>
                      <a:gd name="T16" fmla="*/ 2341 w 2461"/>
                      <a:gd name="T17" fmla="*/ 812 h 1113"/>
                      <a:gd name="T18" fmla="*/ 2335 w 2461"/>
                      <a:gd name="T19" fmla="*/ 816 h 1113"/>
                      <a:gd name="T20" fmla="*/ 2325 w 2461"/>
                      <a:gd name="T21" fmla="*/ 824 h 1113"/>
                      <a:gd name="T22" fmla="*/ 2313 w 2461"/>
                      <a:gd name="T23" fmla="*/ 833 h 1113"/>
                      <a:gd name="T24" fmla="*/ 2296 w 2461"/>
                      <a:gd name="T25" fmla="*/ 846 h 1113"/>
                      <a:gd name="T26" fmla="*/ 2275 w 2461"/>
                      <a:gd name="T27" fmla="*/ 859 h 1113"/>
                      <a:gd name="T28" fmla="*/ 2250 w 2461"/>
                      <a:gd name="T29" fmla="*/ 875 h 1113"/>
                      <a:gd name="T30" fmla="*/ 2221 w 2461"/>
                      <a:gd name="T31" fmla="*/ 891 h 1113"/>
                      <a:gd name="T32" fmla="*/ 2189 w 2461"/>
                      <a:gd name="T33" fmla="*/ 908 h 1113"/>
                      <a:gd name="T34" fmla="*/ 2152 w 2461"/>
                      <a:gd name="T35" fmla="*/ 927 h 1113"/>
                      <a:gd name="T36" fmla="*/ 2111 w 2461"/>
                      <a:gd name="T37" fmla="*/ 946 h 1113"/>
                      <a:gd name="T38" fmla="*/ 2067 w 2461"/>
                      <a:gd name="T39" fmla="*/ 965 h 1113"/>
                      <a:gd name="T40" fmla="*/ 2018 w 2461"/>
                      <a:gd name="T41" fmla="*/ 985 h 1113"/>
                      <a:gd name="T42" fmla="*/ 1966 w 2461"/>
                      <a:gd name="T43" fmla="*/ 1004 h 1113"/>
                      <a:gd name="T44" fmla="*/ 1909 w 2461"/>
                      <a:gd name="T45" fmla="*/ 1021 h 1113"/>
                      <a:gd name="T46" fmla="*/ 1849 w 2461"/>
                      <a:gd name="T47" fmla="*/ 1039 h 1113"/>
                      <a:gd name="T48" fmla="*/ 1784 w 2461"/>
                      <a:gd name="T49" fmla="*/ 1055 h 1113"/>
                      <a:gd name="T50" fmla="*/ 1713 w 2461"/>
                      <a:gd name="T51" fmla="*/ 1070 h 1113"/>
                      <a:gd name="T52" fmla="*/ 1640 w 2461"/>
                      <a:gd name="T53" fmla="*/ 1083 h 1113"/>
                      <a:gd name="T54" fmla="*/ 1563 w 2461"/>
                      <a:gd name="T55" fmla="*/ 1094 h 1113"/>
                      <a:gd name="T56" fmla="*/ 1481 w 2461"/>
                      <a:gd name="T57" fmla="*/ 1102 h 1113"/>
                      <a:gd name="T58" fmla="*/ 1394 w 2461"/>
                      <a:gd name="T59" fmla="*/ 1108 h 1113"/>
                      <a:gd name="T60" fmla="*/ 1304 w 2461"/>
                      <a:gd name="T61" fmla="*/ 1113 h 1113"/>
                      <a:gd name="T62" fmla="*/ 1209 w 2461"/>
                      <a:gd name="T63" fmla="*/ 1113 h 1113"/>
                      <a:gd name="T64" fmla="*/ 1115 w 2461"/>
                      <a:gd name="T65" fmla="*/ 1109 h 1113"/>
                      <a:gd name="T66" fmla="*/ 1026 w 2461"/>
                      <a:gd name="T67" fmla="*/ 1103 h 1113"/>
                      <a:gd name="T68" fmla="*/ 942 w 2461"/>
                      <a:gd name="T69" fmla="*/ 1095 h 1113"/>
                      <a:gd name="T70" fmla="*/ 861 w 2461"/>
                      <a:gd name="T71" fmla="*/ 1083 h 1113"/>
                      <a:gd name="T72" fmla="*/ 786 w 2461"/>
                      <a:gd name="T73" fmla="*/ 1070 h 1113"/>
                      <a:gd name="T74" fmla="*/ 713 w 2461"/>
                      <a:gd name="T75" fmla="*/ 1054 h 1113"/>
                      <a:gd name="T76" fmla="*/ 646 w 2461"/>
                      <a:gd name="T77" fmla="*/ 1037 h 1113"/>
                      <a:gd name="T78" fmla="*/ 582 w 2461"/>
                      <a:gd name="T79" fmla="*/ 1018 h 1113"/>
                      <a:gd name="T80" fmla="*/ 524 w 2461"/>
                      <a:gd name="T81" fmla="*/ 998 h 1113"/>
                      <a:gd name="T82" fmla="*/ 469 w 2461"/>
                      <a:gd name="T83" fmla="*/ 977 h 1113"/>
                      <a:gd name="T84" fmla="*/ 418 w 2461"/>
                      <a:gd name="T85" fmla="*/ 957 h 1113"/>
                      <a:gd name="T86" fmla="*/ 371 w 2461"/>
                      <a:gd name="T87" fmla="*/ 936 h 1113"/>
                      <a:gd name="T88" fmla="*/ 328 w 2461"/>
                      <a:gd name="T89" fmla="*/ 915 h 1113"/>
                      <a:gd name="T90" fmla="*/ 289 w 2461"/>
                      <a:gd name="T91" fmla="*/ 894 h 1113"/>
                      <a:gd name="T92" fmla="*/ 255 w 2461"/>
                      <a:gd name="T93" fmla="*/ 874 h 1113"/>
                      <a:gd name="T94" fmla="*/ 223 w 2461"/>
                      <a:gd name="T95" fmla="*/ 854 h 1113"/>
                      <a:gd name="T96" fmla="*/ 196 w 2461"/>
                      <a:gd name="T97" fmla="*/ 836 h 1113"/>
                      <a:gd name="T98" fmla="*/ 172 w 2461"/>
                      <a:gd name="T99" fmla="*/ 819 h 1113"/>
                      <a:gd name="T100" fmla="*/ 152 w 2461"/>
                      <a:gd name="T101" fmla="*/ 805 h 1113"/>
                      <a:gd name="T102" fmla="*/ 136 w 2461"/>
                      <a:gd name="T103" fmla="*/ 792 h 1113"/>
                      <a:gd name="T104" fmla="*/ 124 w 2461"/>
                      <a:gd name="T105" fmla="*/ 782 h 1113"/>
                      <a:gd name="T106" fmla="*/ 115 w 2461"/>
                      <a:gd name="T107" fmla="*/ 773 h 1113"/>
                      <a:gd name="T108" fmla="*/ 110 w 2461"/>
                      <a:gd name="T109" fmla="*/ 769 h 1113"/>
                      <a:gd name="T110" fmla="*/ 108 w 2461"/>
                      <a:gd name="T111" fmla="*/ 767 h 1113"/>
                      <a:gd name="T112" fmla="*/ 0 w 2461"/>
                      <a:gd name="T113" fmla="*/ 529 h 1113"/>
                      <a:gd name="T114" fmla="*/ 118 w 2461"/>
                      <a:gd name="T115" fmla="*/ 281 h 1113"/>
                      <a:gd name="T116" fmla="*/ 130 w 2461"/>
                      <a:gd name="T117" fmla="*/ 0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61" h="1113">
                        <a:moveTo>
                          <a:pt x="130" y="0"/>
                        </a:moveTo>
                        <a:lnTo>
                          <a:pt x="1241" y="98"/>
                        </a:lnTo>
                        <a:lnTo>
                          <a:pt x="1231" y="454"/>
                        </a:lnTo>
                        <a:lnTo>
                          <a:pt x="1241" y="238"/>
                        </a:lnTo>
                        <a:lnTo>
                          <a:pt x="2364" y="173"/>
                        </a:lnTo>
                        <a:lnTo>
                          <a:pt x="2364" y="346"/>
                        </a:lnTo>
                        <a:lnTo>
                          <a:pt x="2461" y="605"/>
                        </a:lnTo>
                        <a:lnTo>
                          <a:pt x="2343" y="810"/>
                        </a:lnTo>
                        <a:lnTo>
                          <a:pt x="2341" y="812"/>
                        </a:lnTo>
                        <a:lnTo>
                          <a:pt x="2335" y="816"/>
                        </a:lnTo>
                        <a:lnTo>
                          <a:pt x="2325" y="824"/>
                        </a:lnTo>
                        <a:lnTo>
                          <a:pt x="2313" y="833"/>
                        </a:lnTo>
                        <a:lnTo>
                          <a:pt x="2296" y="846"/>
                        </a:lnTo>
                        <a:lnTo>
                          <a:pt x="2275" y="859"/>
                        </a:lnTo>
                        <a:lnTo>
                          <a:pt x="2250" y="875"/>
                        </a:lnTo>
                        <a:lnTo>
                          <a:pt x="2221" y="891"/>
                        </a:lnTo>
                        <a:lnTo>
                          <a:pt x="2189" y="908"/>
                        </a:lnTo>
                        <a:lnTo>
                          <a:pt x="2152" y="927"/>
                        </a:lnTo>
                        <a:lnTo>
                          <a:pt x="2111" y="946"/>
                        </a:lnTo>
                        <a:lnTo>
                          <a:pt x="2067" y="965"/>
                        </a:lnTo>
                        <a:lnTo>
                          <a:pt x="2018" y="985"/>
                        </a:lnTo>
                        <a:lnTo>
                          <a:pt x="1966" y="1004"/>
                        </a:lnTo>
                        <a:lnTo>
                          <a:pt x="1909" y="1021"/>
                        </a:lnTo>
                        <a:lnTo>
                          <a:pt x="1849" y="1039"/>
                        </a:lnTo>
                        <a:lnTo>
                          <a:pt x="1784" y="1055"/>
                        </a:lnTo>
                        <a:lnTo>
                          <a:pt x="1713" y="1070"/>
                        </a:lnTo>
                        <a:lnTo>
                          <a:pt x="1640" y="1083"/>
                        </a:lnTo>
                        <a:lnTo>
                          <a:pt x="1563" y="1094"/>
                        </a:lnTo>
                        <a:lnTo>
                          <a:pt x="1481" y="1102"/>
                        </a:lnTo>
                        <a:lnTo>
                          <a:pt x="1394" y="1108"/>
                        </a:lnTo>
                        <a:lnTo>
                          <a:pt x="1304" y="1113"/>
                        </a:lnTo>
                        <a:lnTo>
                          <a:pt x="1209" y="1113"/>
                        </a:lnTo>
                        <a:lnTo>
                          <a:pt x="1115" y="1109"/>
                        </a:lnTo>
                        <a:lnTo>
                          <a:pt x="1026" y="1103"/>
                        </a:lnTo>
                        <a:lnTo>
                          <a:pt x="942" y="1095"/>
                        </a:lnTo>
                        <a:lnTo>
                          <a:pt x="861" y="1083"/>
                        </a:lnTo>
                        <a:lnTo>
                          <a:pt x="786" y="1070"/>
                        </a:lnTo>
                        <a:lnTo>
                          <a:pt x="713" y="1054"/>
                        </a:lnTo>
                        <a:lnTo>
                          <a:pt x="646" y="1037"/>
                        </a:lnTo>
                        <a:lnTo>
                          <a:pt x="582" y="1018"/>
                        </a:lnTo>
                        <a:lnTo>
                          <a:pt x="524" y="998"/>
                        </a:lnTo>
                        <a:lnTo>
                          <a:pt x="469" y="977"/>
                        </a:lnTo>
                        <a:lnTo>
                          <a:pt x="418" y="957"/>
                        </a:lnTo>
                        <a:lnTo>
                          <a:pt x="371" y="936"/>
                        </a:lnTo>
                        <a:lnTo>
                          <a:pt x="328" y="915"/>
                        </a:lnTo>
                        <a:lnTo>
                          <a:pt x="289" y="894"/>
                        </a:lnTo>
                        <a:lnTo>
                          <a:pt x="255" y="874"/>
                        </a:lnTo>
                        <a:lnTo>
                          <a:pt x="223" y="854"/>
                        </a:lnTo>
                        <a:lnTo>
                          <a:pt x="196" y="836"/>
                        </a:lnTo>
                        <a:lnTo>
                          <a:pt x="172" y="819"/>
                        </a:lnTo>
                        <a:lnTo>
                          <a:pt x="152" y="805"/>
                        </a:lnTo>
                        <a:lnTo>
                          <a:pt x="136" y="792"/>
                        </a:lnTo>
                        <a:lnTo>
                          <a:pt x="124" y="782"/>
                        </a:lnTo>
                        <a:lnTo>
                          <a:pt x="115" y="773"/>
                        </a:lnTo>
                        <a:lnTo>
                          <a:pt x="110" y="769"/>
                        </a:lnTo>
                        <a:lnTo>
                          <a:pt x="108" y="767"/>
                        </a:lnTo>
                        <a:lnTo>
                          <a:pt x="0" y="529"/>
                        </a:lnTo>
                        <a:lnTo>
                          <a:pt x="118" y="281"/>
                        </a:lnTo>
                        <a:lnTo>
                          <a:pt x="130" y="0"/>
                        </a:lnTo>
                        <a:close/>
                      </a:path>
                    </a:pathLst>
                  </a:custGeom>
                  <a:solidFill>
                    <a:srgbClr val="7FBA4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20" name="Freeform 10"/>
                  <p:cNvSpPr>
                    <a:spLocks/>
                  </p:cNvSpPr>
                  <p:nvPr/>
                </p:nvSpPr>
                <p:spPr bwMode="auto">
                  <a:xfrm>
                    <a:off x="2199408" y="4946650"/>
                    <a:ext cx="469961" cy="186830"/>
                  </a:xfrm>
                  <a:custGeom>
                    <a:avLst/>
                    <a:gdLst>
                      <a:gd name="T0" fmla="*/ 130 w 2472"/>
                      <a:gd name="T1" fmla="*/ 0 h 885"/>
                      <a:gd name="T2" fmla="*/ 1241 w 2472"/>
                      <a:gd name="T3" fmla="*/ 98 h 885"/>
                      <a:gd name="T4" fmla="*/ 1231 w 2472"/>
                      <a:gd name="T5" fmla="*/ 454 h 885"/>
                      <a:gd name="T6" fmla="*/ 1241 w 2472"/>
                      <a:gd name="T7" fmla="*/ 238 h 885"/>
                      <a:gd name="T8" fmla="*/ 2364 w 2472"/>
                      <a:gd name="T9" fmla="*/ 173 h 885"/>
                      <a:gd name="T10" fmla="*/ 2364 w 2472"/>
                      <a:gd name="T11" fmla="*/ 346 h 885"/>
                      <a:gd name="T12" fmla="*/ 2472 w 2472"/>
                      <a:gd name="T13" fmla="*/ 605 h 885"/>
                      <a:gd name="T14" fmla="*/ 2470 w 2472"/>
                      <a:gd name="T15" fmla="*/ 607 h 885"/>
                      <a:gd name="T16" fmla="*/ 2462 w 2472"/>
                      <a:gd name="T17" fmla="*/ 611 h 885"/>
                      <a:gd name="T18" fmla="*/ 2450 w 2472"/>
                      <a:gd name="T19" fmla="*/ 617 h 885"/>
                      <a:gd name="T20" fmla="*/ 2433 w 2472"/>
                      <a:gd name="T21" fmla="*/ 627 h 885"/>
                      <a:gd name="T22" fmla="*/ 2412 w 2472"/>
                      <a:gd name="T23" fmla="*/ 638 h 885"/>
                      <a:gd name="T24" fmla="*/ 2386 w 2472"/>
                      <a:gd name="T25" fmla="*/ 651 h 885"/>
                      <a:gd name="T26" fmla="*/ 2355 w 2472"/>
                      <a:gd name="T27" fmla="*/ 664 h 885"/>
                      <a:gd name="T28" fmla="*/ 2320 w 2472"/>
                      <a:gd name="T29" fmla="*/ 680 h 885"/>
                      <a:gd name="T30" fmla="*/ 2281 w 2472"/>
                      <a:gd name="T31" fmla="*/ 697 h 885"/>
                      <a:gd name="T32" fmla="*/ 2237 w 2472"/>
                      <a:gd name="T33" fmla="*/ 714 h 885"/>
                      <a:gd name="T34" fmla="*/ 2189 w 2472"/>
                      <a:gd name="T35" fmla="*/ 731 h 885"/>
                      <a:gd name="T36" fmla="*/ 2138 w 2472"/>
                      <a:gd name="T37" fmla="*/ 749 h 885"/>
                      <a:gd name="T38" fmla="*/ 2081 w 2472"/>
                      <a:gd name="T39" fmla="*/ 767 h 885"/>
                      <a:gd name="T40" fmla="*/ 2021 w 2472"/>
                      <a:gd name="T41" fmla="*/ 785 h 885"/>
                      <a:gd name="T42" fmla="*/ 1957 w 2472"/>
                      <a:gd name="T43" fmla="*/ 802 h 885"/>
                      <a:gd name="T44" fmla="*/ 1889 w 2472"/>
                      <a:gd name="T45" fmla="*/ 818 h 885"/>
                      <a:gd name="T46" fmla="*/ 1818 w 2472"/>
                      <a:gd name="T47" fmla="*/ 833 h 885"/>
                      <a:gd name="T48" fmla="*/ 1744 w 2472"/>
                      <a:gd name="T49" fmla="*/ 847 h 885"/>
                      <a:gd name="T50" fmla="*/ 1664 w 2472"/>
                      <a:gd name="T51" fmla="*/ 858 h 885"/>
                      <a:gd name="T52" fmla="*/ 1583 w 2472"/>
                      <a:gd name="T53" fmla="*/ 869 h 885"/>
                      <a:gd name="T54" fmla="*/ 1497 w 2472"/>
                      <a:gd name="T55" fmla="*/ 877 h 885"/>
                      <a:gd name="T56" fmla="*/ 1408 w 2472"/>
                      <a:gd name="T57" fmla="*/ 882 h 885"/>
                      <a:gd name="T58" fmla="*/ 1316 w 2472"/>
                      <a:gd name="T59" fmla="*/ 885 h 885"/>
                      <a:gd name="T60" fmla="*/ 1220 w 2472"/>
                      <a:gd name="T61" fmla="*/ 885 h 885"/>
                      <a:gd name="T62" fmla="*/ 1124 w 2472"/>
                      <a:gd name="T63" fmla="*/ 883 h 885"/>
                      <a:gd name="T64" fmla="*/ 1033 w 2472"/>
                      <a:gd name="T65" fmla="*/ 877 h 885"/>
                      <a:gd name="T66" fmla="*/ 944 w 2472"/>
                      <a:gd name="T67" fmla="*/ 868 h 885"/>
                      <a:gd name="T68" fmla="*/ 860 w 2472"/>
                      <a:gd name="T69" fmla="*/ 856 h 885"/>
                      <a:gd name="T70" fmla="*/ 778 w 2472"/>
                      <a:gd name="T71" fmla="*/ 841 h 885"/>
                      <a:gd name="T72" fmla="*/ 702 w 2472"/>
                      <a:gd name="T73" fmla="*/ 826 h 885"/>
                      <a:gd name="T74" fmla="*/ 627 w 2472"/>
                      <a:gd name="T75" fmla="*/ 808 h 885"/>
                      <a:gd name="T76" fmla="*/ 558 w 2472"/>
                      <a:gd name="T77" fmla="*/ 789 h 885"/>
                      <a:gd name="T78" fmla="*/ 492 w 2472"/>
                      <a:gd name="T79" fmla="*/ 768 h 885"/>
                      <a:gd name="T80" fmla="*/ 431 w 2472"/>
                      <a:gd name="T81" fmla="*/ 747 h 885"/>
                      <a:gd name="T82" fmla="*/ 372 w 2472"/>
                      <a:gd name="T83" fmla="*/ 725 h 885"/>
                      <a:gd name="T84" fmla="*/ 319 w 2472"/>
                      <a:gd name="T85" fmla="*/ 703 h 885"/>
                      <a:gd name="T86" fmla="*/ 268 w 2472"/>
                      <a:gd name="T87" fmla="*/ 682 h 885"/>
                      <a:gd name="T88" fmla="*/ 222 w 2472"/>
                      <a:gd name="T89" fmla="*/ 660 h 885"/>
                      <a:gd name="T90" fmla="*/ 181 w 2472"/>
                      <a:gd name="T91" fmla="*/ 639 h 885"/>
                      <a:gd name="T92" fmla="*/ 144 w 2472"/>
                      <a:gd name="T93" fmla="*/ 619 h 885"/>
                      <a:gd name="T94" fmla="*/ 110 w 2472"/>
                      <a:gd name="T95" fmla="*/ 600 h 885"/>
                      <a:gd name="T96" fmla="*/ 81 w 2472"/>
                      <a:gd name="T97" fmla="*/ 584 h 885"/>
                      <a:gd name="T98" fmla="*/ 57 w 2472"/>
                      <a:gd name="T99" fmla="*/ 568 h 885"/>
                      <a:gd name="T100" fmla="*/ 37 w 2472"/>
                      <a:gd name="T101" fmla="*/ 555 h 885"/>
                      <a:gd name="T102" fmla="*/ 20 w 2472"/>
                      <a:gd name="T103" fmla="*/ 544 h 885"/>
                      <a:gd name="T104" fmla="*/ 10 w 2472"/>
                      <a:gd name="T105" fmla="*/ 537 h 885"/>
                      <a:gd name="T106" fmla="*/ 2 w 2472"/>
                      <a:gd name="T107" fmla="*/ 531 h 885"/>
                      <a:gd name="T108" fmla="*/ 0 w 2472"/>
                      <a:gd name="T109" fmla="*/ 529 h 885"/>
                      <a:gd name="T110" fmla="*/ 118 w 2472"/>
                      <a:gd name="T111" fmla="*/ 281 h 885"/>
                      <a:gd name="T112" fmla="*/ 130 w 2472"/>
                      <a:gd name="T113" fmla="*/ 0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85">
                        <a:moveTo>
                          <a:pt x="130" y="0"/>
                        </a:moveTo>
                        <a:lnTo>
                          <a:pt x="1241" y="98"/>
                        </a:lnTo>
                        <a:lnTo>
                          <a:pt x="1231" y="454"/>
                        </a:lnTo>
                        <a:lnTo>
                          <a:pt x="1241" y="238"/>
                        </a:lnTo>
                        <a:lnTo>
                          <a:pt x="2364" y="173"/>
                        </a:lnTo>
                        <a:lnTo>
                          <a:pt x="2364" y="346"/>
                        </a:lnTo>
                        <a:lnTo>
                          <a:pt x="2472" y="605"/>
                        </a:lnTo>
                        <a:lnTo>
                          <a:pt x="2470" y="607"/>
                        </a:lnTo>
                        <a:lnTo>
                          <a:pt x="2462" y="611"/>
                        </a:lnTo>
                        <a:lnTo>
                          <a:pt x="2450" y="617"/>
                        </a:lnTo>
                        <a:lnTo>
                          <a:pt x="2433" y="627"/>
                        </a:lnTo>
                        <a:lnTo>
                          <a:pt x="2412" y="638"/>
                        </a:lnTo>
                        <a:lnTo>
                          <a:pt x="2386" y="651"/>
                        </a:lnTo>
                        <a:lnTo>
                          <a:pt x="2355" y="664"/>
                        </a:lnTo>
                        <a:lnTo>
                          <a:pt x="2320" y="680"/>
                        </a:lnTo>
                        <a:lnTo>
                          <a:pt x="2281" y="697"/>
                        </a:lnTo>
                        <a:lnTo>
                          <a:pt x="2237" y="714"/>
                        </a:lnTo>
                        <a:lnTo>
                          <a:pt x="2189" y="731"/>
                        </a:lnTo>
                        <a:lnTo>
                          <a:pt x="2138" y="749"/>
                        </a:lnTo>
                        <a:lnTo>
                          <a:pt x="2081" y="767"/>
                        </a:lnTo>
                        <a:lnTo>
                          <a:pt x="2021" y="785"/>
                        </a:lnTo>
                        <a:lnTo>
                          <a:pt x="1957" y="802"/>
                        </a:lnTo>
                        <a:lnTo>
                          <a:pt x="1889" y="818"/>
                        </a:lnTo>
                        <a:lnTo>
                          <a:pt x="1818" y="833"/>
                        </a:lnTo>
                        <a:lnTo>
                          <a:pt x="1744" y="847"/>
                        </a:lnTo>
                        <a:lnTo>
                          <a:pt x="1664" y="858"/>
                        </a:lnTo>
                        <a:lnTo>
                          <a:pt x="1583" y="869"/>
                        </a:lnTo>
                        <a:lnTo>
                          <a:pt x="1497" y="877"/>
                        </a:lnTo>
                        <a:lnTo>
                          <a:pt x="1408" y="882"/>
                        </a:lnTo>
                        <a:lnTo>
                          <a:pt x="1316" y="885"/>
                        </a:lnTo>
                        <a:lnTo>
                          <a:pt x="1220" y="885"/>
                        </a:lnTo>
                        <a:lnTo>
                          <a:pt x="1124" y="883"/>
                        </a:lnTo>
                        <a:lnTo>
                          <a:pt x="1033" y="877"/>
                        </a:lnTo>
                        <a:lnTo>
                          <a:pt x="944" y="868"/>
                        </a:lnTo>
                        <a:lnTo>
                          <a:pt x="860" y="856"/>
                        </a:lnTo>
                        <a:lnTo>
                          <a:pt x="778" y="841"/>
                        </a:lnTo>
                        <a:lnTo>
                          <a:pt x="702" y="826"/>
                        </a:lnTo>
                        <a:lnTo>
                          <a:pt x="627" y="808"/>
                        </a:lnTo>
                        <a:lnTo>
                          <a:pt x="558" y="789"/>
                        </a:lnTo>
                        <a:lnTo>
                          <a:pt x="492" y="768"/>
                        </a:lnTo>
                        <a:lnTo>
                          <a:pt x="431" y="747"/>
                        </a:lnTo>
                        <a:lnTo>
                          <a:pt x="372" y="725"/>
                        </a:lnTo>
                        <a:lnTo>
                          <a:pt x="319" y="703"/>
                        </a:lnTo>
                        <a:lnTo>
                          <a:pt x="268" y="682"/>
                        </a:lnTo>
                        <a:lnTo>
                          <a:pt x="222" y="660"/>
                        </a:lnTo>
                        <a:lnTo>
                          <a:pt x="181" y="639"/>
                        </a:lnTo>
                        <a:lnTo>
                          <a:pt x="144" y="619"/>
                        </a:lnTo>
                        <a:lnTo>
                          <a:pt x="110" y="600"/>
                        </a:lnTo>
                        <a:lnTo>
                          <a:pt x="81" y="584"/>
                        </a:lnTo>
                        <a:lnTo>
                          <a:pt x="57" y="568"/>
                        </a:lnTo>
                        <a:lnTo>
                          <a:pt x="37" y="555"/>
                        </a:lnTo>
                        <a:lnTo>
                          <a:pt x="20" y="544"/>
                        </a:lnTo>
                        <a:lnTo>
                          <a:pt x="10" y="537"/>
                        </a:lnTo>
                        <a:lnTo>
                          <a:pt x="2" y="531"/>
                        </a:lnTo>
                        <a:lnTo>
                          <a:pt x="0" y="529"/>
                        </a:lnTo>
                        <a:lnTo>
                          <a:pt x="118" y="281"/>
                        </a:lnTo>
                        <a:lnTo>
                          <a:pt x="130" y="0"/>
                        </a:lnTo>
                        <a:close/>
                      </a:path>
                    </a:pathLst>
                  </a:custGeom>
                  <a:solidFill>
                    <a:srgbClr val="00733B"/>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21" name="Freeform 16"/>
                  <p:cNvSpPr>
                    <a:spLocks/>
                  </p:cNvSpPr>
                  <p:nvPr/>
                </p:nvSpPr>
                <p:spPr bwMode="auto">
                  <a:xfrm>
                    <a:off x="2206752" y="4803610"/>
                    <a:ext cx="446035" cy="289777"/>
                  </a:xfrm>
                  <a:custGeom>
                    <a:avLst/>
                    <a:gdLst>
                      <a:gd name="T0" fmla="*/ 1 w 2353"/>
                      <a:gd name="T1" fmla="*/ 2 h 1231"/>
                      <a:gd name="T2" fmla="*/ 9 w 2353"/>
                      <a:gd name="T3" fmla="*/ 12 h 1231"/>
                      <a:gd name="T4" fmla="*/ 27 w 2353"/>
                      <a:gd name="T5" fmla="*/ 32 h 1231"/>
                      <a:gd name="T6" fmla="*/ 54 w 2353"/>
                      <a:gd name="T7" fmla="*/ 59 h 1231"/>
                      <a:gd name="T8" fmla="*/ 94 w 2353"/>
                      <a:gd name="T9" fmla="*/ 92 h 1231"/>
                      <a:gd name="T10" fmla="*/ 146 w 2353"/>
                      <a:gd name="T11" fmla="*/ 128 h 1231"/>
                      <a:gd name="T12" fmla="*/ 212 w 2353"/>
                      <a:gd name="T13" fmla="*/ 168 h 1231"/>
                      <a:gd name="T14" fmla="*/ 293 w 2353"/>
                      <a:gd name="T15" fmla="*/ 209 h 1231"/>
                      <a:gd name="T16" fmla="*/ 391 w 2353"/>
                      <a:gd name="T17" fmla="*/ 250 h 1231"/>
                      <a:gd name="T18" fmla="*/ 506 w 2353"/>
                      <a:gd name="T19" fmla="*/ 287 h 1231"/>
                      <a:gd name="T20" fmla="*/ 639 w 2353"/>
                      <a:gd name="T21" fmla="*/ 323 h 1231"/>
                      <a:gd name="T22" fmla="*/ 793 w 2353"/>
                      <a:gd name="T23" fmla="*/ 352 h 1231"/>
                      <a:gd name="T24" fmla="*/ 968 w 2353"/>
                      <a:gd name="T25" fmla="*/ 374 h 1231"/>
                      <a:gd name="T26" fmla="*/ 1166 w 2353"/>
                      <a:gd name="T27" fmla="*/ 389 h 1231"/>
                      <a:gd name="T28" fmla="*/ 1260 w 2353"/>
                      <a:gd name="T29" fmla="*/ 387 h 1231"/>
                      <a:gd name="T30" fmla="*/ 1423 w 2353"/>
                      <a:gd name="T31" fmla="*/ 375 h 1231"/>
                      <a:gd name="T32" fmla="*/ 1578 w 2353"/>
                      <a:gd name="T33" fmla="*/ 352 h 1231"/>
                      <a:gd name="T34" fmla="*/ 1723 w 2353"/>
                      <a:gd name="T35" fmla="*/ 322 h 1231"/>
                      <a:gd name="T36" fmla="*/ 1857 w 2353"/>
                      <a:gd name="T37" fmla="*/ 284 h 1231"/>
                      <a:gd name="T38" fmla="*/ 1980 w 2353"/>
                      <a:gd name="T39" fmla="*/ 242 h 1231"/>
                      <a:gd name="T40" fmla="*/ 2087 w 2353"/>
                      <a:gd name="T41" fmla="*/ 197 h 1231"/>
                      <a:gd name="T42" fmla="*/ 2179 w 2353"/>
                      <a:gd name="T43" fmla="*/ 152 h 1231"/>
                      <a:gd name="T44" fmla="*/ 2252 w 2353"/>
                      <a:gd name="T45" fmla="*/ 107 h 1231"/>
                      <a:gd name="T46" fmla="*/ 2308 w 2353"/>
                      <a:gd name="T47" fmla="*/ 66 h 1231"/>
                      <a:gd name="T48" fmla="*/ 2341 w 2353"/>
                      <a:gd name="T49" fmla="*/ 30 h 1231"/>
                      <a:gd name="T50" fmla="*/ 2353 w 2353"/>
                      <a:gd name="T51" fmla="*/ 0 h 1231"/>
                      <a:gd name="T52" fmla="*/ 2350 w 2353"/>
                      <a:gd name="T53" fmla="*/ 793 h 1231"/>
                      <a:gd name="T54" fmla="*/ 2322 w 2353"/>
                      <a:gd name="T55" fmla="*/ 863 h 1231"/>
                      <a:gd name="T56" fmla="*/ 2269 w 2353"/>
                      <a:gd name="T57" fmla="*/ 931 h 1231"/>
                      <a:gd name="T58" fmla="*/ 2193 w 2353"/>
                      <a:gd name="T59" fmla="*/ 994 h 1231"/>
                      <a:gd name="T60" fmla="*/ 2094 w 2353"/>
                      <a:gd name="T61" fmla="*/ 1052 h 1231"/>
                      <a:gd name="T62" fmla="*/ 1977 w 2353"/>
                      <a:gd name="T63" fmla="*/ 1103 h 1231"/>
                      <a:gd name="T64" fmla="*/ 1843 w 2353"/>
                      <a:gd name="T65" fmla="*/ 1146 h 1231"/>
                      <a:gd name="T66" fmla="*/ 1693 w 2353"/>
                      <a:gd name="T67" fmla="*/ 1182 h 1231"/>
                      <a:gd name="T68" fmla="*/ 1531 w 2353"/>
                      <a:gd name="T69" fmla="*/ 1209 h 1231"/>
                      <a:gd name="T70" fmla="*/ 1358 w 2353"/>
                      <a:gd name="T71" fmla="*/ 1225 h 1231"/>
                      <a:gd name="T72" fmla="*/ 1177 w 2353"/>
                      <a:gd name="T73" fmla="*/ 1231 h 1231"/>
                      <a:gd name="T74" fmla="*/ 1074 w 2353"/>
                      <a:gd name="T75" fmla="*/ 1228 h 1231"/>
                      <a:gd name="T76" fmla="*/ 897 w 2353"/>
                      <a:gd name="T77" fmla="*/ 1215 h 1231"/>
                      <a:gd name="T78" fmla="*/ 731 w 2353"/>
                      <a:gd name="T79" fmla="*/ 1192 h 1231"/>
                      <a:gd name="T80" fmla="*/ 576 w 2353"/>
                      <a:gd name="T81" fmla="*/ 1161 h 1231"/>
                      <a:gd name="T82" fmla="*/ 435 w 2353"/>
                      <a:gd name="T83" fmla="*/ 1121 h 1231"/>
                      <a:gd name="T84" fmla="*/ 311 w 2353"/>
                      <a:gd name="T85" fmla="*/ 1074 h 1231"/>
                      <a:gd name="T86" fmla="*/ 204 w 2353"/>
                      <a:gd name="T87" fmla="*/ 1020 h 1231"/>
                      <a:gd name="T88" fmla="*/ 118 w 2353"/>
                      <a:gd name="T89" fmla="*/ 962 h 1231"/>
                      <a:gd name="T90" fmla="*/ 54 w 2353"/>
                      <a:gd name="T91" fmla="*/ 897 h 1231"/>
                      <a:gd name="T92" fmla="*/ 14 w 2353"/>
                      <a:gd name="T93" fmla="*/ 829 h 1231"/>
                      <a:gd name="T94" fmla="*/ 0 w 2353"/>
                      <a:gd name="T95" fmla="*/ 756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53" h="1231">
                        <a:moveTo>
                          <a:pt x="0" y="0"/>
                        </a:moveTo>
                        <a:lnTo>
                          <a:pt x="1" y="2"/>
                        </a:lnTo>
                        <a:lnTo>
                          <a:pt x="4" y="6"/>
                        </a:lnTo>
                        <a:lnTo>
                          <a:pt x="9" y="12"/>
                        </a:lnTo>
                        <a:lnTo>
                          <a:pt x="16" y="21"/>
                        </a:lnTo>
                        <a:lnTo>
                          <a:pt x="27" y="32"/>
                        </a:lnTo>
                        <a:lnTo>
                          <a:pt x="39" y="44"/>
                        </a:lnTo>
                        <a:lnTo>
                          <a:pt x="54" y="59"/>
                        </a:lnTo>
                        <a:lnTo>
                          <a:pt x="72" y="75"/>
                        </a:lnTo>
                        <a:lnTo>
                          <a:pt x="94" y="92"/>
                        </a:lnTo>
                        <a:lnTo>
                          <a:pt x="118" y="109"/>
                        </a:lnTo>
                        <a:lnTo>
                          <a:pt x="146" y="128"/>
                        </a:lnTo>
                        <a:lnTo>
                          <a:pt x="177" y="148"/>
                        </a:lnTo>
                        <a:lnTo>
                          <a:pt x="212" y="168"/>
                        </a:lnTo>
                        <a:lnTo>
                          <a:pt x="251" y="189"/>
                        </a:lnTo>
                        <a:lnTo>
                          <a:pt x="293" y="209"/>
                        </a:lnTo>
                        <a:lnTo>
                          <a:pt x="340" y="230"/>
                        </a:lnTo>
                        <a:lnTo>
                          <a:pt x="391" y="250"/>
                        </a:lnTo>
                        <a:lnTo>
                          <a:pt x="446" y="269"/>
                        </a:lnTo>
                        <a:lnTo>
                          <a:pt x="506" y="287"/>
                        </a:lnTo>
                        <a:lnTo>
                          <a:pt x="570" y="306"/>
                        </a:lnTo>
                        <a:lnTo>
                          <a:pt x="639" y="323"/>
                        </a:lnTo>
                        <a:lnTo>
                          <a:pt x="714" y="338"/>
                        </a:lnTo>
                        <a:lnTo>
                          <a:pt x="793" y="352"/>
                        </a:lnTo>
                        <a:lnTo>
                          <a:pt x="878" y="364"/>
                        </a:lnTo>
                        <a:lnTo>
                          <a:pt x="968" y="374"/>
                        </a:lnTo>
                        <a:lnTo>
                          <a:pt x="1065" y="383"/>
                        </a:lnTo>
                        <a:lnTo>
                          <a:pt x="1166" y="389"/>
                        </a:lnTo>
                        <a:lnTo>
                          <a:pt x="1177" y="389"/>
                        </a:lnTo>
                        <a:lnTo>
                          <a:pt x="1260" y="387"/>
                        </a:lnTo>
                        <a:lnTo>
                          <a:pt x="1342" y="383"/>
                        </a:lnTo>
                        <a:lnTo>
                          <a:pt x="1423" y="375"/>
                        </a:lnTo>
                        <a:lnTo>
                          <a:pt x="1501" y="365"/>
                        </a:lnTo>
                        <a:lnTo>
                          <a:pt x="1578" y="352"/>
                        </a:lnTo>
                        <a:lnTo>
                          <a:pt x="1652" y="338"/>
                        </a:lnTo>
                        <a:lnTo>
                          <a:pt x="1723" y="322"/>
                        </a:lnTo>
                        <a:lnTo>
                          <a:pt x="1792" y="304"/>
                        </a:lnTo>
                        <a:lnTo>
                          <a:pt x="1857" y="284"/>
                        </a:lnTo>
                        <a:lnTo>
                          <a:pt x="1920" y="263"/>
                        </a:lnTo>
                        <a:lnTo>
                          <a:pt x="1980" y="242"/>
                        </a:lnTo>
                        <a:lnTo>
                          <a:pt x="2035" y="220"/>
                        </a:lnTo>
                        <a:lnTo>
                          <a:pt x="2087" y="197"/>
                        </a:lnTo>
                        <a:lnTo>
                          <a:pt x="2135" y="174"/>
                        </a:lnTo>
                        <a:lnTo>
                          <a:pt x="2179" y="152"/>
                        </a:lnTo>
                        <a:lnTo>
                          <a:pt x="2218" y="129"/>
                        </a:lnTo>
                        <a:lnTo>
                          <a:pt x="2252" y="107"/>
                        </a:lnTo>
                        <a:lnTo>
                          <a:pt x="2283" y="86"/>
                        </a:lnTo>
                        <a:lnTo>
                          <a:pt x="2308" y="66"/>
                        </a:lnTo>
                        <a:lnTo>
                          <a:pt x="2328" y="48"/>
                        </a:lnTo>
                        <a:lnTo>
                          <a:pt x="2341" y="30"/>
                        </a:lnTo>
                        <a:lnTo>
                          <a:pt x="2351" y="14"/>
                        </a:lnTo>
                        <a:lnTo>
                          <a:pt x="2353" y="0"/>
                        </a:lnTo>
                        <a:lnTo>
                          <a:pt x="2353" y="756"/>
                        </a:lnTo>
                        <a:lnTo>
                          <a:pt x="2350" y="793"/>
                        </a:lnTo>
                        <a:lnTo>
                          <a:pt x="2339" y="829"/>
                        </a:lnTo>
                        <a:lnTo>
                          <a:pt x="2322" y="863"/>
                        </a:lnTo>
                        <a:lnTo>
                          <a:pt x="2298" y="898"/>
                        </a:lnTo>
                        <a:lnTo>
                          <a:pt x="2269" y="931"/>
                        </a:lnTo>
                        <a:lnTo>
                          <a:pt x="2233" y="964"/>
                        </a:lnTo>
                        <a:lnTo>
                          <a:pt x="2193" y="994"/>
                        </a:lnTo>
                        <a:lnTo>
                          <a:pt x="2145" y="1024"/>
                        </a:lnTo>
                        <a:lnTo>
                          <a:pt x="2094" y="1052"/>
                        </a:lnTo>
                        <a:lnTo>
                          <a:pt x="2038" y="1078"/>
                        </a:lnTo>
                        <a:lnTo>
                          <a:pt x="1977" y="1103"/>
                        </a:lnTo>
                        <a:lnTo>
                          <a:pt x="1912" y="1125"/>
                        </a:lnTo>
                        <a:lnTo>
                          <a:pt x="1843" y="1146"/>
                        </a:lnTo>
                        <a:lnTo>
                          <a:pt x="1769" y="1165"/>
                        </a:lnTo>
                        <a:lnTo>
                          <a:pt x="1693" y="1182"/>
                        </a:lnTo>
                        <a:lnTo>
                          <a:pt x="1613" y="1196"/>
                        </a:lnTo>
                        <a:lnTo>
                          <a:pt x="1531" y="1209"/>
                        </a:lnTo>
                        <a:lnTo>
                          <a:pt x="1446" y="1218"/>
                        </a:lnTo>
                        <a:lnTo>
                          <a:pt x="1358" y="1225"/>
                        </a:lnTo>
                        <a:lnTo>
                          <a:pt x="1268" y="1230"/>
                        </a:lnTo>
                        <a:lnTo>
                          <a:pt x="1177" y="1231"/>
                        </a:lnTo>
                        <a:lnTo>
                          <a:pt x="1166" y="1231"/>
                        </a:lnTo>
                        <a:lnTo>
                          <a:pt x="1074" y="1228"/>
                        </a:lnTo>
                        <a:lnTo>
                          <a:pt x="985" y="1223"/>
                        </a:lnTo>
                        <a:lnTo>
                          <a:pt x="897" y="1215"/>
                        </a:lnTo>
                        <a:lnTo>
                          <a:pt x="812" y="1205"/>
                        </a:lnTo>
                        <a:lnTo>
                          <a:pt x="731" y="1192"/>
                        </a:lnTo>
                        <a:lnTo>
                          <a:pt x="651" y="1178"/>
                        </a:lnTo>
                        <a:lnTo>
                          <a:pt x="576" y="1161"/>
                        </a:lnTo>
                        <a:lnTo>
                          <a:pt x="503" y="1142"/>
                        </a:lnTo>
                        <a:lnTo>
                          <a:pt x="435" y="1121"/>
                        </a:lnTo>
                        <a:lnTo>
                          <a:pt x="370" y="1099"/>
                        </a:lnTo>
                        <a:lnTo>
                          <a:pt x="311" y="1074"/>
                        </a:lnTo>
                        <a:lnTo>
                          <a:pt x="255" y="1049"/>
                        </a:lnTo>
                        <a:lnTo>
                          <a:pt x="204" y="1020"/>
                        </a:lnTo>
                        <a:lnTo>
                          <a:pt x="159" y="992"/>
                        </a:lnTo>
                        <a:lnTo>
                          <a:pt x="118" y="962"/>
                        </a:lnTo>
                        <a:lnTo>
                          <a:pt x="83" y="930"/>
                        </a:lnTo>
                        <a:lnTo>
                          <a:pt x="54" y="897"/>
                        </a:lnTo>
                        <a:lnTo>
                          <a:pt x="31" y="863"/>
                        </a:lnTo>
                        <a:lnTo>
                          <a:pt x="14" y="829"/>
                        </a:lnTo>
                        <a:lnTo>
                          <a:pt x="4" y="792"/>
                        </a:lnTo>
                        <a:lnTo>
                          <a:pt x="0" y="756"/>
                        </a:lnTo>
                        <a:lnTo>
                          <a:pt x="0" y="0"/>
                        </a:lnTo>
                        <a:close/>
                      </a:path>
                    </a:pathLst>
                  </a:custGeom>
                  <a:solidFill>
                    <a:srgbClr val="3898C5"/>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22" name="Freeform 17"/>
                  <p:cNvSpPr>
                    <a:spLocks/>
                  </p:cNvSpPr>
                  <p:nvPr/>
                </p:nvSpPr>
                <p:spPr bwMode="auto">
                  <a:xfrm>
                    <a:off x="2432332" y="4805516"/>
                    <a:ext cx="223872" cy="285965"/>
                  </a:xfrm>
                  <a:custGeom>
                    <a:avLst/>
                    <a:gdLst>
                      <a:gd name="T0" fmla="*/ 1187 w 1187"/>
                      <a:gd name="T1" fmla="*/ 0 h 1231"/>
                      <a:gd name="T2" fmla="*/ 1187 w 1187"/>
                      <a:gd name="T3" fmla="*/ 756 h 1231"/>
                      <a:gd name="T4" fmla="*/ 1184 w 1187"/>
                      <a:gd name="T5" fmla="*/ 793 h 1231"/>
                      <a:gd name="T6" fmla="*/ 1173 w 1187"/>
                      <a:gd name="T7" fmla="*/ 829 h 1231"/>
                      <a:gd name="T8" fmla="*/ 1156 w 1187"/>
                      <a:gd name="T9" fmla="*/ 863 h 1231"/>
                      <a:gd name="T10" fmla="*/ 1132 w 1187"/>
                      <a:gd name="T11" fmla="*/ 898 h 1231"/>
                      <a:gd name="T12" fmla="*/ 1103 w 1187"/>
                      <a:gd name="T13" fmla="*/ 931 h 1231"/>
                      <a:gd name="T14" fmla="*/ 1067 w 1187"/>
                      <a:gd name="T15" fmla="*/ 964 h 1231"/>
                      <a:gd name="T16" fmla="*/ 1027 w 1187"/>
                      <a:gd name="T17" fmla="*/ 994 h 1231"/>
                      <a:gd name="T18" fmla="*/ 979 w 1187"/>
                      <a:gd name="T19" fmla="*/ 1024 h 1231"/>
                      <a:gd name="T20" fmla="*/ 928 w 1187"/>
                      <a:gd name="T21" fmla="*/ 1052 h 1231"/>
                      <a:gd name="T22" fmla="*/ 872 w 1187"/>
                      <a:gd name="T23" fmla="*/ 1078 h 1231"/>
                      <a:gd name="T24" fmla="*/ 811 w 1187"/>
                      <a:gd name="T25" fmla="*/ 1103 h 1231"/>
                      <a:gd name="T26" fmla="*/ 746 w 1187"/>
                      <a:gd name="T27" fmla="*/ 1125 h 1231"/>
                      <a:gd name="T28" fmla="*/ 677 w 1187"/>
                      <a:gd name="T29" fmla="*/ 1146 h 1231"/>
                      <a:gd name="T30" fmla="*/ 603 w 1187"/>
                      <a:gd name="T31" fmla="*/ 1165 h 1231"/>
                      <a:gd name="T32" fmla="*/ 527 w 1187"/>
                      <a:gd name="T33" fmla="*/ 1182 h 1231"/>
                      <a:gd name="T34" fmla="*/ 447 w 1187"/>
                      <a:gd name="T35" fmla="*/ 1196 h 1231"/>
                      <a:gd name="T36" fmla="*/ 365 w 1187"/>
                      <a:gd name="T37" fmla="*/ 1209 h 1231"/>
                      <a:gd name="T38" fmla="*/ 280 w 1187"/>
                      <a:gd name="T39" fmla="*/ 1218 h 1231"/>
                      <a:gd name="T40" fmla="*/ 192 w 1187"/>
                      <a:gd name="T41" fmla="*/ 1225 h 1231"/>
                      <a:gd name="T42" fmla="*/ 102 w 1187"/>
                      <a:gd name="T43" fmla="*/ 1230 h 1231"/>
                      <a:gd name="T44" fmla="*/ 11 w 1187"/>
                      <a:gd name="T45" fmla="*/ 1231 h 1231"/>
                      <a:gd name="T46" fmla="*/ 0 w 1187"/>
                      <a:gd name="T47" fmla="*/ 1231 h 1231"/>
                      <a:gd name="T48" fmla="*/ 0 w 1187"/>
                      <a:gd name="T49" fmla="*/ 389 h 1231"/>
                      <a:gd name="T50" fmla="*/ 11 w 1187"/>
                      <a:gd name="T51" fmla="*/ 389 h 1231"/>
                      <a:gd name="T52" fmla="*/ 94 w 1187"/>
                      <a:gd name="T53" fmla="*/ 387 h 1231"/>
                      <a:gd name="T54" fmla="*/ 176 w 1187"/>
                      <a:gd name="T55" fmla="*/ 383 h 1231"/>
                      <a:gd name="T56" fmla="*/ 257 w 1187"/>
                      <a:gd name="T57" fmla="*/ 375 h 1231"/>
                      <a:gd name="T58" fmla="*/ 335 w 1187"/>
                      <a:gd name="T59" fmla="*/ 365 h 1231"/>
                      <a:gd name="T60" fmla="*/ 412 w 1187"/>
                      <a:gd name="T61" fmla="*/ 352 h 1231"/>
                      <a:gd name="T62" fmla="*/ 486 w 1187"/>
                      <a:gd name="T63" fmla="*/ 338 h 1231"/>
                      <a:gd name="T64" fmla="*/ 557 w 1187"/>
                      <a:gd name="T65" fmla="*/ 322 h 1231"/>
                      <a:gd name="T66" fmla="*/ 626 w 1187"/>
                      <a:gd name="T67" fmla="*/ 304 h 1231"/>
                      <a:gd name="T68" fmla="*/ 691 w 1187"/>
                      <a:gd name="T69" fmla="*/ 284 h 1231"/>
                      <a:gd name="T70" fmla="*/ 754 w 1187"/>
                      <a:gd name="T71" fmla="*/ 263 h 1231"/>
                      <a:gd name="T72" fmla="*/ 814 w 1187"/>
                      <a:gd name="T73" fmla="*/ 242 h 1231"/>
                      <a:gd name="T74" fmla="*/ 869 w 1187"/>
                      <a:gd name="T75" fmla="*/ 220 h 1231"/>
                      <a:gd name="T76" fmla="*/ 921 w 1187"/>
                      <a:gd name="T77" fmla="*/ 197 h 1231"/>
                      <a:gd name="T78" fmla="*/ 969 w 1187"/>
                      <a:gd name="T79" fmla="*/ 174 h 1231"/>
                      <a:gd name="T80" fmla="*/ 1013 w 1187"/>
                      <a:gd name="T81" fmla="*/ 152 h 1231"/>
                      <a:gd name="T82" fmla="*/ 1052 w 1187"/>
                      <a:gd name="T83" fmla="*/ 129 h 1231"/>
                      <a:gd name="T84" fmla="*/ 1086 w 1187"/>
                      <a:gd name="T85" fmla="*/ 107 h 1231"/>
                      <a:gd name="T86" fmla="*/ 1117 w 1187"/>
                      <a:gd name="T87" fmla="*/ 86 h 1231"/>
                      <a:gd name="T88" fmla="*/ 1142 w 1187"/>
                      <a:gd name="T89" fmla="*/ 66 h 1231"/>
                      <a:gd name="T90" fmla="*/ 1162 w 1187"/>
                      <a:gd name="T91" fmla="*/ 48 h 1231"/>
                      <a:gd name="T92" fmla="*/ 1175 w 1187"/>
                      <a:gd name="T93" fmla="*/ 30 h 1231"/>
                      <a:gd name="T94" fmla="*/ 1185 w 1187"/>
                      <a:gd name="T95" fmla="*/ 14 h 1231"/>
                      <a:gd name="T96" fmla="*/ 1187 w 1187"/>
                      <a:gd name="T97" fmla="*/ 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7" h="1231">
                        <a:moveTo>
                          <a:pt x="1187" y="0"/>
                        </a:moveTo>
                        <a:lnTo>
                          <a:pt x="1187" y="756"/>
                        </a:lnTo>
                        <a:lnTo>
                          <a:pt x="1184" y="793"/>
                        </a:lnTo>
                        <a:lnTo>
                          <a:pt x="1173" y="829"/>
                        </a:lnTo>
                        <a:lnTo>
                          <a:pt x="1156" y="863"/>
                        </a:lnTo>
                        <a:lnTo>
                          <a:pt x="1132" y="898"/>
                        </a:lnTo>
                        <a:lnTo>
                          <a:pt x="1103" y="931"/>
                        </a:lnTo>
                        <a:lnTo>
                          <a:pt x="1067" y="964"/>
                        </a:lnTo>
                        <a:lnTo>
                          <a:pt x="1027" y="994"/>
                        </a:lnTo>
                        <a:lnTo>
                          <a:pt x="979" y="1024"/>
                        </a:lnTo>
                        <a:lnTo>
                          <a:pt x="928" y="1052"/>
                        </a:lnTo>
                        <a:lnTo>
                          <a:pt x="872" y="1078"/>
                        </a:lnTo>
                        <a:lnTo>
                          <a:pt x="811" y="1103"/>
                        </a:lnTo>
                        <a:lnTo>
                          <a:pt x="746" y="1125"/>
                        </a:lnTo>
                        <a:lnTo>
                          <a:pt x="677" y="1146"/>
                        </a:lnTo>
                        <a:lnTo>
                          <a:pt x="603" y="1165"/>
                        </a:lnTo>
                        <a:lnTo>
                          <a:pt x="527" y="1182"/>
                        </a:lnTo>
                        <a:lnTo>
                          <a:pt x="447" y="1196"/>
                        </a:lnTo>
                        <a:lnTo>
                          <a:pt x="365" y="1209"/>
                        </a:lnTo>
                        <a:lnTo>
                          <a:pt x="280" y="1218"/>
                        </a:lnTo>
                        <a:lnTo>
                          <a:pt x="192" y="1225"/>
                        </a:lnTo>
                        <a:lnTo>
                          <a:pt x="102" y="1230"/>
                        </a:lnTo>
                        <a:lnTo>
                          <a:pt x="11" y="1231"/>
                        </a:lnTo>
                        <a:lnTo>
                          <a:pt x="0" y="1231"/>
                        </a:lnTo>
                        <a:lnTo>
                          <a:pt x="0" y="389"/>
                        </a:lnTo>
                        <a:lnTo>
                          <a:pt x="11" y="389"/>
                        </a:lnTo>
                        <a:lnTo>
                          <a:pt x="94" y="387"/>
                        </a:lnTo>
                        <a:lnTo>
                          <a:pt x="176" y="383"/>
                        </a:lnTo>
                        <a:lnTo>
                          <a:pt x="257" y="375"/>
                        </a:lnTo>
                        <a:lnTo>
                          <a:pt x="335" y="365"/>
                        </a:lnTo>
                        <a:lnTo>
                          <a:pt x="412" y="352"/>
                        </a:lnTo>
                        <a:lnTo>
                          <a:pt x="486" y="338"/>
                        </a:lnTo>
                        <a:lnTo>
                          <a:pt x="557" y="322"/>
                        </a:lnTo>
                        <a:lnTo>
                          <a:pt x="626" y="304"/>
                        </a:lnTo>
                        <a:lnTo>
                          <a:pt x="691" y="284"/>
                        </a:lnTo>
                        <a:lnTo>
                          <a:pt x="754" y="263"/>
                        </a:lnTo>
                        <a:lnTo>
                          <a:pt x="814" y="242"/>
                        </a:lnTo>
                        <a:lnTo>
                          <a:pt x="869" y="220"/>
                        </a:lnTo>
                        <a:lnTo>
                          <a:pt x="921" y="197"/>
                        </a:lnTo>
                        <a:lnTo>
                          <a:pt x="969" y="174"/>
                        </a:lnTo>
                        <a:lnTo>
                          <a:pt x="1013" y="152"/>
                        </a:lnTo>
                        <a:lnTo>
                          <a:pt x="1052" y="129"/>
                        </a:lnTo>
                        <a:lnTo>
                          <a:pt x="1086" y="107"/>
                        </a:lnTo>
                        <a:lnTo>
                          <a:pt x="1117" y="86"/>
                        </a:lnTo>
                        <a:lnTo>
                          <a:pt x="1142" y="66"/>
                        </a:lnTo>
                        <a:lnTo>
                          <a:pt x="1162" y="48"/>
                        </a:lnTo>
                        <a:lnTo>
                          <a:pt x="1175" y="30"/>
                        </a:lnTo>
                        <a:lnTo>
                          <a:pt x="1185" y="14"/>
                        </a:lnTo>
                        <a:lnTo>
                          <a:pt x="1187" y="0"/>
                        </a:lnTo>
                        <a:close/>
                      </a:path>
                    </a:pathLst>
                  </a:custGeom>
                  <a:solidFill>
                    <a:srgbClr val="59B3D8"/>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23" name="Freeform 8"/>
                  <p:cNvSpPr>
                    <a:spLocks/>
                  </p:cNvSpPr>
                  <p:nvPr/>
                </p:nvSpPr>
                <p:spPr bwMode="auto">
                  <a:xfrm>
                    <a:off x="2200517" y="4722477"/>
                    <a:ext cx="461923" cy="201848"/>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24" name="Freeform 9"/>
                  <p:cNvSpPr>
                    <a:spLocks/>
                  </p:cNvSpPr>
                  <p:nvPr/>
                </p:nvSpPr>
                <p:spPr bwMode="auto">
                  <a:xfrm>
                    <a:off x="2240784" y="4751313"/>
                    <a:ext cx="381389" cy="13264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7FBA00"/>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sp>
                <p:nvSpPr>
                  <p:cNvPr id="225" name="Freeform 10"/>
                  <p:cNvSpPr>
                    <a:spLocks/>
                  </p:cNvSpPr>
                  <p:nvPr/>
                </p:nvSpPr>
                <p:spPr bwMode="auto">
                  <a:xfrm>
                    <a:off x="2233310" y="4747213"/>
                    <a:ext cx="396338" cy="10765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8D43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224">
                      <a:solidFill>
                        <a:srgbClr val="505050"/>
                      </a:solidFill>
                    </a:endParaRPr>
                  </a:p>
                </p:txBody>
              </p:sp>
            </p:grpSp>
          </p:grpSp>
          <p:sp>
            <p:nvSpPr>
              <p:cNvPr id="207" name="Freeform 240"/>
              <p:cNvSpPr/>
              <p:nvPr/>
            </p:nvSpPr>
            <p:spPr bwMode="auto">
              <a:xfrm>
                <a:off x="6442487" y="5086030"/>
                <a:ext cx="509635" cy="320791"/>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6EB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66" name="Group 365"/>
          <p:cNvGrpSpPr/>
          <p:nvPr/>
        </p:nvGrpSpPr>
        <p:grpSpPr>
          <a:xfrm>
            <a:off x="5869081" y="3156876"/>
            <a:ext cx="573157" cy="442892"/>
            <a:chOff x="8771617" y="3568738"/>
            <a:chExt cx="632829" cy="489002"/>
          </a:xfrm>
        </p:grpSpPr>
        <p:grpSp>
          <p:nvGrpSpPr>
            <p:cNvPr id="341" name="Group 340"/>
            <p:cNvGrpSpPr/>
            <p:nvPr/>
          </p:nvGrpSpPr>
          <p:grpSpPr>
            <a:xfrm>
              <a:off x="8771617" y="3737767"/>
              <a:ext cx="229508" cy="319973"/>
              <a:chOff x="6117910" y="5312532"/>
              <a:chExt cx="212972" cy="282005"/>
            </a:xfrm>
          </p:grpSpPr>
          <p:sp>
            <p:nvSpPr>
              <p:cNvPr id="361" name="Freeform 6"/>
              <p:cNvSpPr>
                <a:spLocks/>
              </p:cNvSpPr>
              <p:nvPr/>
            </p:nvSpPr>
            <p:spPr bwMode="auto">
              <a:xfrm>
                <a:off x="6117910" y="5350720"/>
                <a:ext cx="212971" cy="243817"/>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0072C6"/>
              </a:solidFill>
              <a:ln w="0">
                <a:solidFill>
                  <a:srgbClr val="3999C6"/>
                </a:solid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prstClr val="black"/>
                  </a:solidFill>
                </a:endParaRPr>
              </a:p>
            </p:txBody>
          </p:sp>
          <p:sp>
            <p:nvSpPr>
              <p:cNvPr id="362" name="Freeform 7"/>
              <p:cNvSpPr>
                <a:spLocks/>
              </p:cNvSpPr>
              <p:nvPr/>
            </p:nvSpPr>
            <p:spPr bwMode="auto">
              <a:xfrm>
                <a:off x="6222928" y="5350720"/>
                <a:ext cx="107954" cy="243817"/>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2687CE"/>
              </a:solidFill>
              <a:ln w="0">
                <a:solidFill>
                  <a:srgbClr val="3999C6"/>
                </a:solid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prstClr val="black"/>
                  </a:solidFill>
                </a:endParaRPr>
              </a:p>
            </p:txBody>
          </p:sp>
          <p:sp>
            <p:nvSpPr>
              <p:cNvPr id="363" name="Freeform 8"/>
              <p:cNvSpPr>
                <a:spLocks/>
              </p:cNvSpPr>
              <p:nvPr/>
            </p:nvSpPr>
            <p:spPr bwMode="auto">
              <a:xfrm>
                <a:off x="6117911" y="5312532"/>
                <a:ext cx="212971" cy="77111"/>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prstClr val="black"/>
                  </a:solidFill>
                </a:endParaRPr>
              </a:p>
            </p:txBody>
          </p:sp>
          <p:sp>
            <p:nvSpPr>
              <p:cNvPr id="364" name="Freeform 9"/>
              <p:cNvSpPr>
                <a:spLocks/>
              </p:cNvSpPr>
              <p:nvPr/>
            </p:nvSpPr>
            <p:spPr bwMode="auto">
              <a:xfrm>
                <a:off x="6139942" y="5323548"/>
                <a:ext cx="168908" cy="5067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8BBF0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prstClr val="black"/>
                  </a:solidFill>
                </a:endParaRPr>
              </a:p>
            </p:txBody>
          </p:sp>
          <p:sp>
            <p:nvSpPr>
              <p:cNvPr id="365" name="Freeform 10"/>
              <p:cNvSpPr>
                <a:spLocks/>
              </p:cNvSpPr>
              <p:nvPr/>
            </p:nvSpPr>
            <p:spPr bwMode="auto">
              <a:xfrm>
                <a:off x="6139942" y="5323548"/>
                <a:ext cx="168908" cy="41126"/>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2D12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prstClr val="black"/>
                  </a:solidFill>
                </a:endParaRPr>
              </a:p>
            </p:txBody>
          </p:sp>
        </p:grpSp>
        <p:grpSp>
          <p:nvGrpSpPr>
            <p:cNvPr id="326" name="Group 325"/>
            <p:cNvGrpSpPr>
              <a:grpSpLocks noChangeAspect="1"/>
            </p:cNvGrpSpPr>
            <p:nvPr/>
          </p:nvGrpSpPr>
          <p:grpSpPr>
            <a:xfrm>
              <a:off x="8822335" y="3568738"/>
              <a:ext cx="582111" cy="447611"/>
              <a:chOff x="3145058" y="2472773"/>
              <a:chExt cx="6623555" cy="5093156"/>
            </a:xfrm>
          </p:grpSpPr>
          <p:sp>
            <p:nvSpPr>
              <p:cNvPr id="327" name="Freeform 79"/>
              <p:cNvSpPr/>
              <p:nvPr/>
            </p:nvSpPr>
            <p:spPr bwMode="auto">
              <a:xfrm>
                <a:off x="3145058" y="5893413"/>
                <a:ext cx="4112250" cy="1672516"/>
              </a:xfrm>
              <a:custGeom>
                <a:avLst/>
                <a:gdLst>
                  <a:gd name="connsiteX0" fmla="*/ 0 w 1468550"/>
                  <a:gd name="connsiteY0" fmla="*/ 448125 h 597283"/>
                  <a:gd name="connsiteX1" fmla="*/ 0 w 1468550"/>
                  <a:gd name="connsiteY1" fmla="*/ 448126 h 597283"/>
                  <a:gd name="connsiteX2" fmla="*/ 0 w 1468550"/>
                  <a:gd name="connsiteY2" fmla="*/ 448126 h 597283"/>
                  <a:gd name="connsiteX3" fmla="*/ 773481 w 1468550"/>
                  <a:gd name="connsiteY3" fmla="*/ 0 h 597283"/>
                  <a:gd name="connsiteX4" fmla="*/ 1003030 w 1468550"/>
                  <a:gd name="connsiteY4" fmla="*/ 138208 h 597283"/>
                  <a:gd name="connsiteX5" fmla="*/ 1017781 w 1468550"/>
                  <a:gd name="connsiteY5" fmla="*/ 204571 h 597283"/>
                  <a:gd name="connsiteX6" fmla="*/ 1029832 w 1468550"/>
                  <a:gd name="connsiteY6" fmla="*/ 188335 h 597283"/>
                  <a:gd name="connsiteX7" fmla="*/ 1175952 w 1468550"/>
                  <a:gd name="connsiteY7" fmla="*/ 133358 h 597283"/>
                  <a:gd name="connsiteX8" fmla="*/ 1382597 w 1468550"/>
                  <a:gd name="connsiteY8" fmla="*/ 321061 h 597283"/>
                  <a:gd name="connsiteX9" fmla="*/ 1369815 w 1468550"/>
                  <a:gd name="connsiteY9" fmla="*/ 378570 h 597283"/>
                  <a:gd name="connsiteX10" fmla="*/ 1401032 w 1468550"/>
                  <a:gd name="connsiteY10" fmla="*/ 384873 h 597283"/>
                  <a:gd name="connsiteX11" fmla="*/ 1468550 w 1468550"/>
                  <a:gd name="connsiteY11" fmla="*/ 486734 h 597283"/>
                  <a:gd name="connsiteX12" fmla="*/ 1468549 w 1468550"/>
                  <a:gd name="connsiteY12" fmla="*/ 486734 h 597283"/>
                  <a:gd name="connsiteX13" fmla="*/ 1358000 w 1468550"/>
                  <a:gd name="connsiteY13" fmla="*/ 597283 h 597283"/>
                  <a:gd name="connsiteX14" fmla="*/ 905132 w 1468550"/>
                  <a:gd name="connsiteY14" fmla="*/ 597283 h 597283"/>
                  <a:gd name="connsiteX15" fmla="*/ 905130 w 1468550"/>
                  <a:gd name="connsiteY15" fmla="*/ 597283 h 597283"/>
                  <a:gd name="connsiteX16" fmla="*/ 149157 w 1468550"/>
                  <a:gd name="connsiteY16" fmla="*/ 597282 h 597283"/>
                  <a:gd name="connsiteX17" fmla="*/ 11722 w 1468550"/>
                  <a:gd name="connsiteY17" fmla="*/ 506184 h 597283"/>
                  <a:gd name="connsiteX18" fmla="*/ 0 w 1468550"/>
                  <a:gd name="connsiteY18" fmla="*/ 448126 h 597283"/>
                  <a:gd name="connsiteX19" fmla="*/ 11722 w 1468550"/>
                  <a:gd name="connsiteY19" fmla="*/ 390068 h 597283"/>
                  <a:gd name="connsiteX20" fmla="*/ 149157 w 1468550"/>
                  <a:gd name="connsiteY20" fmla="*/ 298969 h 597283"/>
                  <a:gd name="connsiteX21" fmla="*/ 201670 w 1468550"/>
                  <a:gd name="connsiteY21" fmla="*/ 298969 h 597283"/>
                  <a:gd name="connsiteX22" fmla="*/ 210775 w 1468550"/>
                  <a:gd name="connsiteY22" fmla="*/ 258005 h 597283"/>
                  <a:gd name="connsiteX23" fmla="*/ 383494 w 1468550"/>
                  <a:gd name="connsiteY23" fmla="*/ 154013 h 597283"/>
                  <a:gd name="connsiteX24" fmla="*/ 516041 w 1468550"/>
                  <a:gd name="connsiteY24" fmla="*/ 203883 h 597283"/>
                  <a:gd name="connsiteX25" fmla="*/ 526271 w 1468550"/>
                  <a:gd name="connsiteY25" fmla="*/ 217665 h 597283"/>
                  <a:gd name="connsiteX26" fmla="*/ 543932 w 1468550"/>
                  <a:gd name="connsiteY26" fmla="*/ 138208 h 597283"/>
                  <a:gd name="connsiteX27" fmla="*/ 773481 w 1468550"/>
                  <a:gd name="connsiteY27" fmla="*/ 0 h 59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68550" h="597283">
                    <a:moveTo>
                      <a:pt x="0" y="448125"/>
                    </a:moveTo>
                    <a:lnTo>
                      <a:pt x="0" y="448126"/>
                    </a:lnTo>
                    <a:lnTo>
                      <a:pt x="0" y="448126"/>
                    </a:lnTo>
                    <a:close/>
                    <a:moveTo>
                      <a:pt x="773481" y="0"/>
                    </a:moveTo>
                    <a:cubicBezTo>
                      <a:pt x="876673" y="0"/>
                      <a:pt x="965211" y="56988"/>
                      <a:pt x="1003030" y="138208"/>
                    </a:cubicBezTo>
                    <a:lnTo>
                      <a:pt x="1017781" y="204571"/>
                    </a:lnTo>
                    <a:lnTo>
                      <a:pt x="1029832" y="188335"/>
                    </a:lnTo>
                    <a:cubicBezTo>
                      <a:pt x="1067227" y="154368"/>
                      <a:pt x="1118888" y="133358"/>
                      <a:pt x="1175952" y="133358"/>
                    </a:cubicBezTo>
                    <a:cubicBezTo>
                      <a:pt x="1290079" y="133358"/>
                      <a:pt x="1382597" y="217395"/>
                      <a:pt x="1382597" y="321061"/>
                    </a:cubicBezTo>
                    <a:lnTo>
                      <a:pt x="1369815" y="378570"/>
                    </a:lnTo>
                    <a:lnTo>
                      <a:pt x="1401032" y="384873"/>
                    </a:lnTo>
                    <a:cubicBezTo>
                      <a:pt x="1440710" y="401655"/>
                      <a:pt x="1468550" y="440943"/>
                      <a:pt x="1468550" y="486734"/>
                    </a:cubicBezTo>
                    <a:lnTo>
                      <a:pt x="1468549" y="486734"/>
                    </a:lnTo>
                    <a:cubicBezTo>
                      <a:pt x="1468549" y="547789"/>
                      <a:pt x="1419055" y="597283"/>
                      <a:pt x="1358000" y="597283"/>
                    </a:cubicBezTo>
                    <a:lnTo>
                      <a:pt x="905132" y="597283"/>
                    </a:lnTo>
                    <a:lnTo>
                      <a:pt x="905130" y="597283"/>
                    </a:lnTo>
                    <a:lnTo>
                      <a:pt x="149157" y="597282"/>
                    </a:lnTo>
                    <a:cubicBezTo>
                      <a:pt x="87374" y="597282"/>
                      <a:pt x="34365" y="559719"/>
                      <a:pt x="11722" y="506184"/>
                    </a:cubicBezTo>
                    <a:lnTo>
                      <a:pt x="0" y="448126"/>
                    </a:lnTo>
                    <a:lnTo>
                      <a:pt x="11722" y="390068"/>
                    </a:lnTo>
                    <a:cubicBezTo>
                      <a:pt x="34365" y="336533"/>
                      <a:pt x="87374" y="298969"/>
                      <a:pt x="149157" y="298969"/>
                    </a:cubicBezTo>
                    <a:lnTo>
                      <a:pt x="201670" y="298969"/>
                    </a:lnTo>
                    <a:lnTo>
                      <a:pt x="210775" y="258005"/>
                    </a:lnTo>
                    <a:cubicBezTo>
                      <a:pt x="239231" y="196893"/>
                      <a:pt x="305850" y="154013"/>
                      <a:pt x="383494" y="154013"/>
                    </a:cubicBezTo>
                    <a:cubicBezTo>
                      <a:pt x="435257" y="154013"/>
                      <a:pt x="482120" y="173071"/>
                      <a:pt x="516041" y="203883"/>
                    </a:cubicBezTo>
                    <a:lnTo>
                      <a:pt x="526271" y="217665"/>
                    </a:lnTo>
                    <a:lnTo>
                      <a:pt x="543932" y="138208"/>
                    </a:lnTo>
                    <a:cubicBezTo>
                      <a:pt x="581751" y="56988"/>
                      <a:pt x="670289" y="0"/>
                      <a:pt x="773481" y="0"/>
                    </a:cubicBezTo>
                    <a:close/>
                  </a:path>
                </a:pathLst>
              </a:custGeom>
              <a:solidFill>
                <a:srgbClr val="B9E1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28" name="Group 327"/>
              <p:cNvGrpSpPr/>
              <p:nvPr/>
            </p:nvGrpSpPr>
            <p:grpSpPr>
              <a:xfrm>
                <a:off x="5444037" y="2872599"/>
                <a:ext cx="3352943" cy="4599211"/>
                <a:chOff x="3272545" y="1925655"/>
                <a:chExt cx="1867915" cy="2562207"/>
              </a:xfrm>
            </p:grpSpPr>
            <p:grpSp>
              <p:nvGrpSpPr>
                <p:cNvPr id="331" name="Group 330"/>
                <p:cNvGrpSpPr/>
                <p:nvPr/>
              </p:nvGrpSpPr>
              <p:grpSpPr>
                <a:xfrm>
                  <a:off x="3272545" y="1925655"/>
                  <a:ext cx="1867915" cy="2562207"/>
                  <a:chOff x="5476964" y="2122039"/>
                  <a:chExt cx="892555" cy="1224312"/>
                </a:xfrm>
              </p:grpSpPr>
              <p:sp>
                <p:nvSpPr>
                  <p:cNvPr id="338" name="Freeform 90"/>
                  <p:cNvSpPr/>
                  <p:nvPr/>
                </p:nvSpPr>
                <p:spPr bwMode="auto">
                  <a:xfrm>
                    <a:off x="5476964" y="2122039"/>
                    <a:ext cx="892555" cy="1224312"/>
                  </a:xfrm>
                  <a:custGeom>
                    <a:avLst/>
                    <a:gdLst>
                      <a:gd name="connsiteX0" fmla="*/ 0 w 257175"/>
                      <a:gd name="connsiteY0" fmla="*/ 46038 h 361950"/>
                      <a:gd name="connsiteX1" fmla="*/ 0 w 257175"/>
                      <a:gd name="connsiteY1" fmla="*/ 225425 h 361950"/>
                      <a:gd name="connsiteX2" fmla="*/ 120650 w 257175"/>
                      <a:gd name="connsiteY2" fmla="*/ 361950 h 361950"/>
                      <a:gd name="connsiteX3" fmla="*/ 257175 w 257175"/>
                      <a:gd name="connsiteY3" fmla="*/ 225425 h 361950"/>
                      <a:gd name="connsiteX4" fmla="*/ 257175 w 257175"/>
                      <a:gd name="connsiteY4" fmla="*/ 44450 h 361950"/>
                      <a:gd name="connsiteX5" fmla="*/ 127000 w 257175"/>
                      <a:gd name="connsiteY5" fmla="*/ 0 h 361950"/>
                      <a:gd name="connsiteX6" fmla="*/ 0 w 257175"/>
                      <a:gd name="connsiteY6" fmla="*/ 46038 h 361950"/>
                      <a:gd name="connsiteX0" fmla="*/ 0 w 257175"/>
                      <a:gd name="connsiteY0" fmla="*/ 46038 h 361950"/>
                      <a:gd name="connsiteX1" fmla="*/ 0 w 257175"/>
                      <a:gd name="connsiteY1" fmla="*/ 225425 h 361950"/>
                      <a:gd name="connsiteX2" fmla="*/ 120650 w 257175"/>
                      <a:gd name="connsiteY2" fmla="*/ 361950 h 361950"/>
                      <a:gd name="connsiteX3" fmla="*/ 257175 w 257175"/>
                      <a:gd name="connsiteY3" fmla="*/ 225425 h 361950"/>
                      <a:gd name="connsiteX4" fmla="*/ 257175 w 257175"/>
                      <a:gd name="connsiteY4" fmla="*/ 44450 h 361950"/>
                      <a:gd name="connsiteX5" fmla="*/ 129442 w 257175"/>
                      <a:gd name="connsiteY5" fmla="*/ 0 h 361950"/>
                      <a:gd name="connsiteX6" fmla="*/ 0 w 257175"/>
                      <a:gd name="connsiteY6" fmla="*/ 46038 h 361950"/>
                      <a:gd name="connsiteX0" fmla="*/ 0 w 261570"/>
                      <a:gd name="connsiteY0" fmla="*/ 46038 h 361950"/>
                      <a:gd name="connsiteX1" fmla="*/ 0 w 261570"/>
                      <a:gd name="connsiteY1" fmla="*/ 225425 h 361950"/>
                      <a:gd name="connsiteX2" fmla="*/ 120650 w 261570"/>
                      <a:gd name="connsiteY2" fmla="*/ 361950 h 361950"/>
                      <a:gd name="connsiteX3" fmla="*/ 257175 w 261570"/>
                      <a:gd name="connsiteY3" fmla="*/ 225425 h 361950"/>
                      <a:gd name="connsiteX4" fmla="*/ 261570 w 261570"/>
                      <a:gd name="connsiteY4" fmla="*/ 50799 h 361950"/>
                      <a:gd name="connsiteX5" fmla="*/ 129442 w 261570"/>
                      <a:gd name="connsiteY5" fmla="*/ 0 h 361950"/>
                      <a:gd name="connsiteX6" fmla="*/ 0 w 261570"/>
                      <a:gd name="connsiteY6" fmla="*/ 46038 h 361950"/>
                      <a:gd name="connsiteX0" fmla="*/ 0 w 263035"/>
                      <a:gd name="connsiteY0" fmla="*/ 49945 h 361950"/>
                      <a:gd name="connsiteX1" fmla="*/ 1465 w 263035"/>
                      <a:gd name="connsiteY1" fmla="*/ 225425 h 361950"/>
                      <a:gd name="connsiteX2" fmla="*/ 122115 w 263035"/>
                      <a:gd name="connsiteY2" fmla="*/ 361950 h 361950"/>
                      <a:gd name="connsiteX3" fmla="*/ 258640 w 263035"/>
                      <a:gd name="connsiteY3" fmla="*/ 225425 h 361950"/>
                      <a:gd name="connsiteX4" fmla="*/ 263035 w 263035"/>
                      <a:gd name="connsiteY4" fmla="*/ 50799 h 361950"/>
                      <a:gd name="connsiteX5" fmla="*/ 130907 w 263035"/>
                      <a:gd name="connsiteY5" fmla="*/ 0 h 361950"/>
                      <a:gd name="connsiteX6" fmla="*/ 0 w 263035"/>
                      <a:gd name="connsiteY6" fmla="*/ 49945 h 361950"/>
                      <a:gd name="connsiteX0" fmla="*/ 140 w 263175"/>
                      <a:gd name="connsiteY0" fmla="*/ 49945 h 361950"/>
                      <a:gd name="connsiteX1" fmla="*/ 140 w 263175"/>
                      <a:gd name="connsiteY1" fmla="*/ 231774 h 361950"/>
                      <a:gd name="connsiteX2" fmla="*/ 122255 w 263175"/>
                      <a:gd name="connsiteY2" fmla="*/ 361950 h 361950"/>
                      <a:gd name="connsiteX3" fmla="*/ 258780 w 263175"/>
                      <a:gd name="connsiteY3" fmla="*/ 225425 h 361950"/>
                      <a:gd name="connsiteX4" fmla="*/ 263175 w 263175"/>
                      <a:gd name="connsiteY4" fmla="*/ 50799 h 361950"/>
                      <a:gd name="connsiteX5" fmla="*/ 131047 w 263175"/>
                      <a:gd name="connsiteY5" fmla="*/ 0 h 361950"/>
                      <a:gd name="connsiteX6" fmla="*/ 140 w 263175"/>
                      <a:gd name="connsiteY6" fmla="*/ 49945 h 361950"/>
                      <a:gd name="connsiteX0" fmla="*/ 140 w 263175"/>
                      <a:gd name="connsiteY0" fmla="*/ 49945 h 361950"/>
                      <a:gd name="connsiteX1" fmla="*/ 140 w 263175"/>
                      <a:gd name="connsiteY1" fmla="*/ 231774 h 361950"/>
                      <a:gd name="connsiteX2" fmla="*/ 122255 w 263175"/>
                      <a:gd name="connsiteY2" fmla="*/ 361950 h 361950"/>
                      <a:gd name="connsiteX3" fmla="*/ 263175 w 263175"/>
                      <a:gd name="connsiteY3" fmla="*/ 231774 h 361950"/>
                      <a:gd name="connsiteX4" fmla="*/ 263175 w 263175"/>
                      <a:gd name="connsiteY4" fmla="*/ 50799 h 361950"/>
                      <a:gd name="connsiteX5" fmla="*/ 131047 w 263175"/>
                      <a:gd name="connsiteY5" fmla="*/ 0 h 361950"/>
                      <a:gd name="connsiteX6" fmla="*/ 140 w 263175"/>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1950"/>
                      <a:gd name="connsiteX1" fmla="*/ 42 w 266007"/>
                      <a:gd name="connsiteY1" fmla="*/ 231774 h 361950"/>
                      <a:gd name="connsiteX2" fmla="*/ 125087 w 266007"/>
                      <a:gd name="connsiteY2" fmla="*/ 361950 h 361950"/>
                      <a:gd name="connsiteX3" fmla="*/ 266007 w 266007"/>
                      <a:gd name="connsiteY3" fmla="*/ 231774 h 361950"/>
                      <a:gd name="connsiteX4" fmla="*/ 266007 w 266007"/>
                      <a:gd name="connsiteY4" fmla="*/ 50799 h 361950"/>
                      <a:gd name="connsiteX5" fmla="*/ 133879 w 266007"/>
                      <a:gd name="connsiteY5" fmla="*/ 0 h 361950"/>
                      <a:gd name="connsiteX6" fmla="*/ 2972 w 266007"/>
                      <a:gd name="connsiteY6" fmla="*/ 49945 h 361950"/>
                      <a:gd name="connsiteX0" fmla="*/ 2972 w 266007"/>
                      <a:gd name="connsiteY0" fmla="*/ 49945 h 364880"/>
                      <a:gd name="connsiteX1" fmla="*/ 42 w 266007"/>
                      <a:gd name="connsiteY1" fmla="*/ 231774 h 364880"/>
                      <a:gd name="connsiteX2" fmla="*/ 132413 w 266007"/>
                      <a:gd name="connsiteY2" fmla="*/ 364880 h 364880"/>
                      <a:gd name="connsiteX3" fmla="*/ 266007 w 266007"/>
                      <a:gd name="connsiteY3" fmla="*/ 231774 h 364880"/>
                      <a:gd name="connsiteX4" fmla="*/ 266007 w 266007"/>
                      <a:gd name="connsiteY4" fmla="*/ 50799 h 364880"/>
                      <a:gd name="connsiteX5" fmla="*/ 133879 w 266007"/>
                      <a:gd name="connsiteY5" fmla="*/ 0 h 364880"/>
                      <a:gd name="connsiteX6" fmla="*/ 2972 w 266007"/>
                      <a:gd name="connsiteY6" fmla="*/ 49945 h 364880"/>
                      <a:gd name="connsiteX0" fmla="*/ 2972 w 266007"/>
                      <a:gd name="connsiteY0" fmla="*/ 49945 h 364880"/>
                      <a:gd name="connsiteX1" fmla="*/ 42 w 266007"/>
                      <a:gd name="connsiteY1" fmla="*/ 231774 h 364880"/>
                      <a:gd name="connsiteX2" fmla="*/ 132413 w 266007"/>
                      <a:gd name="connsiteY2" fmla="*/ 364880 h 364880"/>
                      <a:gd name="connsiteX3" fmla="*/ 266007 w 266007"/>
                      <a:gd name="connsiteY3" fmla="*/ 231774 h 364880"/>
                      <a:gd name="connsiteX4" fmla="*/ 266007 w 266007"/>
                      <a:gd name="connsiteY4" fmla="*/ 50799 h 364880"/>
                      <a:gd name="connsiteX5" fmla="*/ 133879 w 266007"/>
                      <a:gd name="connsiteY5" fmla="*/ 0 h 364880"/>
                      <a:gd name="connsiteX6" fmla="*/ 2972 w 266007"/>
                      <a:gd name="connsiteY6" fmla="*/ 49945 h 364880"/>
                      <a:gd name="connsiteX0" fmla="*/ 2972 w 266007"/>
                      <a:gd name="connsiteY0" fmla="*/ 49945 h 364880"/>
                      <a:gd name="connsiteX1" fmla="*/ 42 w 266007"/>
                      <a:gd name="connsiteY1" fmla="*/ 231774 h 364880"/>
                      <a:gd name="connsiteX2" fmla="*/ 132413 w 266007"/>
                      <a:gd name="connsiteY2" fmla="*/ 364880 h 364880"/>
                      <a:gd name="connsiteX3" fmla="*/ 266007 w 266007"/>
                      <a:gd name="connsiteY3" fmla="*/ 231774 h 364880"/>
                      <a:gd name="connsiteX4" fmla="*/ 266007 w 266007"/>
                      <a:gd name="connsiteY4" fmla="*/ 50799 h 364880"/>
                      <a:gd name="connsiteX5" fmla="*/ 133879 w 266007"/>
                      <a:gd name="connsiteY5" fmla="*/ 0 h 364880"/>
                      <a:gd name="connsiteX6" fmla="*/ 2972 w 266007"/>
                      <a:gd name="connsiteY6" fmla="*/ 49945 h 364880"/>
                      <a:gd name="connsiteX0" fmla="*/ 2972 w 266007"/>
                      <a:gd name="connsiteY0" fmla="*/ 49945 h 364880"/>
                      <a:gd name="connsiteX1" fmla="*/ 42 w 266007"/>
                      <a:gd name="connsiteY1" fmla="*/ 231774 h 364880"/>
                      <a:gd name="connsiteX2" fmla="*/ 132413 w 266007"/>
                      <a:gd name="connsiteY2" fmla="*/ 364880 h 364880"/>
                      <a:gd name="connsiteX3" fmla="*/ 266007 w 266007"/>
                      <a:gd name="connsiteY3" fmla="*/ 231774 h 364880"/>
                      <a:gd name="connsiteX4" fmla="*/ 266007 w 266007"/>
                      <a:gd name="connsiteY4" fmla="*/ 50799 h 364880"/>
                      <a:gd name="connsiteX5" fmla="*/ 133879 w 266007"/>
                      <a:gd name="connsiteY5" fmla="*/ 0 h 364880"/>
                      <a:gd name="connsiteX6" fmla="*/ 2972 w 266007"/>
                      <a:gd name="connsiteY6" fmla="*/ 49945 h 364880"/>
                      <a:gd name="connsiteX0" fmla="*/ 2972 w 266007"/>
                      <a:gd name="connsiteY0" fmla="*/ 49945 h 364880"/>
                      <a:gd name="connsiteX1" fmla="*/ 42 w 266007"/>
                      <a:gd name="connsiteY1" fmla="*/ 231774 h 364880"/>
                      <a:gd name="connsiteX2" fmla="*/ 132413 w 266007"/>
                      <a:gd name="connsiteY2" fmla="*/ 364880 h 364880"/>
                      <a:gd name="connsiteX3" fmla="*/ 266007 w 266007"/>
                      <a:gd name="connsiteY3" fmla="*/ 231774 h 364880"/>
                      <a:gd name="connsiteX4" fmla="*/ 266007 w 266007"/>
                      <a:gd name="connsiteY4" fmla="*/ 50799 h 364880"/>
                      <a:gd name="connsiteX5" fmla="*/ 133879 w 266007"/>
                      <a:gd name="connsiteY5" fmla="*/ 0 h 364880"/>
                      <a:gd name="connsiteX6" fmla="*/ 2972 w 266007"/>
                      <a:gd name="connsiteY6" fmla="*/ 49945 h 36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007" h="364880">
                        <a:moveTo>
                          <a:pt x="2972" y="49945"/>
                        </a:moveTo>
                        <a:cubicBezTo>
                          <a:pt x="3460" y="108438"/>
                          <a:pt x="-446" y="173281"/>
                          <a:pt x="42" y="231774"/>
                        </a:cubicBezTo>
                        <a:cubicBezTo>
                          <a:pt x="12421" y="304957"/>
                          <a:pt x="83893" y="334674"/>
                          <a:pt x="132413" y="364880"/>
                        </a:cubicBezTo>
                        <a:cubicBezTo>
                          <a:pt x="182316" y="338581"/>
                          <a:pt x="262500" y="303004"/>
                          <a:pt x="266007" y="231774"/>
                        </a:cubicBezTo>
                        <a:lnTo>
                          <a:pt x="266007" y="50799"/>
                        </a:lnTo>
                        <a:cubicBezTo>
                          <a:pt x="216104" y="48029"/>
                          <a:pt x="152038" y="39399"/>
                          <a:pt x="133879" y="0"/>
                        </a:cubicBezTo>
                        <a:cubicBezTo>
                          <a:pt x="108802" y="53276"/>
                          <a:pt x="46608" y="45995"/>
                          <a:pt x="2972" y="49945"/>
                        </a:cubicBezTo>
                        <a:close/>
                      </a:path>
                    </a:pathLst>
                  </a:custGeom>
                  <a:solidFill>
                    <a:srgbClr val="96C41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9" name="Freeform 91"/>
                  <p:cNvSpPr/>
                  <p:nvPr/>
                </p:nvSpPr>
                <p:spPr bwMode="auto">
                  <a:xfrm>
                    <a:off x="5578731" y="2282569"/>
                    <a:ext cx="790786" cy="1063782"/>
                  </a:xfrm>
                  <a:custGeom>
                    <a:avLst/>
                    <a:gdLst>
                      <a:gd name="connsiteX0" fmla="*/ 681875 w 790786"/>
                      <a:gd name="connsiteY0" fmla="*/ 0 h 1063782"/>
                      <a:gd name="connsiteX1" fmla="*/ 790786 w 790786"/>
                      <a:gd name="connsiteY1" fmla="*/ 9920 h 1063782"/>
                      <a:gd name="connsiteX2" fmla="*/ 790786 w 790786"/>
                      <a:gd name="connsiteY2" fmla="*/ 617161 h 1063782"/>
                      <a:gd name="connsiteX3" fmla="*/ 342527 w 790786"/>
                      <a:gd name="connsiteY3" fmla="*/ 1063782 h 1063782"/>
                      <a:gd name="connsiteX4" fmla="*/ 14232 w 790786"/>
                      <a:gd name="connsiteY4" fmla="*/ 839661 h 1063782"/>
                      <a:gd name="connsiteX5" fmla="*/ 0 w 790786"/>
                      <a:gd name="connsiteY5" fmla="*/ 822260 h 106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0786" h="1063782">
                        <a:moveTo>
                          <a:pt x="681875" y="0"/>
                        </a:moveTo>
                        <a:lnTo>
                          <a:pt x="790786" y="9920"/>
                        </a:lnTo>
                        <a:lnTo>
                          <a:pt x="790786" y="617161"/>
                        </a:lnTo>
                        <a:cubicBezTo>
                          <a:pt x="779019" y="856165"/>
                          <a:pt x="509971" y="975539"/>
                          <a:pt x="342527" y="1063782"/>
                        </a:cubicBezTo>
                        <a:cubicBezTo>
                          <a:pt x="240775" y="1000437"/>
                          <a:pt x="108940" y="937732"/>
                          <a:pt x="14232" y="839661"/>
                        </a:cubicBezTo>
                        <a:lnTo>
                          <a:pt x="0" y="82226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32" name="Group 331"/>
                <p:cNvGrpSpPr/>
                <p:nvPr/>
              </p:nvGrpSpPr>
              <p:grpSpPr>
                <a:xfrm>
                  <a:off x="3723378" y="2524395"/>
                  <a:ext cx="908772" cy="1458428"/>
                  <a:chOff x="3723378" y="2524395"/>
                  <a:chExt cx="908772" cy="1458428"/>
                </a:xfrm>
              </p:grpSpPr>
              <p:grpSp>
                <p:nvGrpSpPr>
                  <p:cNvPr id="333" name="Group 332"/>
                  <p:cNvGrpSpPr/>
                  <p:nvPr/>
                </p:nvGrpSpPr>
                <p:grpSpPr>
                  <a:xfrm>
                    <a:off x="3723378" y="2524395"/>
                    <a:ext cx="908772" cy="1458428"/>
                    <a:chOff x="3723378" y="2524395"/>
                    <a:chExt cx="908772" cy="1458428"/>
                  </a:xfrm>
                </p:grpSpPr>
                <p:sp>
                  <p:nvSpPr>
                    <p:cNvPr id="335" name="Freeform 87"/>
                    <p:cNvSpPr/>
                    <p:nvPr/>
                  </p:nvSpPr>
                  <p:spPr bwMode="auto">
                    <a:xfrm>
                      <a:off x="3723378" y="2524395"/>
                      <a:ext cx="908772" cy="1458428"/>
                    </a:xfrm>
                    <a:custGeom>
                      <a:avLst/>
                      <a:gdLst>
                        <a:gd name="connsiteX0" fmla="*/ 654375 w 1548658"/>
                        <a:gd name="connsiteY0" fmla="*/ 1509032 h 2485337"/>
                        <a:gd name="connsiteX1" fmla="*/ 654375 w 1548658"/>
                        <a:gd name="connsiteY1" fmla="*/ 2261085 h 2485337"/>
                        <a:gd name="connsiteX2" fmla="*/ 725974 w 1548658"/>
                        <a:gd name="connsiteY2" fmla="*/ 2291038 h 2485337"/>
                        <a:gd name="connsiteX3" fmla="*/ 725974 w 1548658"/>
                        <a:gd name="connsiteY3" fmla="*/ 1538985 h 2485337"/>
                        <a:gd name="connsiteX4" fmla="*/ 339969 w 1548658"/>
                        <a:gd name="connsiteY4" fmla="*/ 873861 h 2485337"/>
                        <a:gd name="connsiteX5" fmla="*/ 267378 w 1548658"/>
                        <a:gd name="connsiteY5" fmla="*/ 946452 h 2485337"/>
                        <a:gd name="connsiteX6" fmla="*/ 339969 w 1548658"/>
                        <a:gd name="connsiteY6" fmla="*/ 1019043 h 2485337"/>
                        <a:gd name="connsiteX7" fmla="*/ 1169800 w 1548658"/>
                        <a:gd name="connsiteY7" fmla="*/ 1019043 h 2485337"/>
                        <a:gd name="connsiteX8" fmla="*/ 1242391 w 1548658"/>
                        <a:gd name="connsiteY8" fmla="*/ 946452 h 2485337"/>
                        <a:gd name="connsiteX9" fmla="*/ 1169800 w 1548658"/>
                        <a:gd name="connsiteY9" fmla="*/ 873861 h 2485337"/>
                        <a:gd name="connsiteX10" fmla="*/ 339969 w 1548658"/>
                        <a:gd name="connsiteY10" fmla="*/ 639653 h 2485337"/>
                        <a:gd name="connsiteX11" fmla="*/ 267378 w 1548658"/>
                        <a:gd name="connsiteY11" fmla="*/ 712244 h 2485337"/>
                        <a:gd name="connsiteX12" fmla="*/ 339969 w 1548658"/>
                        <a:gd name="connsiteY12" fmla="*/ 784835 h 2485337"/>
                        <a:gd name="connsiteX13" fmla="*/ 1169800 w 1548658"/>
                        <a:gd name="connsiteY13" fmla="*/ 784835 h 2485337"/>
                        <a:gd name="connsiteX14" fmla="*/ 1242391 w 1548658"/>
                        <a:gd name="connsiteY14" fmla="*/ 712244 h 2485337"/>
                        <a:gd name="connsiteX15" fmla="*/ 1169800 w 1548658"/>
                        <a:gd name="connsiteY15" fmla="*/ 639653 h 2485337"/>
                        <a:gd name="connsiteX16" fmla="*/ 754884 w 1548658"/>
                        <a:gd name="connsiteY16" fmla="*/ 141066 h 2485337"/>
                        <a:gd name="connsiteX17" fmla="*/ 561176 w 1548658"/>
                        <a:gd name="connsiteY17" fmla="*/ 334774 h 2485337"/>
                        <a:gd name="connsiteX18" fmla="*/ 754884 w 1548658"/>
                        <a:gd name="connsiteY18" fmla="*/ 528482 h 2485337"/>
                        <a:gd name="connsiteX19" fmla="*/ 948592 w 1548658"/>
                        <a:gd name="connsiteY19" fmla="*/ 334774 h 2485337"/>
                        <a:gd name="connsiteX20" fmla="*/ 754884 w 1548658"/>
                        <a:gd name="connsiteY20" fmla="*/ 141066 h 2485337"/>
                        <a:gd name="connsiteX21" fmla="*/ 778429 w 1548658"/>
                        <a:gd name="connsiteY21" fmla="*/ 759 h 2485337"/>
                        <a:gd name="connsiteX22" fmla="*/ 971943 w 1548658"/>
                        <a:gd name="connsiteY22" fmla="*/ 86484 h 2485337"/>
                        <a:gd name="connsiteX23" fmla="*/ 1489910 w 1548658"/>
                        <a:gd name="connsiteY23" fmla="*/ 572621 h 2485337"/>
                        <a:gd name="connsiteX24" fmla="*/ 1466761 w 1548658"/>
                        <a:gd name="connsiteY24" fmla="*/ 983521 h 2485337"/>
                        <a:gd name="connsiteX25" fmla="*/ 1029815 w 1548658"/>
                        <a:gd name="connsiteY25" fmla="*/ 1443616 h 2485337"/>
                        <a:gd name="connsiteX26" fmla="*/ 1174500 w 1548658"/>
                        <a:gd name="connsiteY26" fmla="*/ 1588301 h 2485337"/>
                        <a:gd name="connsiteX27" fmla="*/ 1021136 w 1548658"/>
                        <a:gd name="connsiteY27" fmla="*/ 1741665 h 2485337"/>
                        <a:gd name="connsiteX28" fmla="*/ 1160032 w 1548658"/>
                        <a:gd name="connsiteY28" fmla="*/ 1880561 h 2485337"/>
                        <a:gd name="connsiteX29" fmla="*/ 1018242 w 1548658"/>
                        <a:gd name="connsiteY29" fmla="*/ 2022351 h 2485337"/>
                        <a:gd name="connsiteX30" fmla="*/ 1116626 w 1548658"/>
                        <a:gd name="connsiteY30" fmla="*/ 2120735 h 2485337"/>
                        <a:gd name="connsiteX31" fmla="*/ 752024 w 1548658"/>
                        <a:gd name="connsiteY31" fmla="*/ 2485337 h 2485337"/>
                        <a:gd name="connsiteX32" fmla="*/ 520530 w 1548658"/>
                        <a:gd name="connsiteY32" fmla="*/ 2253843 h 2485337"/>
                        <a:gd name="connsiteX33" fmla="*/ 520530 w 1548658"/>
                        <a:gd name="connsiteY33" fmla="*/ 1397317 h 2485337"/>
                        <a:gd name="connsiteX34" fmla="*/ 83586 w 1548658"/>
                        <a:gd name="connsiteY34" fmla="*/ 960373 h 2485337"/>
                        <a:gd name="connsiteX35" fmla="*/ 83586 w 1548658"/>
                        <a:gd name="connsiteY35" fmla="*/ 555259 h 2485337"/>
                        <a:gd name="connsiteX36" fmla="*/ 552361 w 1548658"/>
                        <a:gd name="connsiteY36" fmla="*/ 86484 h 2485337"/>
                        <a:gd name="connsiteX37" fmla="*/ 778429 w 1548658"/>
                        <a:gd name="connsiteY37" fmla="*/ 759 h 2485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48658" h="2485337">
                          <a:moveTo>
                            <a:pt x="654375" y="1509032"/>
                          </a:moveTo>
                          <a:lnTo>
                            <a:pt x="654375" y="2261085"/>
                          </a:lnTo>
                          <a:lnTo>
                            <a:pt x="725974" y="2291038"/>
                          </a:lnTo>
                          <a:lnTo>
                            <a:pt x="725974" y="1538985"/>
                          </a:lnTo>
                          <a:close/>
                          <a:moveTo>
                            <a:pt x="339969" y="873861"/>
                          </a:moveTo>
                          <a:cubicBezTo>
                            <a:pt x="299878" y="873861"/>
                            <a:pt x="267378" y="906361"/>
                            <a:pt x="267378" y="946452"/>
                          </a:cubicBezTo>
                          <a:cubicBezTo>
                            <a:pt x="267378" y="986543"/>
                            <a:pt x="299878" y="1019043"/>
                            <a:pt x="339969" y="1019043"/>
                          </a:cubicBezTo>
                          <a:lnTo>
                            <a:pt x="1169800" y="1019043"/>
                          </a:lnTo>
                          <a:cubicBezTo>
                            <a:pt x="1209891" y="1019043"/>
                            <a:pt x="1242391" y="986543"/>
                            <a:pt x="1242391" y="946452"/>
                          </a:cubicBezTo>
                          <a:cubicBezTo>
                            <a:pt x="1242391" y="906361"/>
                            <a:pt x="1209891" y="873861"/>
                            <a:pt x="1169800" y="873861"/>
                          </a:cubicBezTo>
                          <a:close/>
                          <a:moveTo>
                            <a:pt x="339969" y="639653"/>
                          </a:moveTo>
                          <a:cubicBezTo>
                            <a:pt x="299878" y="639653"/>
                            <a:pt x="267378" y="672153"/>
                            <a:pt x="267378" y="712244"/>
                          </a:cubicBezTo>
                          <a:cubicBezTo>
                            <a:pt x="267378" y="752335"/>
                            <a:pt x="299878" y="784835"/>
                            <a:pt x="339969" y="784835"/>
                          </a:cubicBezTo>
                          <a:lnTo>
                            <a:pt x="1169800" y="784835"/>
                          </a:lnTo>
                          <a:cubicBezTo>
                            <a:pt x="1209891" y="784835"/>
                            <a:pt x="1242391" y="752335"/>
                            <a:pt x="1242391" y="712244"/>
                          </a:cubicBezTo>
                          <a:cubicBezTo>
                            <a:pt x="1242391" y="672153"/>
                            <a:pt x="1209891" y="639653"/>
                            <a:pt x="1169800" y="639653"/>
                          </a:cubicBezTo>
                          <a:close/>
                          <a:moveTo>
                            <a:pt x="754884" y="141066"/>
                          </a:moveTo>
                          <a:cubicBezTo>
                            <a:pt x="647902" y="141066"/>
                            <a:pt x="561176" y="227792"/>
                            <a:pt x="561176" y="334774"/>
                          </a:cubicBezTo>
                          <a:cubicBezTo>
                            <a:pt x="561176" y="441756"/>
                            <a:pt x="647902" y="528482"/>
                            <a:pt x="754884" y="528482"/>
                          </a:cubicBezTo>
                          <a:cubicBezTo>
                            <a:pt x="861866" y="528482"/>
                            <a:pt x="948592" y="441756"/>
                            <a:pt x="948592" y="334774"/>
                          </a:cubicBezTo>
                          <a:cubicBezTo>
                            <a:pt x="948592" y="227792"/>
                            <a:pt x="861866" y="141066"/>
                            <a:pt x="754884" y="141066"/>
                          </a:cubicBezTo>
                          <a:close/>
                          <a:moveTo>
                            <a:pt x="778429" y="759"/>
                          </a:moveTo>
                          <a:cubicBezTo>
                            <a:pt x="850168" y="6185"/>
                            <a:pt x="916481" y="40186"/>
                            <a:pt x="971943" y="86484"/>
                          </a:cubicBezTo>
                          <a:cubicBezTo>
                            <a:pt x="1082868" y="179081"/>
                            <a:pt x="1387185" y="460732"/>
                            <a:pt x="1489910" y="572621"/>
                          </a:cubicBezTo>
                          <a:cubicBezTo>
                            <a:pt x="1592635" y="684510"/>
                            <a:pt x="1544891" y="907321"/>
                            <a:pt x="1466761" y="983521"/>
                          </a:cubicBezTo>
                          <a:cubicBezTo>
                            <a:pt x="1388631" y="1059721"/>
                            <a:pt x="1183180" y="1290251"/>
                            <a:pt x="1029815" y="1443616"/>
                          </a:cubicBezTo>
                          <a:lnTo>
                            <a:pt x="1174500" y="1588301"/>
                          </a:lnTo>
                          <a:lnTo>
                            <a:pt x="1021136" y="1741665"/>
                          </a:lnTo>
                          <a:lnTo>
                            <a:pt x="1160032" y="1880561"/>
                          </a:lnTo>
                          <a:lnTo>
                            <a:pt x="1018242" y="2022351"/>
                          </a:lnTo>
                          <a:lnTo>
                            <a:pt x="1116626" y="2120735"/>
                          </a:lnTo>
                          <a:lnTo>
                            <a:pt x="752024" y="2485337"/>
                          </a:lnTo>
                          <a:lnTo>
                            <a:pt x="520530" y="2253843"/>
                          </a:lnTo>
                          <a:lnTo>
                            <a:pt x="520530" y="1397317"/>
                          </a:lnTo>
                          <a:cubicBezTo>
                            <a:pt x="374882" y="1251669"/>
                            <a:pt x="190652" y="1054900"/>
                            <a:pt x="83586" y="960373"/>
                          </a:cubicBezTo>
                          <a:cubicBezTo>
                            <a:pt x="-23480" y="865846"/>
                            <a:pt x="-32160" y="661361"/>
                            <a:pt x="83586" y="555259"/>
                          </a:cubicBezTo>
                          <a:cubicBezTo>
                            <a:pt x="199332" y="449157"/>
                            <a:pt x="398031" y="222487"/>
                            <a:pt x="552361" y="86484"/>
                          </a:cubicBezTo>
                          <a:cubicBezTo>
                            <a:pt x="629526" y="18483"/>
                            <a:pt x="706690" y="-4667"/>
                            <a:pt x="778429" y="759"/>
                          </a:cubicBezTo>
                          <a:close/>
                        </a:path>
                      </a:pathLst>
                    </a:custGeom>
                    <a:solidFill>
                      <a:srgbClr val="FCD1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6" name="Rounded Rectangle 88"/>
                    <p:cNvSpPr/>
                    <p:nvPr/>
                  </p:nvSpPr>
                  <p:spPr bwMode="auto">
                    <a:xfrm>
                      <a:off x="3879512" y="2893182"/>
                      <a:ext cx="596504" cy="92906"/>
                    </a:xfrm>
                    <a:prstGeom prst="roundRect">
                      <a:avLst>
                        <a:gd name="adj" fmla="val 50000"/>
                      </a:avLst>
                    </a:prstGeom>
                    <a:solidFill>
                      <a:srgbClr val="FEE8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7" name="Rounded Rectangle 89"/>
                    <p:cNvSpPr/>
                    <p:nvPr/>
                  </p:nvSpPr>
                  <p:spPr bwMode="auto">
                    <a:xfrm>
                      <a:off x="3879512" y="3028583"/>
                      <a:ext cx="596504" cy="92906"/>
                    </a:xfrm>
                    <a:prstGeom prst="roundRect">
                      <a:avLst>
                        <a:gd name="adj" fmla="val 50000"/>
                      </a:avLst>
                    </a:prstGeom>
                    <a:solidFill>
                      <a:srgbClr val="FEE8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334" name="Trapezoid 333"/>
                  <p:cNvSpPr/>
                  <p:nvPr/>
                </p:nvSpPr>
                <p:spPr bwMode="auto">
                  <a:xfrm rot="5400000">
                    <a:off x="3884473" y="3601900"/>
                    <a:ext cx="493987" cy="58739"/>
                  </a:xfrm>
                  <a:prstGeom prst="trapezoid">
                    <a:avLst/>
                  </a:prstGeom>
                  <a:solidFill>
                    <a:srgbClr val="FCB50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29" name="Freeform 81"/>
              <p:cNvSpPr/>
              <p:nvPr/>
            </p:nvSpPr>
            <p:spPr>
              <a:xfrm>
                <a:off x="3418846" y="2472773"/>
                <a:ext cx="2858692" cy="1762806"/>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rgbClr val="E2F2F6">
                  <a:alpha val="69000"/>
                </a:srgb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30" name="Freeform 82"/>
              <p:cNvSpPr/>
              <p:nvPr/>
            </p:nvSpPr>
            <p:spPr>
              <a:xfrm>
                <a:off x="7834001" y="4919480"/>
                <a:ext cx="1934612" cy="1192974"/>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rgbClr val="E2F2F6"/>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67" name="Group 366"/>
          <p:cNvGrpSpPr>
            <a:grpSpLocks noChangeAspect="1"/>
          </p:cNvGrpSpPr>
          <p:nvPr/>
        </p:nvGrpSpPr>
        <p:grpSpPr>
          <a:xfrm>
            <a:off x="5800975" y="3758566"/>
            <a:ext cx="782399" cy="496907"/>
            <a:chOff x="14485250" y="-1370752"/>
            <a:chExt cx="6761003" cy="4293963"/>
          </a:xfrm>
        </p:grpSpPr>
        <p:grpSp>
          <p:nvGrpSpPr>
            <p:cNvPr id="368" name="Group 367"/>
            <p:cNvGrpSpPr/>
            <p:nvPr/>
          </p:nvGrpSpPr>
          <p:grpSpPr>
            <a:xfrm>
              <a:off x="15562906" y="-221266"/>
              <a:ext cx="3665381" cy="3144477"/>
              <a:chOff x="14671184" y="5344043"/>
              <a:chExt cx="6436944" cy="5522161"/>
            </a:xfrm>
          </p:grpSpPr>
          <p:sp>
            <p:nvSpPr>
              <p:cNvPr id="375" name="Rectangle 317"/>
              <p:cNvSpPr/>
              <p:nvPr/>
            </p:nvSpPr>
            <p:spPr bwMode="auto">
              <a:xfrm>
                <a:off x="16016187" y="9724361"/>
                <a:ext cx="3746938" cy="920192"/>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76" name="Rounded Rectangle 331"/>
              <p:cNvSpPr/>
              <p:nvPr/>
            </p:nvSpPr>
            <p:spPr bwMode="auto">
              <a:xfrm>
                <a:off x="14671184" y="5344043"/>
                <a:ext cx="6436944" cy="4473723"/>
              </a:xfrm>
              <a:prstGeom prst="roundRect">
                <a:avLst>
                  <a:gd name="adj" fmla="val 8482"/>
                </a:avLst>
              </a:prstGeom>
              <a:solidFill>
                <a:srgbClr val="A2A3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77" name="Rectangle 376"/>
              <p:cNvSpPr/>
              <p:nvPr/>
            </p:nvSpPr>
            <p:spPr bwMode="auto">
              <a:xfrm>
                <a:off x="15830519" y="10510064"/>
                <a:ext cx="4118271" cy="356140"/>
              </a:xfrm>
              <a:prstGeom prst="rect">
                <a:avLst/>
              </a:prstGeom>
              <a:solidFill>
                <a:srgbClr val="A2A3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78" name="Group 377"/>
              <p:cNvGrpSpPr/>
              <p:nvPr/>
            </p:nvGrpSpPr>
            <p:grpSpPr>
              <a:xfrm>
                <a:off x="15191777" y="5771974"/>
                <a:ext cx="5420179" cy="3542060"/>
                <a:chOff x="15191777" y="5771974"/>
                <a:chExt cx="5420179" cy="3542060"/>
              </a:xfrm>
            </p:grpSpPr>
            <p:sp>
              <p:nvSpPr>
                <p:cNvPr id="388" name="Rectangle 387"/>
                <p:cNvSpPr/>
                <p:nvPr/>
              </p:nvSpPr>
              <p:spPr bwMode="auto">
                <a:xfrm>
                  <a:off x="15191777" y="5771974"/>
                  <a:ext cx="5420179" cy="3542060"/>
                </a:xfrm>
                <a:prstGeom prst="rect">
                  <a:avLst/>
                </a:prstGeom>
                <a:solidFill>
                  <a:srgbClr val="85C8E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89" name="Rectangle 427"/>
                <p:cNvSpPr/>
                <p:nvPr/>
              </p:nvSpPr>
              <p:spPr bwMode="auto">
                <a:xfrm>
                  <a:off x="15191777" y="5771974"/>
                  <a:ext cx="5420179" cy="3542060"/>
                </a:xfrm>
                <a:custGeom>
                  <a:avLst/>
                  <a:gdLst>
                    <a:gd name="connsiteX0" fmla="*/ 0 w 5420179"/>
                    <a:gd name="connsiteY0" fmla="*/ 0 h 3542060"/>
                    <a:gd name="connsiteX1" fmla="*/ 5420179 w 5420179"/>
                    <a:gd name="connsiteY1" fmla="*/ 0 h 3542060"/>
                    <a:gd name="connsiteX2" fmla="*/ 5420179 w 5420179"/>
                    <a:gd name="connsiteY2" fmla="*/ 3542060 h 3542060"/>
                    <a:gd name="connsiteX3" fmla="*/ 0 w 5420179"/>
                    <a:gd name="connsiteY3" fmla="*/ 3542060 h 3542060"/>
                    <a:gd name="connsiteX4" fmla="*/ 0 w 5420179"/>
                    <a:gd name="connsiteY4" fmla="*/ 0 h 3542060"/>
                    <a:gd name="connsiteX0" fmla="*/ 0 w 5420179"/>
                    <a:gd name="connsiteY0" fmla="*/ 3542060 h 3542060"/>
                    <a:gd name="connsiteX1" fmla="*/ 5420179 w 5420179"/>
                    <a:gd name="connsiteY1" fmla="*/ 0 h 3542060"/>
                    <a:gd name="connsiteX2" fmla="*/ 5420179 w 5420179"/>
                    <a:gd name="connsiteY2" fmla="*/ 3542060 h 3542060"/>
                    <a:gd name="connsiteX3" fmla="*/ 0 w 5420179"/>
                    <a:gd name="connsiteY3" fmla="*/ 3542060 h 3542060"/>
                  </a:gdLst>
                  <a:ahLst/>
                  <a:cxnLst>
                    <a:cxn ang="0">
                      <a:pos x="connsiteX0" y="connsiteY0"/>
                    </a:cxn>
                    <a:cxn ang="0">
                      <a:pos x="connsiteX1" y="connsiteY1"/>
                    </a:cxn>
                    <a:cxn ang="0">
                      <a:pos x="connsiteX2" y="connsiteY2"/>
                    </a:cxn>
                    <a:cxn ang="0">
                      <a:pos x="connsiteX3" y="connsiteY3"/>
                    </a:cxn>
                  </a:cxnLst>
                  <a:rect l="l" t="t" r="r" b="b"/>
                  <a:pathLst>
                    <a:path w="5420179" h="3542060">
                      <a:moveTo>
                        <a:pt x="0" y="3542060"/>
                      </a:moveTo>
                      <a:lnTo>
                        <a:pt x="5420179" y="0"/>
                      </a:lnTo>
                      <a:lnTo>
                        <a:pt x="5420179" y="3542060"/>
                      </a:lnTo>
                      <a:lnTo>
                        <a:pt x="0" y="3542060"/>
                      </a:ln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79" name="Group 378"/>
              <p:cNvGrpSpPr/>
              <p:nvPr/>
            </p:nvGrpSpPr>
            <p:grpSpPr>
              <a:xfrm>
                <a:off x="16717850" y="6035277"/>
                <a:ext cx="2368032" cy="3296054"/>
                <a:chOff x="16792454" y="6035277"/>
                <a:chExt cx="2368032" cy="3296054"/>
              </a:xfrm>
            </p:grpSpPr>
            <p:grpSp>
              <p:nvGrpSpPr>
                <p:cNvPr id="380" name="Group 379"/>
                <p:cNvGrpSpPr/>
                <p:nvPr/>
              </p:nvGrpSpPr>
              <p:grpSpPr>
                <a:xfrm>
                  <a:off x="16792454" y="6035277"/>
                  <a:ext cx="2368032" cy="3296054"/>
                  <a:chOff x="19281323" y="1104168"/>
                  <a:chExt cx="1568917" cy="2251275"/>
                </a:xfrm>
              </p:grpSpPr>
              <p:sp>
                <p:nvSpPr>
                  <p:cNvPr id="383" name="Freeform: Shape 382"/>
                  <p:cNvSpPr/>
                  <p:nvPr/>
                </p:nvSpPr>
                <p:spPr>
                  <a:xfrm>
                    <a:off x="19281323" y="1104168"/>
                    <a:ext cx="1568917" cy="2251275"/>
                  </a:xfrm>
                  <a:custGeom>
                    <a:avLst/>
                    <a:gdLst>
                      <a:gd name="connsiteX0" fmla="*/ 784459 w 1568917"/>
                      <a:gd name="connsiteY0" fmla="*/ 0 h 2251275"/>
                      <a:gd name="connsiteX1" fmla="*/ 1568917 w 1568917"/>
                      <a:gd name="connsiteY1" fmla="*/ 784459 h 2251275"/>
                      <a:gd name="connsiteX2" fmla="*/ 1568917 w 1568917"/>
                      <a:gd name="connsiteY2" fmla="*/ 1744650 h 2251275"/>
                      <a:gd name="connsiteX3" fmla="*/ 1438977 w 1568917"/>
                      <a:gd name="connsiteY3" fmla="*/ 1744650 h 2251275"/>
                      <a:gd name="connsiteX4" fmla="*/ 1438977 w 1568917"/>
                      <a:gd name="connsiteY4" fmla="*/ 2251275 h 2251275"/>
                      <a:gd name="connsiteX5" fmla="*/ 0 w 1568917"/>
                      <a:gd name="connsiteY5" fmla="*/ 2251275 h 2251275"/>
                      <a:gd name="connsiteX6" fmla="*/ 0 w 1568917"/>
                      <a:gd name="connsiteY6" fmla="*/ 1744650 h 2251275"/>
                      <a:gd name="connsiteX7" fmla="*/ 0 w 1568917"/>
                      <a:gd name="connsiteY7" fmla="*/ 1696965 h 2251275"/>
                      <a:gd name="connsiteX8" fmla="*/ 0 w 1568917"/>
                      <a:gd name="connsiteY8" fmla="*/ 784459 h 2251275"/>
                      <a:gd name="connsiteX9" fmla="*/ 784459 w 1568917"/>
                      <a:gd name="connsiteY9" fmla="*/ 0 h 225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8917" h="2251275">
                        <a:moveTo>
                          <a:pt x="784459" y="0"/>
                        </a:moveTo>
                        <a:cubicBezTo>
                          <a:pt x="1217705" y="0"/>
                          <a:pt x="1568917" y="351214"/>
                          <a:pt x="1568917" y="784459"/>
                        </a:cubicBezTo>
                        <a:lnTo>
                          <a:pt x="1568917" y="1744650"/>
                        </a:lnTo>
                        <a:lnTo>
                          <a:pt x="1438977" y="1744650"/>
                        </a:lnTo>
                        <a:lnTo>
                          <a:pt x="1438977" y="2251275"/>
                        </a:lnTo>
                        <a:lnTo>
                          <a:pt x="0" y="2251275"/>
                        </a:lnTo>
                        <a:lnTo>
                          <a:pt x="0" y="1744650"/>
                        </a:lnTo>
                        <a:lnTo>
                          <a:pt x="0" y="1696965"/>
                        </a:lnTo>
                        <a:lnTo>
                          <a:pt x="0" y="784459"/>
                        </a:lnTo>
                        <a:cubicBezTo>
                          <a:pt x="0" y="351214"/>
                          <a:pt x="351213" y="0"/>
                          <a:pt x="784459" y="0"/>
                        </a:cubicBezTo>
                        <a:close/>
                      </a:path>
                    </a:pathLst>
                  </a:custGeom>
                  <a:solidFill>
                    <a:srgbClr val="DBDBDB"/>
                  </a:solidFill>
                  <a:ln w="19050"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endParaRPr lang="en-US" sz="1700" b="1" kern="0">
                      <a:solidFill>
                        <a:srgbClr val="002050"/>
                      </a:solidFill>
                      <a:cs typeface="Segoe UI Semibold" panose="020B0702040204020203" pitchFamily="34" charset="0"/>
                    </a:endParaRPr>
                  </a:p>
                </p:txBody>
              </p:sp>
              <p:sp>
                <p:nvSpPr>
                  <p:cNvPr id="384" name="Freeform: Shape 383"/>
                  <p:cNvSpPr/>
                  <p:nvPr/>
                </p:nvSpPr>
                <p:spPr>
                  <a:xfrm>
                    <a:off x="19675480" y="2444914"/>
                    <a:ext cx="200019" cy="439064"/>
                  </a:xfrm>
                  <a:custGeom>
                    <a:avLst/>
                    <a:gdLst>
                      <a:gd name="connsiteX0" fmla="*/ 190982 w 190982"/>
                      <a:gd name="connsiteY0" fmla="*/ 0 h 419227"/>
                      <a:gd name="connsiteX1" fmla="*/ 190982 w 190982"/>
                      <a:gd name="connsiteY1" fmla="*/ 419227 h 419227"/>
                      <a:gd name="connsiteX2" fmla="*/ 141154 w 190982"/>
                      <a:gd name="connsiteY2" fmla="*/ 409771 h 419227"/>
                      <a:gd name="connsiteX3" fmla="*/ 0 w 190982"/>
                      <a:gd name="connsiteY3" fmla="*/ 209613 h 419227"/>
                      <a:gd name="connsiteX4" fmla="*/ 141154 w 190982"/>
                      <a:gd name="connsiteY4" fmla="*/ 9455 h 419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982" h="419227">
                        <a:moveTo>
                          <a:pt x="190982" y="0"/>
                        </a:moveTo>
                        <a:lnTo>
                          <a:pt x="190982" y="419227"/>
                        </a:lnTo>
                        <a:lnTo>
                          <a:pt x="141154" y="409771"/>
                        </a:lnTo>
                        <a:cubicBezTo>
                          <a:pt x="58204" y="376794"/>
                          <a:pt x="0" y="299592"/>
                          <a:pt x="0" y="209613"/>
                        </a:cubicBezTo>
                        <a:cubicBezTo>
                          <a:pt x="0" y="119634"/>
                          <a:pt x="58204" y="42432"/>
                          <a:pt x="141154" y="9455"/>
                        </a:cubicBezTo>
                        <a:close/>
                      </a:path>
                    </a:pathLst>
                  </a:custGeom>
                  <a:solidFill>
                    <a:srgbClr val="BABABA"/>
                  </a:solidFill>
                  <a:ln w="19050"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endParaRPr lang="en-US" sz="1700" b="1" kern="0">
                      <a:solidFill>
                        <a:srgbClr val="002050"/>
                      </a:solidFill>
                      <a:cs typeface="Segoe UI Semibold" panose="020B0702040204020203" pitchFamily="34" charset="0"/>
                    </a:endParaRPr>
                  </a:p>
                </p:txBody>
              </p:sp>
              <p:sp>
                <p:nvSpPr>
                  <p:cNvPr id="385" name="Freeform: Shape 384"/>
                  <p:cNvSpPr/>
                  <p:nvPr/>
                </p:nvSpPr>
                <p:spPr>
                  <a:xfrm>
                    <a:off x="19495847" y="1244673"/>
                    <a:ext cx="1078142" cy="965688"/>
                  </a:xfrm>
                  <a:custGeom>
                    <a:avLst/>
                    <a:gdLst>
                      <a:gd name="connsiteX0" fmla="*/ 697490 w 1078142"/>
                      <a:gd name="connsiteY0" fmla="*/ 0 h 965688"/>
                      <a:gd name="connsiteX1" fmla="*/ 977900 w 1078142"/>
                      <a:gd name="connsiteY1" fmla="*/ 280410 h 965688"/>
                      <a:gd name="connsiteX2" fmla="*/ 972204 w 1078142"/>
                      <a:gd name="connsiteY2" fmla="*/ 336922 h 965688"/>
                      <a:gd name="connsiteX3" fmla="*/ 960246 w 1078142"/>
                      <a:gd name="connsiteY3" fmla="*/ 375442 h 965688"/>
                      <a:gd name="connsiteX4" fmla="*/ 1020254 w 1078142"/>
                      <a:gd name="connsiteY4" fmla="*/ 415900 h 965688"/>
                      <a:gd name="connsiteX5" fmla="*/ 1078142 w 1078142"/>
                      <a:gd name="connsiteY5" fmla="*/ 555657 h 965688"/>
                      <a:gd name="connsiteX6" fmla="*/ 880496 w 1078142"/>
                      <a:gd name="connsiteY6" fmla="*/ 753303 h 965688"/>
                      <a:gd name="connsiteX7" fmla="*/ 857600 w 1078142"/>
                      <a:gd name="connsiteY7" fmla="*/ 749842 h 965688"/>
                      <a:gd name="connsiteX8" fmla="*/ 847854 w 1078142"/>
                      <a:gd name="connsiteY8" fmla="*/ 798117 h 965688"/>
                      <a:gd name="connsiteX9" fmla="*/ 665742 w 1078142"/>
                      <a:gd name="connsiteY9" fmla="*/ 918830 h 965688"/>
                      <a:gd name="connsiteX10" fmla="*/ 588808 w 1078142"/>
                      <a:gd name="connsiteY10" fmla="*/ 903298 h 965688"/>
                      <a:gd name="connsiteX11" fmla="*/ 576956 w 1078142"/>
                      <a:gd name="connsiteY11" fmla="*/ 895307 h 965688"/>
                      <a:gd name="connsiteX12" fmla="*/ 568534 w 1078142"/>
                      <a:gd name="connsiteY12" fmla="*/ 907799 h 965688"/>
                      <a:gd name="connsiteX13" fmla="*/ 428776 w 1078142"/>
                      <a:gd name="connsiteY13" fmla="*/ 965688 h 965688"/>
                      <a:gd name="connsiteX14" fmla="*/ 231130 w 1078142"/>
                      <a:gd name="connsiteY14" fmla="*/ 768042 h 965688"/>
                      <a:gd name="connsiteX15" fmla="*/ 231576 w 1078142"/>
                      <a:gd name="connsiteY15" fmla="*/ 765833 h 965688"/>
                      <a:gd name="connsiteX16" fmla="*/ 209650 w 1078142"/>
                      <a:gd name="connsiteY16" fmla="*/ 768043 h 965688"/>
                      <a:gd name="connsiteX17" fmla="*/ 0 w 1078142"/>
                      <a:gd name="connsiteY17" fmla="*/ 558394 h 965688"/>
                      <a:gd name="connsiteX18" fmla="*/ 128044 w 1078142"/>
                      <a:gd name="connsiteY18" fmla="*/ 365220 h 965688"/>
                      <a:gd name="connsiteX19" fmla="*/ 139520 w 1078142"/>
                      <a:gd name="connsiteY19" fmla="*/ 361658 h 965688"/>
                      <a:gd name="connsiteX20" fmla="*/ 131862 w 1078142"/>
                      <a:gd name="connsiteY20" fmla="*/ 311008 h 965688"/>
                      <a:gd name="connsiteX21" fmla="*/ 329510 w 1078142"/>
                      <a:gd name="connsiteY21" fmla="*/ 113362 h 965688"/>
                      <a:gd name="connsiteX22" fmla="*/ 406442 w 1078142"/>
                      <a:gd name="connsiteY22" fmla="*/ 128894 h 965688"/>
                      <a:gd name="connsiteX23" fmla="*/ 448544 w 1078142"/>
                      <a:gd name="connsiteY23" fmla="*/ 157280 h 965688"/>
                      <a:gd name="connsiteX24" fmla="*/ 499210 w 1078142"/>
                      <a:gd name="connsiteY24" fmla="*/ 82130 h 965688"/>
                      <a:gd name="connsiteX25" fmla="*/ 697490 w 1078142"/>
                      <a:gd name="connsiteY25" fmla="*/ 0 h 96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78142" h="965688">
                        <a:moveTo>
                          <a:pt x="697490" y="0"/>
                        </a:moveTo>
                        <a:cubicBezTo>
                          <a:pt x="852356" y="0"/>
                          <a:pt x="977900" y="125544"/>
                          <a:pt x="977900" y="280410"/>
                        </a:cubicBezTo>
                        <a:cubicBezTo>
                          <a:pt x="977900" y="299768"/>
                          <a:pt x="975938" y="318668"/>
                          <a:pt x="972204" y="336922"/>
                        </a:cubicBezTo>
                        <a:lnTo>
                          <a:pt x="960246" y="375442"/>
                        </a:lnTo>
                        <a:lnTo>
                          <a:pt x="1020254" y="415900"/>
                        </a:lnTo>
                        <a:cubicBezTo>
                          <a:pt x="1056020" y="451667"/>
                          <a:pt x="1078142" y="501079"/>
                          <a:pt x="1078142" y="555657"/>
                        </a:cubicBezTo>
                        <a:cubicBezTo>
                          <a:pt x="1078142" y="664814"/>
                          <a:pt x="989654" y="753303"/>
                          <a:pt x="880496" y="753303"/>
                        </a:cubicBezTo>
                        <a:lnTo>
                          <a:pt x="857600" y="749842"/>
                        </a:lnTo>
                        <a:lnTo>
                          <a:pt x="847854" y="798117"/>
                        </a:lnTo>
                        <a:cubicBezTo>
                          <a:pt x="817850" y="869055"/>
                          <a:pt x="747608" y="918830"/>
                          <a:pt x="665742" y="918830"/>
                        </a:cubicBezTo>
                        <a:cubicBezTo>
                          <a:pt x="638452" y="918830"/>
                          <a:pt x="612454" y="913300"/>
                          <a:pt x="588808" y="903298"/>
                        </a:cubicBezTo>
                        <a:lnTo>
                          <a:pt x="576956" y="895307"/>
                        </a:lnTo>
                        <a:lnTo>
                          <a:pt x="568534" y="907799"/>
                        </a:lnTo>
                        <a:cubicBezTo>
                          <a:pt x="532766" y="943566"/>
                          <a:pt x="483356" y="965688"/>
                          <a:pt x="428776" y="965688"/>
                        </a:cubicBezTo>
                        <a:cubicBezTo>
                          <a:pt x="319618" y="965688"/>
                          <a:pt x="231130" y="877199"/>
                          <a:pt x="231130" y="768042"/>
                        </a:cubicBezTo>
                        <a:lnTo>
                          <a:pt x="231576" y="765833"/>
                        </a:lnTo>
                        <a:lnTo>
                          <a:pt x="209650" y="768043"/>
                        </a:lnTo>
                        <a:cubicBezTo>
                          <a:pt x="93862" y="768043"/>
                          <a:pt x="0" y="674180"/>
                          <a:pt x="0" y="558394"/>
                        </a:cubicBezTo>
                        <a:cubicBezTo>
                          <a:pt x="0" y="471555"/>
                          <a:pt x="52798" y="397047"/>
                          <a:pt x="128044" y="365220"/>
                        </a:cubicBezTo>
                        <a:lnTo>
                          <a:pt x="139520" y="361658"/>
                        </a:lnTo>
                        <a:lnTo>
                          <a:pt x="131862" y="311008"/>
                        </a:lnTo>
                        <a:cubicBezTo>
                          <a:pt x="131862" y="201851"/>
                          <a:pt x="220352" y="113362"/>
                          <a:pt x="329510" y="113362"/>
                        </a:cubicBezTo>
                        <a:cubicBezTo>
                          <a:pt x="356800" y="113362"/>
                          <a:pt x="382796" y="118893"/>
                          <a:pt x="406442" y="128894"/>
                        </a:cubicBezTo>
                        <a:lnTo>
                          <a:pt x="448544" y="157280"/>
                        </a:lnTo>
                        <a:lnTo>
                          <a:pt x="499210" y="82130"/>
                        </a:lnTo>
                        <a:cubicBezTo>
                          <a:pt x="549954" y="31386"/>
                          <a:pt x="620056" y="0"/>
                          <a:pt x="697490" y="0"/>
                        </a:cubicBezTo>
                        <a:close/>
                      </a:path>
                    </a:pathLst>
                  </a:custGeom>
                  <a:solidFill>
                    <a:srgbClr val="3E3E3E"/>
                  </a:solidFill>
                  <a:ln w="19050" cap="flat" cmpd="sng" algn="ctr">
                    <a:noFill/>
                    <a:prstDash val="solid"/>
                    <a:round/>
                    <a:headEnd type="none" w="med" len="med"/>
                    <a:tailEnd type="none" w="med" len="med"/>
                  </a:ln>
                  <a:effectLst/>
                </p:spPr>
                <p:txBody>
                  <a:bodyPr rtlCol="0" anchor="ctr"/>
                  <a:lstStyle/>
                  <a:p>
                    <a:pPr algn="ctr"/>
                    <a:endParaRPr lang="en-US">
                      <a:solidFill>
                        <a:srgbClr val="505050"/>
                      </a:solidFill>
                    </a:endParaRPr>
                  </a:p>
                </p:txBody>
              </p:sp>
              <p:sp>
                <p:nvSpPr>
                  <p:cNvPr id="386" name="Oval 385"/>
                  <p:cNvSpPr/>
                  <p:nvPr/>
                </p:nvSpPr>
                <p:spPr>
                  <a:xfrm>
                    <a:off x="20540518" y="2326378"/>
                    <a:ext cx="118454" cy="118454"/>
                  </a:xfrm>
                  <a:prstGeom prst="ellipse">
                    <a:avLst/>
                  </a:prstGeom>
                  <a:solidFill>
                    <a:srgbClr val="3E3E3E"/>
                  </a:solidFill>
                  <a:ln w="19050" cap="flat" cmpd="sng" algn="ctr">
                    <a:noFill/>
                    <a:prstDash val="solid"/>
                    <a:round/>
                    <a:headEnd type="none" w="med" len="med"/>
                    <a:tailEnd type="none" w="med" len="med"/>
                  </a:ln>
                  <a:effectLst/>
                </p:spPr>
                <p:txBody>
                  <a:bodyPr rtlCol="0" anchor="ctr"/>
                  <a:lstStyle/>
                  <a:p>
                    <a:pPr algn="ctr"/>
                    <a:endParaRPr lang="en-US">
                      <a:solidFill>
                        <a:srgbClr val="505050"/>
                      </a:solidFill>
                    </a:endParaRPr>
                  </a:p>
                </p:txBody>
              </p:sp>
              <p:sp>
                <p:nvSpPr>
                  <p:cNvPr id="387" name="Freeform: Shape 386"/>
                  <p:cNvSpPr/>
                  <p:nvPr/>
                </p:nvSpPr>
                <p:spPr>
                  <a:xfrm>
                    <a:off x="19281323" y="1104168"/>
                    <a:ext cx="1555332" cy="2132125"/>
                  </a:xfrm>
                  <a:custGeom>
                    <a:avLst/>
                    <a:gdLst>
                      <a:gd name="connsiteX0" fmla="*/ 784460 w 1555332"/>
                      <a:gd name="connsiteY0" fmla="*/ 0 h 2132125"/>
                      <a:gd name="connsiteX1" fmla="*/ 1552978 w 1555332"/>
                      <a:gd name="connsiteY1" fmla="*/ 626363 h 2132125"/>
                      <a:gd name="connsiteX2" fmla="*/ 1555332 w 1555332"/>
                      <a:gd name="connsiteY2" fmla="*/ 641788 h 2132125"/>
                      <a:gd name="connsiteX3" fmla="*/ 1553872 w 1555332"/>
                      <a:gd name="connsiteY3" fmla="*/ 643549 h 2132125"/>
                      <a:gd name="connsiteX4" fmla="*/ 807344 w 1555332"/>
                      <a:gd name="connsiteY4" fmla="*/ 1020877 h 2132125"/>
                      <a:gd name="connsiteX5" fmla="*/ 791856 w 1555332"/>
                      <a:gd name="connsiteY5" fmla="*/ 1021659 h 2132125"/>
                      <a:gd name="connsiteX6" fmla="*/ 792056 w 1555332"/>
                      <a:gd name="connsiteY6" fmla="*/ 1025606 h 2132125"/>
                      <a:gd name="connsiteX7" fmla="*/ 739448 w 1555332"/>
                      <a:gd name="connsiteY7" fmla="*/ 1373574 h 2132125"/>
                      <a:gd name="connsiteX8" fmla="*/ 736984 w 1555332"/>
                      <a:gd name="connsiteY8" fmla="*/ 1379827 h 2132125"/>
                      <a:gd name="connsiteX9" fmla="*/ 723020 w 1555332"/>
                      <a:gd name="connsiteY9" fmla="*/ 1362902 h 2132125"/>
                      <a:gd name="connsiteX10" fmla="*/ 526394 w 1555332"/>
                      <a:gd name="connsiteY10" fmla="*/ 1281457 h 2132125"/>
                      <a:gd name="connsiteX11" fmla="*/ 248322 w 1555332"/>
                      <a:gd name="connsiteY11" fmla="*/ 1559529 h 2132125"/>
                      <a:gd name="connsiteX12" fmla="*/ 418156 w 1555332"/>
                      <a:gd name="connsiteY12" fmla="*/ 1815749 h 2132125"/>
                      <a:gd name="connsiteX13" fmla="*/ 468242 w 1555332"/>
                      <a:gd name="connsiteY13" fmla="*/ 1831296 h 2132125"/>
                      <a:gd name="connsiteX14" fmla="*/ 366228 w 1555332"/>
                      <a:gd name="connsiteY14" fmla="*/ 1928554 h 2132125"/>
                      <a:gd name="connsiteX15" fmla="*/ 77379 w 1555332"/>
                      <a:gd name="connsiteY15" fmla="*/ 2103804 h 2132125"/>
                      <a:gd name="connsiteX16" fmla="*/ 0 w 1555332"/>
                      <a:gd name="connsiteY16" fmla="*/ 2132125 h 2132125"/>
                      <a:gd name="connsiteX17" fmla="*/ 0 w 1555332"/>
                      <a:gd name="connsiteY17" fmla="*/ 1744650 h 2132125"/>
                      <a:gd name="connsiteX18" fmla="*/ 0 w 1555332"/>
                      <a:gd name="connsiteY18" fmla="*/ 1696965 h 2132125"/>
                      <a:gd name="connsiteX19" fmla="*/ 0 w 1555332"/>
                      <a:gd name="connsiteY19" fmla="*/ 784459 h 2132125"/>
                      <a:gd name="connsiteX20" fmla="*/ 784460 w 1555332"/>
                      <a:gd name="connsiteY20" fmla="*/ 0 h 213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55332" h="2132125">
                        <a:moveTo>
                          <a:pt x="784460" y="0"/>
                        </a:moveTo>
                        <a:cubicBezTo>
                          <a:pt x="1163548" y="0"/>
                          <a:pt x="1479832" y="268898"/>
                          <a:pt x="1552978" y="626363"/>
                        </a:cubicBezTo>
                        <a:lnTo>
                          <a:pt x="1555332" y="641788"/>
                        </a:lnTo>
                        <a:lnTo>
                          <a:pt x="1553872" y="643549"/>
                        </a:lnTo>
                        <a:cubicBezTo>
                          <a:pt x="1365000" y="851354"/>
                          <a:pt x="1102372" y="990915"/>
                          <a:pt x="807344" y="1020877"/>
                        </a:cubicBezTo>
                        <a:lnTo>
                          <a:pt x="791856" y="1021659"/>
                        </a:lnTo>
                        <a:lnTo>
                          <a:pt x="792056" y="1025606"/>
                        </a:lnTo>
                        <a:cubicBezTo>
                          <a:pt x="792056" y="1146780"/>
                          <a:pt x="773638" y="1263651"/>
                          <a:pt x="739448" y="1373574"/>
                        </a:cubicBezTo>
                        <a:lnTo>
                          <a:pt x="736984" y="1379827"/>
                        </a:lnTo>
                        <a:lnTo>
                          <a:pt x="723020" y="1362902"/>
                        </a:lnTo>
                        <a:cubicBezTo>
                          <a:pt x="672700" y="1312581"/>
                          <a:pt x="603182" y="1281457"/>
                          <a:pt x="526394" y="1281457"/>
                        </a:cubicBezTo>
                        <a:cubicBezTo>
                          <a:pt x="372820" y="1281457"/>
                          <a:pt x="248322" y="1405954"/>
                          <a:pt x="248322" y="1559529"/>
                        </a:cubicBezTo>
                        <a:cubicBezTo>
                          <a:pt x="248322" y="1674710"/>
                          <a:pt x="318352" y="1773535"/>
                          <a:pt x="418156" y="1815749"/>
                        </a:cubicBezTo>
                        <a:lnTo>
                          <a:pt x="468242" y="1831296"/>
                        </a:lnTo>
                        <a:lnTo>
                          <a:pt x="366228" y="1928554"/>
                        </a:lnTo>
                        <a:cubicBezTo>
                          <a:pt x="279540" y="2000095"/>
                          <a:pt x="182376" y="2059394"/>
                          <a:pt x="77379" y="2103804"/>
                        </a:cubicBezTo>
                        <a:lnTo>
                          <a:pt x="0" y="2132125"/>
                        </a:lnTo>
                        <a:lnTo>
                          <a:pt x="0" y="1744650"/>
                        </a:lnTo>
                        <a:lnTo>
                          <a:pt x="0" y="1696965"/>
                        </a:lnTo>
                        <a:lnTo>
                          <a:pt x="0" y="784459"/>
                        </a:lnTo>
                        <a:cubicBezTo>
                          <a:pt x="0" y="351214"/>
                          <a:pt x="351212" y="0"/>
                          <a:pt x="784460" y="0"/>
                        </a:cubicBezTo>
                        <a:close/>
                      </a:path>
                    </a:pathLst>
                  </a:custGeom>
                  <a:solidFill>
                    <a:srgbClr val="3E3E3E">
                      <a:alpha val="26000"/>
                    </a:srgbClr>
                  </a:solidFill>
                  <a:ln w="19050"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algn="ctr" defTabSz="888829" fontAlgn="base"/>
                    <a:endParaRPr lang="en-US" sz="1700" b="1" kern="0">
                      <a:solidFill>
                        <a:srgbClr val="002050"/>
                      </a:solidFill>
                      <a:cs typeface="Segoe UI Semibold" panose="020B0702040204020203" pitchFamily="34" charset="0"/>
                    </a:endParaRPr>
                  </a:p>
                </p:txBody>
              </p:sp>
            </p:grpSp>
            <p:sp>
              <p:nvSpPr>
                <p:cNvPr id="381" name="Freeform 109"/>
                <p:cNvSpPr/>
                <p:nvPr/>
              </p:nvSpPr>
              <p:spPr bwMode="auto">
                <a:xfrm rot="17505414">
                  <a:off x="17455485" y="6784649"/>
                  <a:ext cx="573424" cy="577932"/>
                </a:xfrm>
                <a:custGeom>
                  <a:avLst/>
                  <a:gdLst>
                    <a:gd name="connsiteX0" fmla="*/ 2398882 w 3539726"/>
                    <a:gd name="connsiteY0" fmla="*/ 1532736 h 3567551"/>
                    <a:gd name="connsiteX1" fmla="*/ 1518822 w 3539726"/>
                    <a:gd name="connsiteY1" fmla="*/ 1154758 h 3567551"/>
                    <a:gd name="connsiteX2" fmla="*/ 1140844 w 3539726"/>
                    <a:gd name="connsiteY2" fmla="*/ 2034818 h 3567551"/>
                    <a:gd name="connsiteX3" fmla="*/ 2020904 w 3539726"/>
                    <a:gd name="connsiteY3" fmla="*/ 2412796 h 3567551"/>
                    <a:gd name="connsiteX4" fmla="*/ 2398882 w 3539726"/>
                    <a:gd name="connsiteY4" fmla="*/ 1532736 h 3567551"/>
                    <a:gd name="connsiteX5" fmla="*/ 3531426 w 3539726"/>
                    <a:gd name="connsiteY5" fmla="*/ 1531266 h 3567551"/>
                    <a:gd name="connsiteX6" fmla="*/ 3539613 w 3539726"/>
                    <a:gd name="connsiteY6" fmla="*/ 1582665 h 3567551"/>
                    <a:gd name="connsiteX7" fmla="*/ 3529828 w 3539726"/>
                    <a:gd name="connsiteY7" fmla="*/ 1819711 h 3567551"/>
                    <a:gd name="connsiteX8" fmla="*/ 3393464 w 3539726"/>
                    <a:gd name="connsiteY8" fmla="*/ 1945262 h 3567551"/>
                    <a:gd name="connsiteX9" fmla="*/ 3021663 w 3539726"/>
                    <a:gd name="connsiteY9" fmla="*/ 1929914 h 3567551"/>
                    <a:gd name="connsiteX10" fmla="*/ 3003214 w 3539726"/>
                    <a:gd name="connsiteY10" fmla="*/ 2039899 h 3567551"/>
                    <a:gd name="connsiteX11" fmla="*/ 2871427 w 3539726"/>
                    <a:gd name="connsiteY11" fmla="*/ 2392326 h 3567551"/>
                    <a:gd name="connsiteX12" fmla="*/ 2870631 w 3539726"/>
                    <a:gd name="connsiteY12" fmla="*/ 2393627 h 3567551"/>
                    <a:gd name="connsiteX13" fmla="*/ 3206787 w 3539726"/>
                    <a:gd name="connsiteY13" fmla="*/ 2699050 h 3567551"/>
                    <a:gd name="connsiteX14" fmla="*/ 3237620 w 3539726"/>
                    <a:gd name="connsiteY14" fmla="*/ 2740981 h 3567551"/>
                    <a:gd name="connsiteX15" fmla="*/ 3215656 w 3539726"/>
                    <a:gd name="connsiteY15" fmla="*/ 2884197 h 3567551"/>
                    <a:gd name="connsiteX16" fmla="*/ 3056115 w 3539726"/>
                    <a:gd name="connsiteY16" fmla="*/ 3059792 h 3567551"/>
                    <a:gd name="connsiteX17" fmla="*/ 2870968 w 3539726"/>
                    <a:gd name="connsiteY17" fmla="*/ 3068661 h 3567551"/>
                    <a:gd name="connsiteX18" fmla="*/ 2550800 w 3539726"/>
                    <a:gd name="connsiteY18" fmla="*/ 2777763 h 3567551"/>
                    <a:gd name="connsiteX19" fmla="*/ 2548307 w 3539726"/>
                    <a:gd name="connsiteY19" fmla="*/ 2779996 h 3567551"/>
                    <a:gd name="connsiteX20" fmla="*/ 2208278 w 3539726"/>
                    <a:gd name="connsiteY20" fmla="*/ 2979124 h 3567551"/>
                    <a:gd name="connsiteX21" fmla="*/ 2081352 w 3539726"/>
                    <a:gd name="connsiteY21" fmla="*/ 3022497 h 3567551"/>
                    <a:gd name="connsiteX22" fmla="*/ 2058441 w 3539726"/>
                    <a:gd name="connsiteY22" fmla="*/ 3027820 h 3567551"/>
                    <a:gd name="connsiteX23" fmla="*/ 2094881 w 3539726"/>
                    <a:gd name="connsiteY23" fmla="*/ 3400644 h 3567551"/>
                    <a:gd name="connsiteX24" fmla="*/ 1977184 w 3539726"/>
                    <a:gd name="connsiteY24" fmla="*/ 3543842 h 3567551"/>
                    <a:gd name="connsiteX25" fmla="*/ 1741061 w 3539726"/>
                    <a:gd name="connsiteY25" fmla="*/ 3566920 h 3567551"/>
                    <a:gd name="connsiteX26" fmla="*/ 1597864 w 3539726"/>
                    <a:gd name="connsiteY26" fmla="*/ 3449223 h 3567551"/>
                    <a:gd name="connsiteX27" fmla="*/ 1560029 w 3539726"/>
                    <a:gd name="connsiteY27" fmla="*/ 3062137 h 3567551"/>
                    <a:gd name="connsiteX28" fmla="*/ 1444966 w 3539726"/>
                    <a:gd name="connsiteY28" fmla="*/ 3042835 h 3567551"/>
                    <a:gd name="connsiteX29" fmla="*/ 1092540 w 3539726"/>
                    <a:gd name="connsiteY29" fmla="*/ 2911049 h 3567551"/>
                    <a:gd name="connsiteX30" fmla="*/ 1044151 w 3539726"/>
                    <a:gd name="connsiteY30" fmla="*/ 2881448 h 3567551"/>
                    <a:gd name="connsiteX31" fmla="*/ 879059 w 3539726"/>
                    <a:gd name="connsiteY31" fmla="*/ 3125781 h 3567551"/>
                    <a:gd name="connsiteX32" fmla="*/ 697076 w 3539726"/>
                    <a:gd name="connsiteY32" fmla="*/ 3161003 h 3567551"/>
                    <a:gd name="connsiteX33" fmla="*/ 500496 w 3539726"/>
                    <a:gd name="connsiteY33" fmla="*/ 3028176 h 3567551"/>
                    <a:gd name="connsiteX34" fmla="*/ 465275 w 3539726"/>
                    <a:gd name="connsiteY34" fmla="*/ 2846193 h 3567551"/>
                    <a:gd name="connsiteX35" fmla="*/ 671039 w 3539726"/>
                    <a:gd name="connsiteY35" fmla="*/ 2541666 h 3567551"/>
                    <a:gd name="connsiteX36" fmla="*/ 628341 w 3539726"/>
                    <a:gd name="connsiteY36" fmla="*/ 2483277 h 3567551"/>
                    <a:gd name="connsiteX37" fmla="*/ 505741 w 3539726"/>
                    <a:gd name="connsiteY37" fmla="*/ 2247900 h 3567551"/>
                    <a:gd name="connsiteX38" fmla="*/ 462369 w 3539726"/>
                    <a:gd name="connsiteY38" fmla="*/ 2120974 h 3567551"/>
                    <a:gd name="connsiteX39" fmla="*/ 450219 w 3539726"/>
                    <a:gd name="connsiteY39" fmla="*/ 2068679 h 3567551"/>
                    <a:gd name="connsiteX40" fmla="*/ 123755 w 3539726"/>
                    <a:gd name="connsiteY40" fmla="*/ 2050424 h 3567551"/>
                    <a:gd name="connsiteX41" fmla="*/ 208 w 3539726"/>
                    <a:gd name="connsiteY41" fmla="*/ 1912242 h 3567551"/>
                    <a:gd name="connsiteX42" fmla="*/ 13453 w 3539726"/>
                    <a:gd name="connsiteY42" fmla="*/ 1675364 h 3567551"/>
                    <a:gd name="connsiteX43" fmla="*/ 151635 w 3539726"/>
                    <a:gd name="connsiteY43" fmla="*/ 1551817 h 3567551"/>
                    <a:gd name="connsiteX44" fmla="*/ 428160 w 3539726"/>
                    <a:gd name="connsiteY44" fmla="*/ 1567280 h 3567551"/>
                    <a:gd name="connsiteX45" fmla="*/ 442031 w 3539726"/>
                    <a:gd name="connsiteY45" fmla="*/ 1484588 h 3567551"/>
                    <a:gd name="connsiteX46" fmla="*/ 573818 w 3539726"/>
                    <a:gd name="connsiteY46" fmla="*/ 1132162 h 3567551"/>
                    <a:gd name="connsiteX47" fmla="*/ 622634 w 3539726"/>
                    <a:gd name="connsiteY47" fmla="*/ 1052359 h 3567551"/>
                    <a:gd name="connsiteX48" fmla="*/ 343779 w 3539726"/>
                    <a:gd name="connsiteY48" fmla="*/ 789427 h 3567551"/>
                    <a:gd name="connsiteX49" fmla="*/ 338333 w 3539726"/>
                    <a:gd name="connsiteY49" fmla="*/ 604148 h 3567551"/>
                    <a:gd name="connsiteX50" fmla="*/ 501092 w 3539726"/>
                    <a:gd name="connsiteY50" fmla="*/ 431532 h 3567551"/>
                    <a:gd name="connsiteX51" fmla="*/ 686372 w 3539726"/>
                    <a:gd name="connsiteY51" fmla="*/ 426087 h 3567551"/>
                    <a:gd name="connsiteX52" fmla="*/ 968532 w 3539726"/>
                    <a:gd name="connsiteY52" fmla="*/ 692135 h 3567551"/>
                    <a:gd name="connsiteX53" fmla="*/ 1001589 w 3539726"/>
                    <a:gd name="connsiteY53" fmla="*/ 667962 h 3567551"/>
                    <a:gd name="connsiteX54" fmla="*/ 1236966 w 3539726"/>
                    <a:gd name="connsiteY54" fmla="*/ 545363 h 3567551"/>
                    <a:gd name="connsiteX55" fmla="*/ 1363893 w 3539726"/>
                    <a:gd name="connsiteY55" fmla="*/ 501990 h 3567551"/>
                    <a:gd name="connsiteX56" fmla="*/ 1437829 w 3539726"/>
                    <a:gd name="connsiteY56" fmla="*/ 484812 h 3567551"/>
                    <a:gd name="connsiteX57" fmla="*/ 1437829 w 3539726"/>
                    <a:gd name="connsiteY57" fmla="*/ 131069 h 3567551"/>
                    <a:gd name="connsiteX58" fmla="*/ 1568898 w 3539726"/>
                    <a:gd name="connsiteY58" fmla="*/ 0 h 3567551"/>
                    <a:gd name="connsiteX59" fmla="*/ 1806146 w 3539726"/>
                    <a:gd name="connsiteY59" fmla="*/ 0 h 3567551"/>
                    <a:gd name="connsiteX60" fmla="*/ 1926915 w 3539726"/>
                    <a:gd name="connsiteY60" fmla="*/ 80051 h 3567551"/>
                    <a:gd name="connsiteX61" fmla="*/ 1937215 w 3539726"/>
                    <a:gd name="connsiteY61" fmla="*/ 131069 h 3567551"/>
                    <a:gd name="connsiteX62" fmla="*/ 1937215 w 3539726"/>
                    <a:gd name="connsiteY62" fmla="*/ 471074 h 3567551"/>
                    <a:gd name="connsiteX63" fmla="*/ 2000278 w 3539726"/>
                    <a:gd name="connsiteY63" fmla="*/ 481652 h 3567551"/>
                    <a:gd name="connsiteX64" fmla="*/ 2352704 w 3539726"/>
                    <a:gd name="connsiteY64" fmla="*/ 613439 h 3567551"/>
                    <a:gd name="connsiteX65" fmla="*/ 2421839 w 3539726"/>
                    <a:gd name="connsiteY65" fmla="*/ 655729 h 3567551"/>
                    <a:gd name="connsiteX66" fmla="*/ 2693020 w 3539726"/>
                    <a:gd name="connsiteY66" fmla="*/ 376501 h 3567551"/>
                    <a:gd name="connsiteX67" fmla="*/ 2878360 w 3539726"/>
                    <a:gd name="connsiteY67" fmla="*/ 373791 h 3567551"/>
                    <a:gd name="connsiteX68" fmla="*/ 3048554 w 3539726"/>
                    <a:gd name="connsiteY68" fmla="*/ 539081 h 3567551"/>
                    <a:gd name="connsiteX69" fmla="*/ 3077976 w 3539726"/>
                    <a:gd name="connsiteY69" fmla="*/ 582014 h 3567551"/>
                    <a:gd name="connsiteX70" fmla="*/ 3051263 w 3539726"/>
                    <a:gd name="connsiteY70" fmla="*/ 724420 h 3567551"/>
                    <a:gd name="connsiteX71" fmla="*/ 2785418 w 3539726"/>
                    <a:gd name="connsiteY71" fmla="*/ 998154 h 3567551"/>
                    <a:gd name="connsiteX72" fmla="*/ 2816904 w 3539726"/>
                    <a:gd name="connsiteY72" fmla="*/ 1041211 h 3567551"/>
                    <a:gd name="connsiteX73" fmla="*/ 2939503 w 3539726"/>
                    <a:gd name="connsiteY73" fmla="*/ 1276588 h 3567551"/>
                    <a:gd name="connsiteX74" fmla="*/ 2982876 w 3539726"/>
                    <a:gd name="connsiteY74" fmla="*/ 1403514 h 3567551"/>
                    <a:gd name="connsiteX75" fmla="*/ 2988737 w 3539726"/>
                    <a:gd name="connsiteY75" fmla="*/ 1428744 h 3567551"/>
                    <a:gd name="connsiteX76" fmla="*/ 3414062 w 3539726"/>
                    <a:gd name="connsiteY76" fmla="*/ 1446302 h 3567551"/>
                    <a:gd name="connsiteX77" fmla="*/ 3531426 w 3539726"/>
                    <a:gd name="connsiteY77" fmla="*/ 1531266 h 356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539726" h="3567551">
                      <a:moveTo>
                        <a:pt x="2398882" y="1532736"/>
                      </a:moveTo>
                      <a:cubicBezTo>
                        <a:pt x="2260236" y="1185338"/>
                        <a:pt x="1866220" y="1016111"/>
                        <a:pt x="1518822" y="1154758"/>
                      </a:cubicBezTo>
                      <a:cubicBezTo>
                        <a:pt x="1171424" y="1293404"/>
                        <a:pt x="1002198" y="1687420"/>
                        <a:pt x="1140844" y="2034818"/>
                      </a:cubicBezTo>
                      <a:cubicBezTo>
                        <a:pt x="1279490" y="2382216"/>
                        <a:pt x="1673506" y="2551442"/>
                        <a:pt x="2020904" y="2412796"/>
                      </a:cubicBezTo>
                      <a:cubicBezTo>
                        <a:pt x="2368302" y="2274149"/>
                        <a:pt x="2537528" y="1880134"/>
                        <a:pt x="2398882" y="1532736"/>
                      </a:cubicBezTo>
                      <a:close/>
                      <a:moveTo>
                        <a:pt x="3531426" y="1531266"/>
                      </a:moveTo>
                      <a:cubicBezTo>
                        <a:pt x="3537406" y="1547207"/>
                        <a:pt x="3540360" y="1564584"/>
                        <a:pt x="3539613" y="1582665"/>
                      </a:cubicBezTo>
                      <a:lnTo>
                        <a:pt x="3529828" y="1819711"/>
                      </a:lnTo>
                      <a:cubicBezTo>
                        <a:pt x="3526842" y="1892036"/>
                        <a:pt x="3465790" y="1948248"/>
                        <a:pt x="3393464" y="1945262"/>
                      </a:cubicBezTo>
                      <a:lnTo>
                        <a:pt x="3021663" y="1929914"/>
                      </a:lnTo>
                      <a:lnTo>
                        <a:pt x="3003214" y="2039899"/>
                      </a:lnTo>
                      <a:cubicBezTo>
                        <a:pt x="2976365" y="2163190"/>
                        <a:pt x="2931885" y="2281949"/>
                        <a:pt x="2871427" y="2392326"/>
                      </a:cubicBezTo>
                      <a:lnTo>
                        <a:pt x="2870631" y="2393627"/>
                      </a:lnTo>
                      <a:lnTo>
                        <a:pt x="3206787" y="2699050"/>
                      </a:lnTo>
                      <a:cubicBezTo>
                        <a:pt x="3220181" y="2711219"/>
                        <a:pt x="3230475" y="2725528"/>
                        <a:pt x="3237620" y="2740981"/>
                      </a:cubicBezTo>
                      <a:cubicBezTo>
                        <a:pt x="3259058" y="2787342"/>
                        <a:pt x="3252164" y="2844015"/>
                        <a:pt x="3215656" y="2884197"/>
                      </a:cubicBezTo>
                      <a:lnTo>
                        <a:pt x="3056115" y="3059792"/>
                      </a:lnTo>
                      <a:cubicBezTo>
                        <a:pt x="3007438" y="3113367"/>
                        <a:pt x="2924544" y="3117338"/>
                        <a:pt x="2870968" y="3068661"/>
                      </a:cubicBezTo>
                      <a:lnTo>
                        <a:pt x="2550800" y="2777763"/>
                      </a:lnTo>
                      <a:lnTo>
                        <a:pt x="2548307" y="2779996"/>
                      </a:lnTo>
                      <a:cubicBezTo>
                        <a:pt x="2448185" y="2861173"/>
                        <a:pt x="2334290" y="2928833"/>
                        <a:pt x="2208278" y="2979124"/>
                      </a:cubicBezTo>
                      <a:cubicBezTo>
                        <a:pt x="2166275" y="2995888"/>
                        <a:pt x="2123918" y="3010326"/>
                        <a:pt x="2081352" y="3022497"/>
                      </a:cubicBezTo>
                      <a:lnTo>
                        <a:pt x="2058441" y="3027820"/>
                      </a:lnTo>
                      <a:lnTo>
                        <a:pt x="2094881" y="3400644"/>
                      </a:lnTo>
                      <a:cubicBezTo>
                        <a:pt x="2101923" y="3472688"/>
                        <a:pt x="2049227" y="3536800"/>
                        <a:pt x="1977184" y="3543842"/>
                      </a:cubicBezTo>
                      <a:lnTo>
                        <a:pt x="1741061" y="3566920"/>
                      </a:lnTo>
                      <a:cubicBezTo>
                        <a:pt x="1669017" y="3573962"/>
                        <a:pt x="1604905" y="3521267"/>
                        <a:pt x="1597864" y="3449223"/>
                      </a:cubicBezTo>
                      <a:lnTo>
                        <a:pt x="1560029" y="3062137"/>
                      </a:lnTo>
                      <a:lnTo>
                        <a:pt x="1444966" y="3042835"/>
                      </a:lnTo>
                      <a:cubicBezTo>
                        <a:pt x="1321675" y="3015986"/>
                        <a:pt x="1202917" y="2971506"/>
                        <a:pt x="1092540" y="2911049"/>
                      </a:cubicBezTo>
                      <a:lnTo>
                        <a:pt x="1044151" y="2881448"/>
                      </a:lnTo>
                      <a:lnTo>
                        <a:pt x="879059" y="3125781"/>
                      </a:lnTo>
                      <a:cubicBezTo>
                        <a:pt x="838532" y="3185760"/>
                        <a:pt x="757056" y="3201529"/>
                        <a:pt x="697076" y="3161003"/>
                      </a:cubicBezTo>
                      <a:lnTo>
                        <a:pt x="500496" y="3028176"/>
                      </a:lnTo>
                      <a:cubicBezTo>
                        <a:pt x="440518" y="2987649"/>
                        <a:pt x="424748" y="2906172"/>
                        <a:pt x="465275" y="2846193"/>
                      </a:cubicBezTo>
                      <a:lnTo>
                        <a:pt x="671039" y="2541666"/>
                      </a:lnTo>
                      <a:lnTo>
                        <a:pt x="628341" y="2483277"/>
                      </a:lnTo>
                      <a:cubicBezTo>
                        <a:pt x="580516" y="2410530"/>
                        <a:pt x="539269" y="2331908"/>
                        <a:pt x="505741" y="2247900"/>
                      </a:cubicBezTo>
                      <a:cubicBezTo>
                        <a:pt x="488978" y="2205896"/>
                        <a:pt x="474541" y="2163539"/>
                        <a:pt x="462369" y="2120974"/>
                      </a:cubicBezTo>
                      <a:lnTo>
                        <a:pt x="450219" y="2068679"/>
                      </a:lnTo>
                      <a:lnTo>
                        <a:pt x="123755" y="2050424"/>
                      </a:lnTo>
                      <a:cubicBezTo>
                        <a:pt x="51481" y="2046383"/>
                        <a:pt x="-3833" y="1984516"/>
                        <a:pt x="208" y="1912242"/>
                      </a:cubicBezTo>
                      <a:lnTo>
                        <a:pt x="13453" y="1675364"/>
                      </a:lnTo>
                      <a:cubicBezTo>
                        <a:pt x="17495" y="1603090"/>
                        <a:pt x="79361" y="1547776"/>
                        <a:pt x="151635" y="1551817"/>
                      </a:cubicBezTo>
                      <a:lnTo>
                        <a:pt x="428160" y="1567280"/>
                      </a:lnTo>
                      <a:lnTo>
                        <a:pt x="442031" y="1484588"/>
                      </a:lnTo>
                      <a:cubicBezTo>
                        <a:pt x="468880" y="1361297"/>
                        <a:pt x="513360" y="1242538"/>
                        <a:pt x="573818" y="1132162"/>
                      </a:cubicBezTo>
                      <a:lnTo>
                        <a:pt x="622634" y="1052359"/>
                      </a:lnTo>
                      <a:lnTo>
                        <a:pt x="343779" y="789427"/>
                      </a:lnTo>
                      <a:cubicBezTo>
                        <a:pt x="291112" y="739768"/>
                        <a:pt x="288674" y="656815"/>
                        <a:pt x="338333" y="604148"/>
                      </a:cubicBezTo>
                      <a:lnTo>
                        <a:pt x="501092" y="431532"/>
                      </a:lnTo>
                      <a:cubicBezTo>
                        <a:pt x="550752" y="378865"/>
                        <a:pt x="633705" y="376428"/>
                        <a:pt x="686372" y="426087"/>
                      </a:cubicBezTo>
                      <a:lnTo>
                        <a:pt x="968532" y="692135"/>
                      </a:lnTo>
                      <a:lnTo>
                        <a:pt x="1001589" y="667962"/>
                      </a:lnTo>
                      <a:cubicBezTo>
                        <a:pt x="1074336" y="620137"/>
                        <a:pt x="1152958" y="578890"/>
                        <a:pt x="1236966" y="545363"/>
                      </a:cubicBezTo>
                      <a:cubicBezTo>
                        <a:pt x="1278970" y="528599"/>
                        <a:pt x="1321327" y="514162"/>
                        <a:pt x="1363893" y="501990"/>
                      </a:cubicBezTo>
                      <a:lnTo>
                        <a:pt x="1437829" y="484812"/>
                      </a:lnTo>
                      <a:lnTo>
                        <a:pt x="1437829" y="131069"/>
                      </a:lnTo>
                      <a:cubicBezTo>
                        <a:pt x="1437829" y="58682"/>
                        <a:pt x="1496511" y="0"/>
                        <a:pt x="1568898" y="0"/>
                      </a:cubicBezTo>
                      <a:lnTo>
                        <a:pt x="1806146" y="0"/>
                      </a:lnTo>
                      <a:cubicBezTo>
                        <a:pt x="1860436" y="0"/>
                        <a:pt x="1907017" y="33009"/>
                        <a:pt x="1926915" y="80051"/>
                      </a:cubicBezTo>
                      <a:cubicBezTo>
                        <a:pt x="1933547" y="95732"/>
                        <a:pt x="1937215" y="112972"/>
                        <a:pt x="1937215" y="131069"/>
                      </a:cubicBezTo>
                      <a:lnTo>
                        <a:pt x="1937215" y="471074"/>
                      </a:lnTo>
                      <a:lnTo>
                        <a:pt x="2000278" y="481652"/>
                      </a:lnTo>
                      <a:cubicBezTo>
                        <a:pt x="2123569" y="508501"/>
                        <a:pt x="2242328" y="552981"/>
                        <a:pt x="2352704" y="613439"/>
                      </a:cubicBezTo>
                      <a:lnTo>
                        <a:pt x="2421839" y="655729"/>
                      </a:lnTo>
                      <a:lnTo>
                        <a:pt x="2693020" y="376501"/>
                      </a:lnTo>
                      <a:cubicBezTo>
                        <a:pt x="2743452" y="324573"/>
                        <a:pt x="2826432" y="323360"/>
                        <a:pt x="2878360" y="373791"/>
                      </a:cubicBezTo>
                      <a:lnTo>
                        <a:pt x="3048554" y="539081"/>
                      </a:lnTo>
                      <a:cubicBezTo>
                        <a:pt x="3061536" y="551689"/>
                        <a:pt x="3071348" y="566331"/>
                        <a:pt x="3077976" y="582014"/>
                      </a:cubicBezTo>
                      <a:cubicBezTo>
                        <a:pt x="3097861" y="629062"/>
                        <a:pt x="3089087" y="685474"/>
                        <a:pt x="3051263" y="724420"/>
                      </a:cubicBezTo>
                      <a:lnTo>
                        <a:pt x="2785418" y="998154"/>
                      </a:lnTo>
                      <a:lnTo>
                        <a:pt x="2816904" y="1041211"/>
                      </a:lnTo>
                      <a:cubicBezTo>
                        <a:pt x="2864729" y="1113957"/>
                        <a:pt x="2905975" y="1192579"/>
                        <a:pt x="2939503" y="1276588"/>
                      </a:cubicBezTo>
                      <a:cubicBezTo>
                        <a:pt x="2956267" y="1318591"/>
                        <a:pt x="2970704" y="1360948"/>
                        <a:pt x="2982876" y="1403514"/>
                      </a:cubicBezTo>
                      <a:lnTo>
                        <a:pt x="2988737" y="1428744"/>
                      </a:lnTo>
                      <a:lnTo>
                        <a:pt x="3414062" y="1446302"/>
                      </a:lnTo>
                      <a:cubicBezTo>
                        <a:pt x="3468306" y="1448541"/>
                        <a:pt x="3513486" y="1483443"/>
                        <a:pt x="3531426" y="153126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82" name="Freeform 109"/>
                <p:cNvSpPr/>
                <p:nvPr/>
              </p:nvSpPr>
              <p:spPr bwMode="auto">
                <a:xfrm rot="17505414">
                  <a:off x="17880028" y="6468365"/>
                  <a:ext cx="573424" cy="577932"/>
                </a:xfrm>
                <a:custGeom>
                  <a:avLst/>
                  <a:gdLst>
                    <a:gd name="connsiteX0" fmla="*/ 2398882 w 3539726"/>
                    <a:gd name="connsiteY0" fmla="*/ 1532736 h 3567551"/>
                    <a:gd name="connsiteX1" fmla="*/ 1518822 w 3539726"/>
                    <a:gd name="connsiteY1" fmla="*/ 1154758 h 3567551"/>
                    <a:gd name="connsiteX2" fmla="*/ 1140844 w 3539726"/>
                    <a:gd name="connsiteY2" fmla="*/ 2034818 h 3567551"/>
                    <a:gd name="connsiteX3" fmla="*/ 2020904 w 3539726"/>
                    <a:gd name="connsiteY3" fmla="*/ 2412796 h 3567551"/>
                    <a:gd name="connsiteX4" fmla="*/ 2398882 w 3539726"/>
                    <a:gd name="connsiteY4" fmla="*/ 1532736 h 3567551"/>
                    <a:gd name="connsiteX5" fmla="*/ 3531426 w 3539726"/>
                    <a:gd name="connsiteY5" fmla="*/ 1531266 h 3567551"/>
                    <a:gd name="connsiteX6" fmla="*/ 3539613 w 3539726"/>
                    <a:gd name="connsiteY6" fmla="*/ 1582665 h 3567551"/>
                    <a:gd name="connsiteX7" fmla="*/ 3529828 w 3539726"/>
                    <a:gd name="connsiteY7" fmla="*/ 1819711 h 3567551"/>
                    <a:gd name="connsiteX8" fmla="*/ 3393464 w 3539726"/>
                    <a:gd name="connsiteY8" fmla="*/ 1945262 h 3567551"/>
                    <a:gd name="connsiteX9" fmla="*/ 3021663 w 3539726"/>
                    <a:gd name="connsiteY9" fmla="*/ 1929914 h 3567551"/>
                    <a:gd name="connsiteX10" fmla="*/ 3003214 w 3539726"/>
                    <a:gd name="connsiteY10" fmla="*/ 2039899 h 3567551"/>
                    <a:gd name="connsiteX11" fmla="*/ 2871427 w 3539726"/>
                    <a:gd name="connsiteY11" fmla="*/ 2392326 h 3567551"/>
                    <a:gd name="connsiteX12" fmla="*/ 2870631 w 3539726"/>
                    <a:gd name="connsiteY12" fmla="*/ 2393627 h 3567551"/>
                    <a:gd name="connsiteX13" fmla="*/ 3206787 w 3539726"/>
                    <a:gd name="connsiteY13" fmla="*/ 2699050 h 3567551"/>
                    <a:gd name="connsiteX14" fmla="*/ 3237620 w 3539726"/>
                    <a:gd name="connsiteY14" fmla="*/ 2740981 h 3567551"/>
                    <a:gd name="connsiteX15" fmla="*/ 3215656 w 3539726"/>
                    <a:gd name="connsiteY15" fmla="*/ 2884197 h 3567551"/>
                    <a:gd name="connsiteX16" fmla="*/ 3056115 w 3539726"/>
                    <a:gd name="connsiteY16" fmla="*/ 3059792 h 3567551"/>
                    <a:gd name="connsiteX17" fmla="*/ 2870968 w 3539726"/>
                    <a:gd name="connsiteY17" fmla="*/ 3068661 h 3567551"/>
                    <a:gd name="connsiteX18" fmla="*/ 2550800 w 3539726"/>
                    <a:gd name="connsiteY18" fmla="*/ 2777763 h 3567551"/>
                    <a:gd name="connsiteX19" fmla="*/ 2548307 w 3539726"/>
                    <a:gd name="connsiteY19" fmla="*/ 2779996 h 3567551"/>
                    <a:gd name="connsiteX20" fmla="*/ 2208278 w 3539726"/>
                    <a:gd name="connsiteY20" fmla="*/ 2979124 h 3567551"/>
                    <a:gd name="connsiteX21" fmla="*/ 2081352 w 3539726"/>
                    <a:gd name="connsiteY21" fmla="*/ 3022497 h 3567551"/>
                    <a:gd name="connsiteX22" fmla="*/ 2058441 w 3539726"/>
                    <a:gd name="connsiteY22" fmla="*/ 3027820 h 3567551"/>
                    <a:gd name="connsiteX23" fmla="*/ 2094881 w 3539726"/>
                    <a:gd name="connsiteY23" fmla="*/ 3400644 h 3567551"/>
                    <a:gd name="connsiteX24" fmla="*/ 1977184 w 3539726"/>
                    <a:gd name="connsiteY24" fmla="*/ 3543842 h 3567551"/>
                    <a:gd name="connsiteX25" fmla="*/ 1741061 w 3539726"/>
                    <a:gd name="connsiteY25" fmla="*/ 3566920 h 3567551"/>
                    <a:gd name="connsiteX26" fmla="*/ 1597864 w 3539726"/>
                    <a:gd name="connsiteY26" fmla="*/ 3449223 h 3567551"/>
                    <a:gd name="connsiteX27" fmla="*/ 1560029 w 3539726"/>
                    <a:gd name="connsiteY27" fmla="*/ 3062137 h 3567551"/>
                    <a:gd name="connsiteX28" fmla="*/ 1444966 w 3539726"/>
                    <a:gd name="connsiteY28" fmla="*/ 3042835 h 3567551"/>
                    <a:gd name="connsiteX29" fmla="*/ 1092540 w 3539726"/>
                    <a:gd name="connsiteY29" fmla="*/ 2911049 h 3567551"/>
                    <a:gd name="connsiteX30" fmla="*/ 1044151 w 3539726"/>
                    <a:gd name="connsiteY30" fmla="*/ 2881448 h 3567551"/>
                    <a:gd name="connsiteX31" fmla="*/ 879059 w 3539726"/>
                    <a:gd name="connsiteY31" fmla="*/ 3125781 h 3567551"/>
                    <a:gd name="connsiteX32" fmla="*/ 697076 w 3539726"/>
                    <a:gd name="connsiteY32" fmla="*/ 3161003 h 3567551"/>
                    <a:gd name="connsiteX33" fmla="*/ 500496 w 3539726"/>
                    <a:gd name="connsiteY33" fmla="*/ 3028176 h 3567551"/>
                    <a:gd name="connsiteX34" fmla="*/ 465275 w 3539726"/>
                    <a:gd name="connsiteY34" fmla="*/ 2846193 h 3567551"/>
                    <a:gd name="connsiteX35" fmla="*/ 671039 w 3539726"/>
                    <a:gd name="connsiteY35" fmla="*/ 2541666 h 3567551"/>
                    <a:gd name="connsiteX36" fmla="*/ 628341 w 3539726"/>
                    <a:gd name="connsiteY36" fmla="*/ 2483277 h 3567551"/>
                    <a:gd name="connsiteX37" fmla="*/ 505741 w 3539726"/>
                    <a:gd name="connsiteY37" fmla="*/ 2247900 h 3567551"/>
                    <a:gd name="connsiteX38" fmla="*/ 462369 w 3539726"/>
                    <a:gd name="connsiteY38" fmla="*/ 2120974 h 3567551"/>
                    <a:gd name="connsiteX39" fmla="*/ 450219 w 3539726"/>
                    <a:gd name="connsiteY39" fmla="*/ 2068679 h 3567551"/>
                    <a:gd name="connsiteX40" fmla="*/ 123755 w 3539726"/>
                    <a:gd name="connsiteY40" fmla="*/ 2050424 h 3567551"/>
                    <a:gd name="connsiteX41" fmla="*/ 208 w 3539726"/>
                    <a:gd name="connsiteY41" fmla="*/ 1912242 h 3567551"/>
                    <a:gd name="connsiteX42" fmla="*/ 13453 w 3539726"/>
                    <a:gd name="connsiteY42" fmla="*/ 1675364 h 3567551"/>
                    <a:gd name="connsiteX43" fmla="*/ 151635 w 3539726"/>
                    <a:gd name="connsiteY43" fmla="*/ 1551817 h 3567551"/>
                    <a:gd name="connsiteX44" fmla="*/ 428160 w 3539726"/>
                    <a:gd name="connsiteY44" fmla="*/ 1567280 h 3567551"/>
                    <a:gd name="connsiteX45" fmla="*/ 442031 w 3539726"/>
                    <a:gd name="connsiteY45" fmla="*/ 1484588 h 3567551"/>
                    <a:gd name="connsiteX46" fmla="*/ 573818 w 3539726"/>
                    <a:gd name="connsiteY46" fmla="*/ 1132162 h 3567551"/>
                    <a:gd name="connsiteX47" fmla="*/ 622634 w 3539726"/>
                    <a:gd name="connsiteY47" fmla="*/ 1052359 h 3567551"/>
                    <a:gd name="connsiteX48" fmla="*/ 343779 w 3539726"/>
                    <a:gd name="connsiteY48" fmla="*/ 789427 h 3567551"/>
                    <a:gd name="connsiteX49" fmla="*/ 338333 w 3539726"/>
                    <a:gd name="connsiteY49" fmla="*/ 604148 h 3567551"/>
                    <a:gd name="connsiteX50" fmla="*/ 501092 w 3539726"/>
                    <a:gd name="connsiteY50" fmla="*/ 431532 h 3567551"/>
                    <a:gd name="connsiteX51" fmla="*/ 686372 w 3539726"/>
                    <a:gd name="connsiteY51" fmla="*/ 426087 h 3567551"/>
                    <a:gd name="connsiteX52" fmla="*/ 968532 w 3539726"/>
                    <a:gd name="connsiteY52" fmla="*/ 692135 h 3567551"/>
                    <a:gd name="connsiteX53" fmla="*/ 1001589 w 3539726"/>
                    <a:gd name="connsiteY53" fmla="*/ 667962 h 3567551"/>
                    <a:gd name="connsiteX54" fmla="*/ 1236966 w 3539726"/>
                    <a:gd name="connsiteY54" fmla="*/ 545363 h 3567551"/>
                    <a:gd name="connsiteX55" fmla="*/ 1363893 w 3539726"/>
                    <a:gd name="connsiteY55" fmla="*/ 501990 h 3567551"/>
                    <a:gd name="connsiteX56" fmla="*/ 1437829 w 3539726"/>
                    <a:gd name="connsiteY56" fmla="*/ 484812 h 3567551"/>
                    <a:gd name="connsiteX57" fmla="*/ 1437829 w 3539726"/>
                    <a:gd name="connsiteY57" fmla="*/ 131069 h 3567551"/>
                    <a:gd name="connsiteX58" fmla="*/ 1568898 w 3539726"/>
                    <a:gd name="connsiteY58" fmla="*/ 0 h 3567551"/>
                    <a:gd name="connsiteX59" fmla="*/ 1806146 w 3539726"/>
                    <a:gd name="connsiteY59" fmla="*/ 0 h 3567551"/>
                    <a:gd name="connsiteX60" fmla="*/ 1926915 w 3539726"/>
                    <a:gd name="connsiteY60" fmla="*/ 80051 h 3567551"/>
                    <a:gd name="connsiteX61" fmla="*/ 1937215 w 3539726"/>
                    <a:gd name="connsiteY61" fmla="*/ 131069 h 3567551"/>
                    <a:gd name="connsiteX62" fmla="*/ 1937215 w 3539726"/>
                    <a:gd name="connsiteY62" fmla="*/ 471074 h 3567551"/>
                    <a:gd name="connsiteX63" fmla="*/ 2000278 w 3539726"/>
                    <a:gd name="connsiteY63" fmla="*/ 481652 h 3567551"/>
                    <a:gd name="connsiteX64" fmla="*/ 2352704 w 3539726"/>
                    <a:gd name="connsiteY64" fmla="*/ 613439 h 3567551"/>
                    <a:gd name="connsiteX65" fmla="*/ 2421839 w 3539726"/>
                    <a:gd name="connsiteY65" fmla="*/ 655729 h 3567551"/>
                    <a:gd name="connsiteX66" fmla="*/ 2693020 w 3539726"/>
                    <a:gd name="connsiteY66" fmla="*/ 376501 h 3567551"/>
                    <a:gd name="connsiteX67" fmla="*/ 2878360 w 3539726"/>
                    <a:gd name="connsiteY67" fmla="*/ 373791 h 3567551"/>
                    <a:gd name="connsiteX68" fmla="*/ 3048554 w 3539726"/>
                    <a:gd name="connsiteY68" fmla="*/ 539081 h 3567551"/>
                    <a:gd name="connsiteX69" fmla="*/ 3077976 w 3539726"/>
                    <a:gd name="connsiteY69" fmla="*/ 582014 h 3567551"/>
                    <a:gd name="connsiteX70" fmla="*/ 3051263 w 3539726"/>
                    <a:gd name="connsiteY70" fmla="*/ 724420 h 3567551"/>
                    <a:gd name="connsiteX71" fmla="*/ 2785418 w 3539726"/>
                    <a:gd name="connsiteY71" fmla="*/ 998154 h 3567551"/>
                    <a:gd name="connsiteX72" fmla="*/ 2816904 w 3539726"/>
                    <a:gd name="connsiteY72" fmla="*/ 1041211 h 3567551"/>
                    <a:gd name="connsiteX73" fmla="*/ 2939503 w 3539726"/>
                    <a:gd name="connsiteY73" fmla="*/ 1276588 h 3567551"/>
                    <a:gd name="connsiteX74" fmla="*/ 2982876 w 3539726"/>
                    <a:gd name="connsiteY74" fmla="*/ 1403514 h 3567551"/>
                    <a:gd name="connsiteX75" fmla="*/ 2988737 w 3539726"/>
                    <a:gd name="connsiteY75" fmla="*/ 1428744 h 3567551"/>
                    <a:gd name="connsiteX76" fmla="*/ 3414062 w 3539726"/>
                    <a:gd name="connsiteY76" fmla="*/ 1446302 h 3567551"/>
                    <a:gd name="connsiteX77" fmla="*/ 3531426 w 3539726"/>
                    <a:gd name="connsiteY77" fmla="*/ 1531266 h 356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539726" h="3567551">
                      <a:moveTo>
                        <a:pt x="2398882" y="1532736"/>
                      </a:moveTo>
                      <a:cubicBezTo>
                        <a:pt x="2260236" y="1185338"/>
                        <a:pt x="1866220" y="1016111"/>
                        <a:pt x="1518822" y="1154758"/>
                      </a:cubicBezTo>
                      <a:cubicBezTo>
                        <a:pt x="1171424" y="1293404"/>
                        <a:pt x="1002198" y="1687420"/>
                        <a:pt x="1140844" y="2034818"/>
                      </a:cubicBezTo>
                      <a:cubicBezTo>
                        <a:pt x="1279490" y="2382216"/>
                        <a:pt x="1673506" y="2551442"/>
                        <a:pt x="2020904" y="2412796"/>
                      </a:cubicBezTo>
                      <a:cubicBezTo>
                        <a:pt x="2368302" y="2274149"/>
                        <a:pt x="2537528" y="1880134"/>
                        <a:pt x="2398882" y="1532736"/>
                      </a:cubicBezTo>
                      <a:close/>
                      <a:moveTo>
                        <a:pt x="3531426" y="1531266"/>
                      </a:moveTo>
                      <a:cubicBezTo>
                        <a:pt x="3537406" y="1547207"/>
                        <a:pt x="3540360" y="1564584"/>
                        <a:pt x="3539613" y="1582665"/>
                      </a:cubicBezTo>
                      <a:lnTo>
                        <a:pt x="3529828" y="1819711"/>
                      </a:lnTo>
                      <a:cubicBezTo>
                        <a:pt x="3526842" y="1892036"/>
                        <a:pt x="3465790" y="1948248"/>
                        <a:pt x="3393464" y="1945262"/>
                      </a:cubicBezTo>
                      <a:lnTo>
                        <a:pt x="3021663" y="1929914"/>
                      </a:lnTo>
                      <a:lnTo>
                        <a:pt x="3003214" y="2039899"/>
                      </a:lnTo>
                      <a:cubicBezTo>
                        <a:pt x="2976365" y="2163190"/>
                        <a:pt x="2931885" y="2281949"/>
                        <a:pt x="2871427" y="2392326"/>
                      </a:cubicBezTo>
                      <a:lnTo>
                        <a:pt x="2870631" y="2393627"/>
                      </a:lnTo>
                      <a:lnTo>
                        <a:pt x="3206787" y="2699050"/>
                      </a:lnTo>
                      <a:cubicBezTo>
                        <a:pt x="3220181" y="2711219"/>
                        <a:pt x="3230475" y="2725528"/>
                        <a:pt x="3237620" y="2740981"/>
                      </a:cubicBezTo>
                      <a:cubicBezTo>
                        <a:pt x="3259058" y="2787342"/>
                        <a:pt x="3252164" y="2844015"/>
                        <a:pt x="3215656" y="2884197"/>
                      </a:cubicBezTo>
                      <a:lnTo>
                        <a:pt x="3056115" y="3059792"/>
                      </a:lnTo>
                      <a:cubicBezTo>
                        <a:pt x="3007438" y="3113367"/>
                        <a:pt x="2924544" y="3117338"/>
                        <a:pt x="2870968" y="3068661"/>
                      </a:cubicBezTo>
                      <a:lnTo>
                        <a:pt x="2550800" y="2777763"/>
                      </a:lnTo>
                      <a:lnTo>
                        <a:pt x="2548307" y="2779996"/>
                      </a:lnTo>
                      <a:cubicBezTo>
                        <a:pt x="2448185" y="2861173"/>
                        <a:pt x="2334290" y="2928833"/>
                        <a:pt x="2208278" y="2979124"/>
                      </a:cubicBezTo>
                      <a:cubicBezTo>
                        <a:pt x="2166275" y="2995888"/>
                        <a:pt x="2123918" y="3010326"/>
                        <a:pt x="2081352" y="3022497"/>
                      </a:cubicBezTo>
                      <a:lnTo>
                        <a:pt x="2058441" y="3027820"/>
                      </a:lnTo>
                      <a:lnTo>
                        <a:pt x="2094881" y="3400644"/>
                      </a:lnTo>
                      <a:cubicBezTo>
                        <a:pt x="2101923" y="3472688"/>
                        <a:pt x="2049227" y="3536800"/>
                        <a:pt x="1977184" y="3543842"/>
                      </a:cubicBezTo>
                      <a:lnTo>
                        <a:pt x="1741061" y="3566920"/>
                      </a:lnTo>
                      <a:cubicBezTo>
                        <a:pt x="1669017" y="3573962"/>
                        <a:pt x="1604905" y="3521267"/>
                        <a:pt x="1597864" y="3449223"/>
                      </a:cubicBezTo>
                      <a:lnTo>
                        <a:pt x="1560029" y="3062137"/>
                      </a:lnTo>
                      <a:lnTo>
                        <a:pt x="1444966" y="3042835"/>
                      </a:lnTo>
                      <a:cubicBezTo>
                        <a:pt x="1321675" y="3015986"/>
                        <a:pt x="1202917" y="2971506"/>
                        <a:pt x="1092540" y="2911049"/>
                      </a:cubicBezTo>
                      <a:lnTo>
                        <a:pt x="1044151" y="2881448"/>
                      </a:lnTo>
                      <a:lnTo>
                        <a:pt x="879059" y="3125781"/>
                      </a:lnTo>
                      <a:cubicBezTo>
                        <a:pt x="838532" y="3185760"/>
                        <a:pt x="757056" y="3201529"/>
                        <a:pt x="697076" y="3161003"/>
                      </a:cubicBezTo>
                      <a:lnTo>
                        <a:pt x="500496" y="3028176"/>
                      </a:lnTo>
                      <a:cubicBezTo>
                        <a:pt x="440518" y="2987649"/>
                        <a:pt x="424748" y="2906172"/>
                        <a:pt x="465275" y="2846193"/>
                      </a:cubicBezTo>
                      <a:lnTo>
                        <a:pt x="671039" y="2541666"/>
                      </a:lnTo>
                      <a:lnTo>
                        <a:pt x="628341" y="2483277"/>
                      </a:lnTo>
                      <a:cubicBezTo>
                        <a:pt x="580516" y="2410530"/>
                        <a:pt x="539269" y="2331908"/>
                        <a:pt x="505741" y="2247900"/>
                      </a:cubicBezTo>
                      <a:cubicBezTo>
                        <a:pt x="488978" y="2205896"/>
                        <a:pt x="474541" y="2163539"/>
                        <a:pt x="462369" y="2120974"/>
                      </a:cubicBezTo>
                      <a:lnTo>
                        <a:pt x="450219" y="2068679"/>
                      </a:lnTo>
                      <a:lnTo>
                        <a:pt x="123755" y="2050424"/>
                      </a:lnTo>
                      <a:cubicBezTo>
                        <a:pt x="51481" y="2046383"/>
                        <a:pt x="-3833" y="1984516"/>
                        <a:pt x="208" y="1912242"/>
                      </a:cubicBezTo>
                      <a:lnTo>
                        <a:pt x="13453" y="1675364"/>
                      </a:lnTo>
                      <a:cubicBezTo>
                        <a:pt x="17495" y="1603090"/>
                        <a:pt x="79361" y="1547776"/>
                        <a:pt x="151635" y="1551817"/>
                      </a:cubicBezTo>
                      <a:lnTo>
                        <a:pt x="428160" y="1567280"/>
                      </a:lnTo>
                      <a:lnTo>
                        <a:pt x="442031" y="1484588"/>
                      </a:lnTo>
                      <a:cubicBezTo>
                        <a:pt x="468880" y="1361297"/>
                        <a:pt x="513360" y="1242538"/>
                        <a:pt x="573818" y="1132162"/>
                      </a:cubicBezTo>
                      <a:lnTo>
                        <a:pt x="622634" y="1052359"/>
                      </a:lnTo>
                      <a:lnTo>
                        <a:pt x="343779" y="789427"/>
                      </a:lnTo>
                      <a:cubicBezTo>
                        <a:pt x="291112" y="739768"/>
                        <a:pt x="288674" y="656815"/>
                        <a:pt x="338333" y="604148"/>
                      </a:cubicBezTo>
                      <a:lnTo>
                        <a:pt x="501092" y="431532"/>
                      </a:lnTo>
                      <a:cubicBezTo>
                        <a:pt x="550752" y="378865"/>
                        <a:pt x="633705" y="376428"/>
                        <a:pt x="686372" y="426087"/>
                      </a:cubicBezTo>
                      <a:lnTo>
                        <a:pt x="968532" y="692135"/>
                      </a:lnTo>
                      <a:lnTo>
                        <a:pt x="1001589" y="667962"/>
                      </a:lnTo>
                      <a:cubicBezTo>
                        <a:pt x="1074336" y="620137"/>
                        <a:pt x="1152958" y="578890"/>
                        <a:pt x="1236966" y="545363"/>
                      </a:cubicBezTo>
                      <a:cubicBezTo>
                        <a:pt x="1278970" y="528599"/>
                        <a:pt x="1321327" y="514162"/>
                        <a:pt x="1363893" y="501990"/>
                      </a:cubicBezTo>
                      <a:lnTo>
                        <a:pt x="1437829" y="484812"/>
                      </a:lnTo>
                      <a:lnTo>
                        <a:pt x="1437829" y="131069"/>
                      </a:lnTo>
                      <a:cubicBezTo>
                        <a:pt x="1437829" y="58682"/>
                        <a:pt x="1496511" y="0"/>
                        <a:pt x="1568898" y="0"/>
                      </a:cubicBezTo>
                      <a:lnTo>
                        <a:pt x="1806146" y="0"/>
                      </a:lnTo>
                      <a:cubicBezTo>
                        <a:pt x="1860436" y="0"/>
                        <a:pt x="1907017" y="33009"/>
                        <a:pt x="1926915" y="80051"/>
                      </a:cubicBezTo>
                      <a:cubicBezTo>
                        <a:pt x="1933547" y="95732"/>
                        <a:pt x="1937215" y="112972"/>
                        <a:pt x="1937215" y="131069"/>
                      </a:cubicBezTo>
                      <a:lnTo>
                        <a:pt x="1937215" y="471074"/>
                      </a:lnTo>
                      <a:lnTo>
                        <a:pt x="2000278" y="481652"/>
                      </a:lnTo>
                      <a:cubicBezTo>
                        <a:pt x="2123569" y="508501"/>
                        <a:pt x="2242328" y="552981"/>
                        <a:pt x="2352704" y="613439"/>
                      </a:cubicBezTo>
                      <a:lnTo>
                        <a:pt x="2421839" y="655729"/>
                      </a:lnTo>
                      <a:lnTo>
                        <a:pt x="2693020" y="376501"/>
                      </a:lnTo>
                      <a:cubicBezTo>
                        <a:pt x="2743452" y="324573"/>
                        <a:pt x="2826432" y="323360"/>
                        <a:pt x="2878360" y="373791"/>
                      </a:cubicBezTo>
                      <a:lnTo>
                        <a:pt x="3048554" y="539081"/>
                      </a:lnTo>
                      <a:cubicBezTo>
                        <a:pt x="3061536" y="551689"/>
                        <a:pt x="3071348" y="566331"/>
                        <a:pt x="3077976" y="582014"/>
                      </a:cubicBezTo>
                      <a:cubicBezTo>
                        <a:pt x="3097861" y="629062"/>
                        <a:pt x="3089087" y="685474"/>
                        <a:pt x="3051263" y="724420"/>
                      </a:cubicBezTo>
                      <a:lnTo>
                        <a:pt x="2785418" y="998154"/>
                      </a:lnTo>
                      <a:lnTo>
                        <a:pt x="2816904" y="1041211"/>
                      </a:lnTo>
                      <a:cubicBezTo>
                        <a:pt x="2864729" y="1113957"/>
                        <a:pt x="2905975" y="1192579"/>
                        <a:pt x="2939503" y="1276588"/>
                      </a:cubicBezTo>
                      <a:cubicBezTo>
                        <a:pt x="2956267" y="1318591"/>
                        <a:pt x="2970704" y="1360948"/>
                        <a:pt x="2982876" y="1403514"/>
                      </a:cubicBezTo>
                      <a:lnTo>
                        <a:pt x="2988737" y="1428744"/>
                      </a:lnTo>
                      <a:lnTo>
                        <a:pt x="3414062" y="1446302"/>
                      </a:lnTo>
                      <a:cubicBezTo>
                        <a:pt x="3468306" y="1448541"/>
                        <a:pt x="3513486" y="1483443"/>
                        <a:pt x="3531426" y="153126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69" name="Freeform: Shape 368"/>
            <p:cNvSpPr/>
            <p:nvPr/>
          </p:nvSpPr>
          <p:spPr>
            <a:xfrm rot="5400000">
              <a:off x="14404826" y="360206"/>
              <a:ext cx="2604470" cy="2443622"/>
            </a:xfrm>
            <a:custGeom>
              <a:avLst/>
              <a:gdLst>
                <a:gd name="connsiteX0" fmla="*/ 2399045 w 2604470"/>
                <a:gd name="connsiteY0" fmla="*/ 1964790 h 2443622"/>
                <a:gd name="connsiteX1" fmla="*/ 2467520 w 2604470"/>
                <a:gd name="connsiteY1" fmla="*/ 2033265 h 2443622"/>
                <a:gd name="connsiteX2" fmla="*/ 2535995 w 2604470"/>
                <a:gd name="connsiteY2" fmla="*/ 1964790 h 2443622"/>
                <a:gd name="connsiteX3" fmla="*/ 2467520 w 2604470"/>
                <a:gd name="connsiteY3" fmla="*/ 1896314 h 2443622"/>
                <a:gd name="connsiteX4" fmla="*/ 2399045 w 2604470"/>
                <a:gd name="connsiteY4" fmla="*/ 1964790 h 2443622"/>
                <a:gd name="connsiteX5" fmla="*/ 0 w 2604470"/>
                <a:gd name="connsiteY5" fmla="*/ 2443622 h 2443622"/>
                <a:gd name="connsiteX6" fmla="*/ 0 w 2604470"/>
                <a:gd name="connsiteY6" fmla="*/ 2379614 h 2443622"/>
                <a:gd name="connsiteX7" fmla="*/ 2290 w 2604470"/>
                <a:gd name="connsiteY7" fmla="*/ 2379614 h 2443622"/>
                <a:gd name="connsiteX8" fmla="*/ 2290 w 2604470"/>
                <a:gd name="connsiteY8" fmla="*/ 2068018 h 2443622"/>
                <a:gd name="connsiteX9" fmla="*/ 2290 w 2604470"/>
                <a:gd name="connsiteY9" fmla="*/ 2068018 h 2443622"/>
                <a:gd name="connsiteX10" fmla="*/ 2290 w 2604470"/>
                <a:gd name="connsiteY10" fmla="*/ 2004010 h 2443622"/>
                <a:gd name="connsiteX11" fmla="*/ 2290 w 2604470"/>
                <a:gd name="connsiteY11" fmla="*/ 2004010 h 2443622"/>
                <a:gd name="connsiteX12" fmla="*/ 66298 w 2604470"/>
                <a:gd name="connsiteY12" fmla="*/ 2004010 h 2443622"/>
                <a:gd name="connsiteX13" fmla="*/ 444963 w 2604470"/>
                <a:gd name="connsiteY13" fmla="*/ 2004010 h 2443622"/>
                <a:gd name="connsiteX14" fmla="*/ 444964 w 2604470"/>
                <a:gd name="connsiteY14" fmla="*/ 0 h 2443622"/>
                <a:gd name="connsiteX15" fmla="*/ 508972 w 2604470"/>
                <a:gd name="connsiteY15" fmla="*/ 0 h 2443622"/>
                <a:gd name="connsiteX16" fmla="*/ 508972 w 2604470"/>
                <a:gd name="connsiteY16" fmla="*/ 2004010 h 2443622"/>
                <a:gd name="connsiteX17" fmla="*/ 508972 w 2604470"/>
                <a:gd name="connsiteY17" fmla="*/ 2004010 h 2443622"/>
                <a:gd name="connsiteX18" fmla="*/ 508972 w 2604470"/>
                <a:gd name="connsiteY18" fmla="*/ 2068018 h 2443622"/>
                <a:gd name="connsiteX19" fmla="*/ 508972 w 2604470"/>
                <a:gd name="connsiteY19" fmla="*/ 2068018 h 2443622"/>
                <a:gd name="connsiteX20" fmla="*/ 444963 w 2604470"/>
                <a:gd name="connsiteY20" fmla="*/ 2068018 h 2443622"/>
                <a:gd name="connsiteX21" fmla="*/ 66298 w 2604470"/>
                <a:gd name="connsiteY21" fmla="*/ 2068018 h 2443622"/>
                <a:gd name="connsiteX22" fmla="*/ 66298 w 2604470"/>
                <a:gd name="connsiteY22" fmla="*/ 2379614 h 2443622"/>
                <a:gd name="connsiteX23" fmla="*/ 1220780 w 2604470"/>
                <a:gd name="connsiteY23" fmla="*/ 2379614 h 2443622"/>
                <a:gd name="connsiteX24" fmla="*/ 1220780 w 2604470"/>
                <a:gd name="connsiteY24" fmla="*/ 1932784 h 2443622"/>
                <a:gd name="connsiteX25" fmla="*/ 1220781 w 2604470"/>
                <a:gd name="connsiteY25" fmla="*/ 1932784 h 2443622"/>
                <a:gd name="connsiteX26" fmla="*/ 1284789 w 2604470"/>
                <a:gd name="connsiteY26" fmla="*/ 1932784 h 2443622"/>
                <a:gd name="connsiteX27" fmla="*/ 2337031 w 2604470"/>
                <a:gd name="connsiteY27" fmla="*/ 1932784 h 2443622"/>
                <a:gd name="connsiteX28" fmla="*/ 2341332 w 2604470"/>
                <a:gd name="connsiteY28" fmla="*/ 1911482 h 2443622"/>
                <a:gd name="connsiteX29" fmla="*/ 2467520 w 2604470"/>
                <a:gd name="connsiteY29" fmla="*/ 1827839 h 2443622"/>
                <a:gd name="connsiteX30" fmla="*/ 2604470 w 2604470"/>
                <a:gd name="connsiteY30" fmla="*/ 1964790 h 2443622"/>
                <a:gd name="connsiteX31" fmla="*/ 2467520 w 2604470"/>
                <a:gd name="connsiteY31" fmla="*/ 2101740 h 2443622"/>
                <a:gd name="connsiteX32" fmla="*/ 2341332 w 2604470"/>
                <a:gd name="connsiteY32" fmla="*/ 2018097 h 2443622"/>
                <a:gd name="connsiteX33" fmla="*/ 2337031 w 2604470"/>
                <a:gd name="connsiteY33" fmla="*/ 1996793 h 2443622"/>
                <a:gd name="connsiteX34" fmla="*/ 1284789 w 2604470"/>
                <a:gd name="connsiteY34" fmla="*/ 1996793 h 2443622"/>
                <a:gd name="connsiteX35" fmla="*/ 1284789 w 2604470"/>
                <a:gd name="connsiteY35" fmla="*/ 2443622 h 2443622"/>
                <a:gd name="connsiteX36" fmla="*/ 1280160 w 2604470"/>
                <a:gd name="connsiteY36" fmla="*/ 2443622 h 2443622"/>
                <a:gd name="connsiteX37" fmla="*/ 1220780 w 2604470"/>
                <a:gd name="connsiteY37" fmla="*/ 2443622 h 2443622"/>
                <a:gd name="connsiteX38" fmla="*/ 66298 w 2604470"/>
                <a:gd name="connsiteY38" fmla="*/ 2443622 h 2443622"/>
                <a:gd name="connsiteX39" fmla="*/ 2290 w 2604470"/>
                <a:gd name="connsiteY39" fmla="*/ 2443622 h 244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04470" h="2443622">
                  <a:moveTo>
                    <a:pt x="2399045" y="1964790"/>
                  </a:moveTo>
                  <a:cubicBezTo>
                    <a:pt x="2399045" y="2002608"/>
                    <a:pt x="2429702" y="2033265"/>
                    <a:pt x="2467520" y="2033265"/>
                  </a:cubicBezTo>
                  <a:cubicBezTo>
                    <a:pt x="2505338" y="2033265"/>
                    <a:pt x="2535995" y="2002608"/>
                    <a:pt x="2535995" y="1964790"/>
                  </a:cubicBezTo>
                  <a:cubicBezTo>
                    <a:pt x="2535995" y="1926971"/>
                    <a:pt x="2505338" y="1896314"/>
                    <a:pt x="2467520" y="1896314"/>
                  </a:cubicBezTo>
                  <a:cubicBezTo>
                    <a:pt x="2429702" y="1896314"/>
                    <a:pt x="2399045" y="1926971"/>
                    <a:pt x="2399045" y="1964790"/>
                  </a:cubicBezTo>
                  <a:close/>
                  <a:moveTo>
                    <a:pt x="0" y="2443622"/>
                  </a:moveTo>
                  <a:lnTo>
                    <a:pt x="0" y="2379614"/>
                  </a:lnTo>
                  <a:lnTo>
                    <a:pt x="2290" y="2379614"/>
                  </a:lnTo>
                  <a:lnTo>
                    <a:pt x="2290" y="2068018"/>
                  </a:lnTo>
                  <a:lnTo>
                    <a:pt x="2290" y="2068018"/>
                  </a:lnTo>
                  <a:lnTo>
                    <a:pt x="2290" y="2004010"/>
                  </a:lnTo>
                  <a:lnTo>
                    <a:pt x="2290" y="2004010"/>
                  </a:lnTo>
                  <a:lnTo>
                    <a:pt x="66298" y="2004010"/>
                  </a:lnTo>
                  <a:lnTo>
                    <a:pt x="444963" y="2004010"/>
                  </a:lnTo>
                  <a:lnTo>
                    <a:pt x="444964" y="0"/>
                  </a:lnTo>
                  <a:lnTo>
                    <a:pt x="508972" y="0"/>
                  </a:lnTo>
                  <a:lnTo>
                    <a:pt x="508972" y="2004010"/>
                  </a:lnTo>
                  <a:lnTo>
                    <a:pt x="508972" y="2004010"/>
                  </a:lnTo>
                  <a:lnTo>
                    <a:pt x="508972" y="2068018"/>
                  </a:lnTo>
                  <a:lnTo>
                    <a:pt x="508972" y="2068018"/>
                  </a:lnTo>
                  <a:lnTo>
                    <a:pt x="444963" y="2068018"/>
                  </a:lnTo>
                  <a:lnTo>
                    <a:pt x="66298" y="2068018"/>
                  </a:lnTo>
                  <a:lnTo>
                    <a:pt x="66298" y="2379614"/>
                  </a:lnTo>
                  <a:lnTo>
                    <a:pt x="1220780" y="2379614"/>
                  </a:lnTo>
                  <a:lnTo>
                    <a:pt x="1220780" y="1932784"/>
                  </a:lnTo>
                  <a:lnTo>
                    <a:pt x="1220781" y="1932784"/>
                  </a:lnTo>
                  <a:lnTo>
                    <a:pt x="1284789" y="1932784"/>
                  </a:lnTo>
                  <a:lnTo>
                    <a:pt x="2337031" y="1932784"/>
                  </a:lnTo>
                  <a:lnTo>
                    <a:pt x="2341332" y="1911482"/>
                  </a:lnTo>
                  <a:cubicBezTo>
                    <a:pt x="2362122" y="1862329"/>
                    <a:pt x="2410793" y="1827839"/>
                    <a:pt x="2467520" y="1827839"/>
                  </a:cubicBezTo>
                  <a:cubicBezTo>
                    <a:pt x="2543155" y="1827839"/>
                    <a:pt x="2604470" y="1889154"/>
                    <a:pt x="2604470" y="1964790"/>
                  </a:cubicBezTo>
                  <a:cubicBezTo>
                    <a:pt x="2604470" y="2040425"/>
                    <a:pt x="2543155" y="2101740"/>
                    <a:pt x="2467520" y="2101740"/>
                  </a:cubicBezTo>
                  <a:cubicBezTo>
                    <a:pt x="2410793" y="2101740"/>
                    <a:pt x="2362122" y="2067250"/>
                    <a:pt x="2341332" y="2018097"/>
                  </a:cubicBezTo>
                  <a:lnTo>
                    <a:pt x="2337031" y="1996793"/>
                  </a:lnTo>
                  <a:lnTo>
                    <a:pt x="1284789" y="1996793"/>
                  </a:lnTo>
                  <a:lnTo>
                    <a:pt x="1284789" y="2443622"/>
                  </a:lnTo>
                  <a:lnTo>
                    <a:pt x="1280160" y="2443622"/>
                  </a:lnTo>
                  <a:lnTo>
                    <a:pt x="1220780" y="2443622"/>
                  </a:lnTo>
                  <a:lnTo>
                    <a:pt x="66298" y="2443622"/>
                  </a:lnTo>
                  <a:lnTo>
                    <a:pt x="2290" y="2443622"/>
                  </a:lnTo>
                  <a:close/>
                </a:path>
              </a:pathLst>
            </a:custGeom>
            <a:solidFill>
              <a:schemeClr val="tx1">
                <a:alpha val="76000"/>
              </a:schemeClr>
            </a:solidFill>
            <a:ln w="19050" cap="flat" cmpd="sng" algn="ctr">
              <a:noFill/>
              <a:prstDash val="solid"/>
              <a:round/>
              <a:headEnd type="none" w="med" len="med"/>
              <a:tailEnd type="none" w="med" len="med"/>
            </a:ln>
            <a:effectLst/>
          </p:spPr>
          <p:txBody>
            <a:bodyPr lIns="0" tIns="0" rIns="0" bIns="0" rtlCol="0" anchor="ctr"/>
            <a:lstStyle/>
            <a:p>
              <a:pPr algn="ctr"/>
              <a:endParaRPr lang="en-US">
                <a:solidFill>
                  <a:srgbClr val="505050"/>
                </a:solidFill>
              </a:endParaRPr>
            </a:p>
          </p:txBody>
        </p:sp>
        <p:sp>
          <p:nvSpPr>
            <p:cNvPr id="370" name="Freeform: Shape 369"/>
            <p:cNvSpPr/>
            <p:nvPr/>
          </p:nvSpPr>
          <p:spPr>
            <a:xfrm>
              <a:off x="18022982" y="-361246"/>
              <a:ext cx="2354506" cy="1061981"/>
            </a:xfrm>
            <a:custGeom>
              <a:avLst/>
              <a:gdLst>
                <a:gd name="connsiteX0" fmla="*/ 2217554 w 2354506"/>
                <a:gd name="connsiteY0" fmla="*/ 68475 h 1061981"/>
                <a:gd name="connsiteX1" fmla="*/ 2149080 w 2354506"/>
                <a:gd name="connsiteY1" fmla="*/ 136950 h 1061981"/>
                <a:gd name="connsiteX2" fmla="*/ 2217554 w 2354506"/>
                <a:gd name="connsiteY2" fmla="*/ 205425 h 1061981"/>
                <a:gd name="connsiteX3" fmla="*/ 2286030 w 2354506"/>
                <a:gd name="connsiteY3" fmla="*/ 136950 h 1061981"/>
                <a:gd name="connsiteX4" fmla="*/ 2217554 w 2354506"/>
                <a:gd name="connsiteY4" fmla="*/ 68475 h 1061981"/>
                <a:gd name="connsiteX5" fmla="*/ 2217554 w 2354506"/>
                <a:gd name="connsiteY5" fmla="*/ 0 h 1061981"/>
                <a:gd name="connsiteX6" fmla="*/ 2354506 w 2354506"/>
                <a:gd name="connsiteY6" fmla="*/ 136950 h 1061981"/>
                <a:gd name="connsiteX7" fmla="*/ 2217554 w 2354506"/>
                <a:gd name="connsiteY7" fmla="*/ 273900 h 1061981"/>
                <a:gd name="connsiteX8" fmla="*/ 2091368 w 2354506"/>
                <a:gd name="connsiteY8" fmla="*/ 190257 h 1061981"/>
                <a:gd name="connsiteX9" fmla="*/ 2087068 w 2354506"/>
                <a:gd name="connsiteY9" fmla="*/ 168954 h 1061981"/>
                <a:gd name="connsiteX10" fmla="*/ 1371600 w 2354506"/>
                <a:gd name="connsiteY10" fmla="*/ 168954 h 1061981"/>
                <a:gd name="connsiteX11" fmla="*/ 1371600 w 2354506"/>
                <a:gd name="connsiteY11" fmla="*/ 997973 h 1061981"/>
                <a:gd name="connsiteX12" fmla="*/ 1371600 w 2354506"/>
                <a:gd name="connsiteY12" fmla="*/ 1050436 h 1061981"/>
                <a:gd name="connsiteX13" fmla="*/ 1371600 w 2354506"/>
                <a:gd name="connsiteY13" fmla="*/ 1061981 h 1061981"/>
                <a:gd name="connsiteX14" fmla="*/ 0 w 2354506"/>
                <a:gd name="connsiteY14" fmla="*/ 1061981 h 1061981"/>
                <a:gd name="connsiteX15" fmla="*/ 0 w 2354506"/>
                <a:gd name="connsiteY15" fmla="*/ 997973 h 1061981"/>
                <a:gd name="connsiteX16" fmla="*/ 1307592 w 2354506"/>
                <a:gd name="connsiteY16" fmla="*/ 997973 h 1061981"/>
                <a:gd name="connsiteX17" fmla="*/ 1307592 w 2354506"/>
                <a:gd name="connsiteY17" fmla="*/ 168954 h 1061981"/>
                <a:gd name="connsiteX18" fmla="*/ 1307592 w 2354506"/>
                <a:gd name="connsiteY18" fmla="*/ 104946 h 1061981"/>
                <a:gd name="connsiteX19" fmla="*/ 1307592 w 2354506"/>
                <a:gd name="connsiteY19" fmla="*/ 104946 h 1061981"/>
                <a:gd name="connsiteX20" fmla="*/ 1371600 w 2354506"/>
                <a:gd name="connsiteY20" fmla="*/ 104946 h 1061981"/>
                <a:gd name="connsiteX21" fmla="*/ 1371600 w 2354506"/>
                <a:gd name="connsiteY21" fmla="*/ 104946 h 1061981"/>
                <a:gd name="connsiteX22" fmla="*/ 2087068 w 2354506"/>
                <a:gd name="connsiteY22" fmla="*/ 104946 h 1061981"/>
                <a:gd name="connsiteX23" fmla="*/ 2091368 w 2354506"/>
                <a:gd name="connsiteY23" fmla="*/ 83643 h 1061981"/>
                <a:gd name="connsiteX24" fmla="*/ 2217554 w 2354506"/>
                <a:gd name="connsiteY24" fmla="*/ 0 h 106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54506" h="1061981">
                  <a:moveTo>
                    <a:pt x="2217554" y="68475"/>
                  </a:moveTo>
                  <a:cubicBezTo>
                    <a:pt x="2179738" y="68475"/>
                    <a:pt x="2149080" y="99132"/>
                    <a:pt x="2149080" y="136950"/>
                  </a:cubicBezTo>
                  <a:cubicBezTo>
                    <a:pt x="2149080" y="174768"/>
                    <a:pt x="2179738" y="205425"/>
                    <a:pt x="2217554" y="205425"/>
                  </a:cubicBezTo>
                  <a:cubicBezTo>
                    <a:pt x="2255374" y="205425"/>
                    <a:pt x="2286030" y="174768"/>
                    <a:pt x="2286030" y="136950"/>
                  </a:cubicBezTo>
                  <a:cubicBezTo>
                    <a:pt x="2286030" y="99132"/>
                    <a:pt x="2255374" y="68475"/>
                    <a:pt x="2217554" y="68475"/>
                  </a:cubicBezTo>
                  <a:close/>
                  <a:moveTo>
                    <a:pt x="2217554" y="0"/>
                  </a:moveTo>
                  <a:cubicBezTo>
                    <a:pt x="2293190" y="0"/>
                    <a:pt x="2354506" y="61315"/>
                    <a:pt x="2354506" y="136950"/>
                  </a:cubicBezTo>
                  <a:cubicBezTo>
                    <a:pt x="2354506" y="212585"/>
                    <a:pt x="2293190" y="273900"/>
                    <a:pt x="2217554" y="273900"/>
                  </a:cubicBezTo>
                  <a:cubicBezTo>
                    <a:pt x="2160828" y="273900"/>
                    <a:pt x="2112158" y="239410"/>
                    <a:pt x="2091368" y="190257"/>
                  </a:cubicBezTo>
                  <a:lnTo>
                    <a:pt x="2087068" y="168954"/>
                  </a:lnTo>
                  <a:lnTo>
                    <a:pt x="1371600" y="168954"/>
                  </a:lnTo>
                  <a:lnTo>
                    <a:pt x="1371600" y="997973"/>
                  </a:lnTo>
                  <a:lnTo>
                    <a:pt x="1371600" y="1050436"/>
                  </a:lnTo>
                  <a:lnTo>
                    <a:pt x="1371600" y="1061981"/>
                  </a:lnTo>
                  <a:lnTo>
                    <a:pt x="0" y="1061981"/>
                  </a:lnTo>
                  <a:lnTo>
                    <a:pt x="0" y="997973"/>
                  </a:lnTo>
                  <a:lnTo>
                    <a:pt x="1307592" y="997973"/>
                  </a:lnTo>
                  <a:lnTo>
                    <a:pt x="1307592" y="168954"/>
                  </a:lnTo>
                  <a:lnTo>
                    <a:pt x="1307592" y="104946"/>
                  </a:lnTo>
                  <a:lnTo>
                    <a:pt x="1307592" y="104946"/>
                  </a:lnTo>
                  <a:lnTo>
                    <a:pt x="1371600" y="104946"/>
                  </a:lnTo>
                  <a:lnTo>
                    <a:pt x="1371600" y="104946"/>
                  </a:lnTo>
                  <a:lnTo>
                    <a:pt x="2087068" y="104946"/>
                  </a:lnTo>
                  <a:lnTo>
                    <a:pt x="2091368" y="83643"/>
                  </a:lnTo>
                  <a:cubicBezTo>
                    <a:pt x="2112158" y="34490"/>
                    <a:pt x="2160828" y="0"/>
                    <a:pt x="2217554" y="0"/>
                  </a:cubicBezTo>
                  <a:close/>
                </a:path>
              </a:pathLst>
            </a:custGeom>
            <a:solidFill>
              <a:schemeClr val="tx1">
                <a:alpha val="76000"/>
              </a:schemeClr>
            </a:solidFill>
            <a:ln w="19050" cap="flat" cmpd="sng" algn="ctr">
              <a:noFill/>
              <a:prstDash val="solid"/>
              <a:round/>
              <a:headEnd type="none" w="med" len="med"/>
              <a:tailEnd type="none" w="med" len="med"/>
            </a:ln>
            <a:effectLst/>
          </p:spPr>
          <p:txBody>
            <a:bodyPr lIns="0" tIns="0" rIns="0" bIns="0" rtlCol="0" anchor="ctr"/>
            <a:lstStyle/>
            <a:p>
              <a:pPr algn="ctr"/>
              <a:endParaRPr lang="en-US">
                <a:solidFill>
                  <a:srgbClr val="505050"/>
                </a:solidFill>
              </a:endParaRPr>
            </a:p>
          </p:txBody>
        </p:sp>
        <p:sp>
          <p:nvSpPr>
            <p:cNvPr id="371" name="Freeform: Shape 370"/>
            <p:cNvSpPr/>
            <p:nvPr/>
          </p:nvSpPr>
          <p:spPr>
            <a:xfrm>
              <a:off x="17689217" y="946255"/>
              <a:ext cx="3557036" cy="1136733"/>
            </a:xfrm>
            <a:custGeom>
              <a:avLst/>
              <a:gdLst>
                <a:gd name="connsiteX0" fmla="*/ 3420086 w 3557036"/>
                <a:gd name="connsiteY0" fmla="*/ 931308 h 1136733"/>
                <a:gd name="connsiteX1" fmla="*/ 3351612 w 3557036"/>
                <a:gd name="connsiteY1" fmla="*/ 999783 h 1136733"/>
                <a:gd name="connsiteX2" fmla="*/ 3420086 w 3557036"/>
                <a:gd name="connsiteY2" fmla="*/ 1068258 h 1136733"/>
                <a:gd name="connsiteX3" fmla="*/ 3488560 w 3557036"/>
                <a:gd name="connsiteY3" fmla="*/ 999783 h 1136733"/>
                <a:gd name="connsiteX4" fmla="*/ 3420086 w 3557036"/>
                <a:gd name="connsiteY4" fmla="*/ 931308 h 1136733"/>
                <a:gd name="connsiteX5" fmla="*/ 0 w 3557036"/>
                <a:gd name="connsiteY5" fmla="*/ 0 h 1136733"/>
                <a:gd name="connsiteX6" fmla="*/ 2351536 w 3557036"/>
                <a:gd name="connsiteY6" fmla="*/ 0 h 1136733"/>
                <a:gd name="connsiteX7" fmla="*/ 2415544 w 3557036"/>
                <a:gd name="connsiteY7" fmla="*/ 0 h 1136733"/>
                <a:gd name="connsiteX8" fmla="*/ 2415544 w 3557036"/>
                <a:gd name="connsiteY8" fmla="*/ 64008 h 1136733"/>
                <a:gd name="connsiteX9" fmla="*/ 2415544 w 3557036"/>
                <a:gd name="connsiteY9" fmla="*/ 481783 h 1136733"/>
                <a:gd name="connsiteX10" fmla="*/ 2415544 w 3557036"/>
                <a:gd name="connsiteY10" fmla="*/ 506682 h 1136733"/>
                <a:gd name="connsiteX11" fmla="*/ 2415544 w 3557036"/>
                <a:gd name="connsiteY11" fmla="*/ 545791 h 1136733"/>
                <a:gd name="connsiteX12" fmla="*/ 2022352 w 3557036"/>
                <a:gd name="connsiteY12" fmla="*/ 545791 h 1136733"/>
                <a:gd name="connsiteX13" fmla="*/ 2022352 w 3557036"/>
                <a:gd name="connsiteY13" fmla="*/ 964965 h 1136733"/>
                <a:gd name="connsiteX14" fmla="*/ 3290166 w 3557036"/>
                <a:gd name="connsiteY14" fmla="*/ 964965 h 1136733"/>
                <a:gd name="connsiteX15" fmla="*/ 3293898 w 3557036"/>
                <a:gd name="connsiteY15" fmla="*/ 946476 h 1136733"/>
                <a:gd name="connsiteX16" fmla="*/ 3420086 w 3557036"/>
                <a:gd name="connsiteY16" fmla="*/ 862833 h 1136733"/>
                <a:gd name="connsiteX17" fmla="*/ 3557036 w 3557036"/>
                <a:gd name="connsiteY17" fmla="*/ 999783 h 1136733"/>
                <a:gd name="connsiteX18" fmla="*/ 3420086 w 3557036"/>
                <a:gd name="connsiteY18" fmla="*/ 1136733 h 1136733"/>
                <a:gd name="connsiteX19" fmla="*/ 3293898 w 3557036"/>
                <a:gd name="connsiteY19" fmla="*/ 1053090 h 1136733"/>
                <a:gd name="connsiteX20" fmla="*/ 3289030 w 3557036"/>
                <a:gd name="connsiteY20" fmla="*/ 1028973 h 1136733"/>
                <a:gd name="connsiteX21" fmla="*/ 1958344 w 3557036"/>
                <a:gd name="connsiteY21" fmla="*/ 1028973 h 1136733"/>
                <a:gd name="connsiteX22" fmla="*/ 1958344 w 3557036"/>
                <a:gd name="connsiteY22" fmla="*/ 988465 h 1136733"/>
                <a:gd name="connsiteX23" fmla="*/ 1958344 w 3557036"/>
                <a:gd name="connsiteY23" fmla="*/ 964965 h 1136733"/>
                <a:gd name="connsiteX24" fmla="*/ 1958344 w 3557036"/>
                <a:gd name="connsiteY24" fmla="*/ 545791 h 1136733"/>
                <a:gd name="connsiteX25" fmla="*/ 1958344 w 3557036"/>
                <a:gd name="connsiteY25" fmla="*/ 481783 h 1136733"/>
                <a:gd name="connsiteX26" fmla="*/ 2022352 w 3557036"/>
                <a:gd name="connsiteY26" fmla="*/ 481783 h 1136733"/>
                <a:gd name="connsiteX27" fmla="*/ 2351536 w 3557036"/>
                <a:gd name="connsiteY27" fmla="*/ 481783 h 1136733"/>
                <a:gd name="connsiteX28" fmla="*/ 2351536 w 3557036"/>
                <a:gd name="connsiteY28" fmla="*/ 64008 h 1136733"/>
                <a:gd name="connsiteX29" fmla="*/ 0 w 3557036"/>
                <a:gd name="connsiteY29" fmla="*/ 64008 h 1136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7036" h="1136733">
                  <a:moveTo>
                    <a:pt x="3420086" y="931308"/>
                  </a:moveTo>
                  <a:cubicBezTo>
                    <a:pt x="3382268" y="931308"/>
                    <a:pt x="3351612" y="961965"/>
                    <a:pt x="3351612" y="999783"/>
                  </a:cubicBezTo>
                  <a:cubicBezTo>
                    <a:pt x="3351612" y="1037601"/>
                    <a:pt x="3382268" y="1068258"/>
                    <a:pt x="3420086" y="1068258"/>
                  </a:cubicBezTo>
                  <a:cubicBezTo>
                    <a:pt x="3457904" y="1068258"/>
                    <a:pt x="3488560" y="1037601"/>
                    <a:pt x="3488560" y="999783"/>
                  </a:cubicBezTo>
                  <a:cubicBezTo>
                    <a:pt x="3488560" y="961965"/>
                    <a:pt x="3457904" y="931308"/>
                    <a:pt x="3420086" y="931308"/>
                  </a:cubicBezTo>
                  <a:close/>
                  <a:moveTo>
                    <a:pt x="0" y="0"/>
                  </a:moveTo>
                  <a:lnTo>
                    <a:pt x="2351536" y="0"/>
                  </a:lnTo>
                  <a:lnTo>
                    <a:pt x="2415544" y="0"/>
                  </a:lnTo>
                  <a:lnTo>
                    <a:pt x="2415544" y="64008"/>
                  </a:lnTo>
                  <a:lnTo>
                    <a:pt x="2415544" y="481783"/>
                  </a:lnTo>
                  <a:lnTo>
                    <a:pt x="2415544" y="506682"/>
                  </a:lnTo>
                  <a:lnTo>
                    <a:pt x="2415544" y="545791"/>
                  </a:lnTo>
                  <a:lnTo>
                    <a:pt x="2022352" y="545791"/>
                  </a:lnTo>
                  <a:lnTo>
                    <a:pt x="2022352" y="964965"/>
                  </a:lnTo>
                  <a:lnTo>
                    <a:pt x="3290166" y="964965"/>
                  </a:lnTo>
                  <a:lnTo>
                    <a:pt x="3293898" y="946476"/>
                  </a:lnTo>
                  <a:cubicBezTo>
                    <a:pt x="3314688" y="897323"/>
                    <a:pt x="3363360" y="862833"/>
                    <a:pt x="3420086" y="862833"/>
                  </a:cubicBezTo>
                  <a:cubicBezTo>
                    <a:pt x="3495720" y="862833"/>
                    <a:pt x="3557036" y="924148"/>
                    <a:pt x="3557036" y="999783"/>
                  </a:cubicBezTo>
                  <a:cubicBezTo>
                    <a:pt x="3557036" y="1075418"/>
                    <a:pt x="3495720" y="1136733"/>
                    <a:pt x="3420086" y="1136733"/>
                  </a:cubicBezTo>
                  <a:cubicBezTo>
                    <a:pt x="3363360" y="1136733"/>
                    <a:pt x="3314688" y="1102243"/>
                    <a:pt x="3293898" y="1053090"/>
                  </a:cubicBezTo>
                  <a:lnTo>
                    <a:pt x="3289030" y="1028973"/>
                  </a:lnTo>
                  <a:lnTo>
                    <a:pt x="1958344" y="1028973"/>
                  </a:lnTo>
                  <a:lnTo>
                    <a:pt x="1958344" y="988465"/>
                  </a:lnTo>
                  <a:lnTo>
                    <a:pt x="1958344" y="964965"/>
                  </a:lnTo>
                  <a:lnTo>
                    <a:pt x="1958344" y="545791"/>
                  </a:lnTo>
                  <a:lnTo>
                    <a:pt x="1958344" y="481783"/>
                  </a:lnTo>
                  <a:lnTo>
                    <a:pt x="2022352" y="481783"/>
                  </a:lnTo>
                  <a:lnTo>
                    <a:pt x="2351536" y="481783"/>
                  </a:lnTo>
                  <a:lnTo>
                    <a:pt x="2351536" y="64008"/>
                  </a:lnTo>
                  <a:lnTo>
                    <a:pt x="0" y="64008"/>
                  </a:lnTo>
                  <a:close/>
                </a:path>
              </a:pathLst>
            </a:custGeom>
            <a:solidFill>
              <a:schemeClr val="tx1">
                <a:alpha val="76000"/>
              </a:schemeClr>
            </a:solidFill>
            <a:ln w="19050" cap="flat" cmpd="sng" algn="ctr">
              <a:noFill/>
              <a:prstDash val="solid"/>
              <a:round/>
              <a:headEnd type="none" w="med" len="med"/>
              <a:tailEnd type="none" w="med" len="med"/>
            </a:ln>
            <a:effectLst/>
          </p:spPr>
          <p:txBody>
            <a:bodyPr lIns="0" tIns="0" rIns="0" bIns="0" rtlCol="0" anchor="ctr"/>
            <a:lstStyle/>
            <a:p>
              <a:pPr algn="ctr"/>
              <a:endParaRPr lang="en-US">
                <a:solidFill>
                  <a:srgbClr val="505050"/>
                </a:solidFill>
              </a:endParaRPr>
            </a:p>
          </p:txBody>
        </p:sp>
        <p:sp>
          <p:nvSpPr>
            <p:cNvPr id="372" name="Freeform: Shape 371"/>
            <p:cNvSpPr/>
            <p:nvPr/>
          </p:nvSpPr>
          <p:spPr>
            <a:xfrm rot="5400000">
              <a:off x="17447615" y="-783110"/>
              <a:ext cx="1643480" cy="762110"/>
            </a:xfrm>
            <a:custGeom>
              <a:avLst/>
              <a:gdLst>
                <a:gd name="connsiteX0" fmla="*/ 68475 w 1643480"/>
                <a:gd name="connsiteY0" fmla="*/ 481578 h 762110"/>
                <a:gd name="connsiteX1" fmla="*/ 136950 w 1643480"/>
                <a:gd name="connsiteY1" fmla="*/ 550054 h 762110"/>
                <a:gd name="connsiteX2" fmla="*/ 205425 w 1643480"/>
                <a:gd name="connsiteY2" fmla="*/ 481578 h 762110"/>
                <a:gd name="connsiteX3" fmla="*/ 136950 w 1643480"/>
                <a:gd name="connsiteY3" fmla="*/ 413104 h 762110"/>
                <a:gd name="connsiteX4" fmla="*/ 68475 w 1643480"/>
                <a:gd name="connsiteY4" fmla="*/ 481578 h 762110"/>
                <a:gd name="connsiteX5" fmla="*/ 0 w 1643480"/>
                <a:gd name="connsiteY5" fmla="*/ 481578 h 762110"/>
                <a:gd name="connsiteX6" fmla="*/ 136950 w 1643480"/>
                <a:gd name="connsiteY6" fmla="*/ 344630 h 762110"/>
                <a:gd name="connsiteX7" fmla="*/ 263138 w 1643480"/>
                <a:gd name="connsiteY7" fmla="*/ 428272 h 762110"/>
                <a:gd name="connsiteX8" fmla="*/ 267439 w 1643480"/>
                <a:gd name="connsiteY8" fmla="*/ 449574 h 762110"/>
                <a:gd name="connsiteX9" fmla="*/ 631111 w 1643480"/>
                <a:gd name="connsiteY9" fmla="*/ 449574 h 762110"/>
                <a:gd name="connsiteX10" fmla="*/ 631111 w 1643480"/>
                <a:gd name="connsiteY10" fmla="*/ 56382 h 762110"/>
                <a:gd name="connsiteX11" fmla="*/ 632449 w 1643480"/>
                <a:gd name="connsiteY11" fmla="*/ 56382 h 762110"/>
                <a:gd name="connsiteX12" fmla="*/ 632449 w 1643480"/>
                <a:gd name="connsiteY12" fmla="*/ 0 h 762110"/>
                <a:gd name="connsiteX13" fmla="*/ 933103 w 1643480"/>
                <a:gd name="connsiteY13" fmla="*/ 0 h 762110"/>
                <a:gd name="connsiteX14" fmla="*/ 933103 w 1643480"/>
                <a:gd name="connsiteY14" fmla="*/ 30590 h 762110"/>
                <a:gd name="connsiteX15" fmla="*/ 933103 w 1643480"/>
                <a:gd name="connsiteY15" fmla="*/ 64008 h 762110"/>
                <a:gd name="connsiteX16" fmla="*/ 933103 w 1643480"/>
                <a:gd name="connsiteY16" fmla="*/ 696748 h 762110"/>
                <a:gd name="connsiteX17" fmla="*/ 1643480 w 1643480"/>
                <a:gd name="connsiteY17" fmla="*/ 696748 h 762110"/>
                <a:gd name="connsiteX18" fmla="*/ 1643480 w 1643480"/>
                <a:gd name="connsiteY18" fmla="*/ 760756 h 762110"/>
                <a:gd name="connsiteX19" fmla="*/ 933103 w 1643480"/>
                <a:gd name="connsiteY19" fmla="*/ 760756 h 762110"/>
                <a:gd name="connsiteX20" fmla="*/ 933103 w 1643480"/>
                <a:gd name="connsiteY20" fmla="*/ 762110 h 762110"/>
                <a:gd name="connsiteX21" fmla="*/ 869095 w 1643480"/>
                <a:gd name="connsiteY21" fmla="*/ 762110 h 762110"/>
                <a:gd name="connsiteX22" fmla="*/ 869095 w 1643480"/>
                <a:gd name="connsiteY22" fmla="*/ 64008 h 762110"/>
                <a:gd name="connsiteX23" fmla="*/ 695119 w 1643480"/>
                <a:gd name="connsiteY23" fmla="*/ 64008 h 762110"/>
                <a:gd name="connsiteX24" fmla="*/ 695119 w 1643480"/>
                <a:gd name="connsiteY24" fmla="*/ 513582 h 762110"/>
                <a:gd name="connsiteX25" fmla="*/ 691459 w 1643480"/>
                <a:gd name="connsiteY25" fmla="*/ 513582 h 762110"/>
                <a:gd name="connsiteX26" fmla="*/ 631111 w 1643480"/>
                <a:gd name="connsiteY26" fmla="*/ 513582 h 762110"/>
                <a:gd name="connsiteX27" fmla="*/ 267439 w 1643480"/>
                <a:gd name="connsiteY27" fmla="*/ 513582 h 762110"/>
                <a:gd name="connsiteX28" fmla="*/ 263138 w 1643480"/>
                <a:gd name="connsiteY28" fmla="*/ 534886 h 762110"/>
                <a:gd name="connsiteX29" fmla="*/ 136950 w 1643480"/>
                <a:gd name="connsiteY29" fmla="*/ 618530 h 762110"/>
                <a:gd name="connsiteX30" fmla="*/ 0 w 1643480"/>
                <a:gd name="connsiteY30" fmla="*/ 481578 h 762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43480" h="762110">
                  <a:moveTo>
                    <a:pt x="68475" y="481578"/>
                  </a:moveTo>
                  <a:cubicBezTo>
                    <a:pt x="68475" y="519398"/>
                    <a:pt x="99132" y="550054"/>
                    <a:pt x="136950" y="550054"/>
                  </a:cubicBezTo>
                  <a:cubicBezTo>
                    <a:pt x="174768" y="550054"/>
                    <a:pt x="205425" y="519398"/>
                    <a:pt x="205425" y="481578"/>
                  </a:cubicBezTo>
                  <a:cubicBezTo>
                    <a:pt x="205425" y="443762"/>
                    <a:pt x="174768" y="413104"/>
                    <a:pt x="136950" y="413104"/>
                  </a:cubicBezTo>
                  <a:cubicBezTo>
                    <a:pt x="99132" y="413104"/>
                    <a:pt x="68475" y="443762"/>
                    <a:pt x="68475" y="481578"/>
                  </a:cubicBezTo>
                  <a:close/>
                  <a:moveTo>
                    <a:pt x="0" y="481578"/>
                  </a:moveTo>
                  <a:cubicBezTo>
                    <a:pt x="0" y="405944"/>
                    <a:pt x="61315" y="344630"/>
                    <a:pt x="136950" y="344630"/>
                  </a:cubicBezTo>
                  <a:cubicBezTo>
                    <a:pt x="193676" y="344630"/>
                    <a:pt x="242348" y="379120"/>
                    <a:pt x="263138" y="428272"/>
                  </a:cubicBezTo>
                  <a:lnTo>
                    <a:pt x="267439" y="449574"/>
                  </a:lnTo>
                  <a:lnTo>
                    <a:pt x="631111" y="449574"/>
                  </a:lnTo>
                  <a:lnTo>
                    <a:pt x="631111" y="56382"/>
                  </a:lnTo>
                  <a:lnTo>
                    <a:pt x="632449" y="56382"/>
                  </a:lnTo>
                  <a:lnTo>
                    <a:pt x="632449" y="0"/>
                  </a:lnTo>
                  <a:lnTo>
                    <a:pt x="933103" y="0"/>
                  </a:lnTo>
                  <a:lnTo>
                    <a:pt x="933103" y="30590"/>
                  </a:lnTo>
                  <a:lnTo>
                    <a:pt x="933103" y="64008"/>
                  </a:lnTo>
                  <a:lnTo>
                    <a:pt x="933103" y="696748"/>
                  </a:lnTo>
                  <a:lnTo>
                    <a:pt x="1643480" y="696748"/>
                  </a:lnTo>
                  <a:lnTo>
                    <a:pt x="1643480" y="760756"/>
                  </a:lnTo>
                  <a:lnTo>
                    <a:pt x="933103" y="760756"/>
                  </a:lnTo>
                  <a:lnTo>
                    <a:pt x="933103" y="762110"/>
                  </a:lnTo>
                  <a:lnTo>
                    <a:pt x="869095" y="762110"/>
                  </a:lnTo>
                  <a:lnTo>
                    <a:pt x="869095" y="64008"/>
                  </a:lnTo>
                  <a:lnTo>
                    <a:pt x="695119" y="64008"/>
                  </a:lnTo>
                  <a:lnTo>
                    <a:pt x="695119" y="513582"/>
                  </a:lnTo>
                  <a:lnTo>
                    <a:pt x="691459" y="513582"/>
                  </a:lnTo>
                  <a:lnTo>
                    <a:pt x="631111" y="513582"/>
                  </a:lnTo>
                  <a:lnTo>
                    <a:pt x="267439" y="513582"/>
                  </a:lnTo>
                  <a:lnTo>
                    <a:pt x="263138" y="534886"/>
                  </a:lnTo>
                  <a:cubicBezTo>
                    <a:pt x="242348" y="584040"/>
                    <a:pt x="193676" y="618530"/>
                    <a:pt x="136950" y="618530"/>
                  </a:cubicBezTo>
                  <a:cubicBezTo>
                    <a:pt x="61315" y="618530"/>
                    <a:pt x="0" y="557214"/>
                    <a:pt x="0" y="481578"/>
                  </a:cubicBezTo>
                  <a:close/>
                </a:path>
              </a:pathLst>
            </a:custGeom>
            <a:solidFill>
              <a:schemeClr val="tx1">
                <a:alpha val="76000"/>
              </a:schemeClr>
            </a:solidFill>
            <a:ln w="19050" cap="flat" cmpd="sng" algn="ctr">
              <a:noFill/>
              <a:prstDash val="solid"/>
              <a:round/>
              <a:headEnd type="none" w="med" len="med"/>
              <a:tailEnd type="none" w="med" len="med"/>
            </a:ln>
            <a:effectLst/>
          </p:spPr>
          <p:txBody>
            <a:bodyPr lIns="0" tIns="0" rIns="0" bIns="0" rtlCol="0" anchor="ctr"/>
            <a:lstStyle/>
            <a:p>
              <a:pPr algn="ctr"/>
              <a:endParaRPr lang="en-US">
                <a:solidFill>
                  <a:srgbClr val="505050"/>
                </a:solidFill>
              </a:endParaRPr>
            </a:p>
          </p:txBody>
        </p:sp>
        <p:sp>
          <p:nvSpPr>
            <p:cNvPr id="373" name="Freeform: Shape 372"/>
            <p:cNvSpPr/>
            <p:nvPr/>
          </p:nvSpPr>
          <p:spPr>
            <a:xfrm>
              <a:off x="16392088" y="-1370752"/>
              <a:ext cx="1071628" cy="1607558"/>
            </a:xfrm>
            <a:custGeom>
              <a:avLst/>
              <a:gdLst>
                <a:gd name="connsiteX0" fmla="*/ 136950 w 1071628"/>
                <a:gd name="connsiteY0" fmla="*/ 68475 h 1607558"/>
                <a:gd name="connsiteX1" fmla="*/ 68475 w 1071628"/>
                <a:gd name="connsiteY1" fmla="*/ 136950 h 1607558"/>
                <a:gd name="connsiteX2" fmla="*/ 136950 w 1071628"/>
                <a:gd name="connsiteY2" fmla="*/ 205425 h 1607558"/>
                <a:gd name="connsiteX3" fmla="*/ 205425 w 1071628"/>
                <a:gd name="connsiteY3" fmla="*/ 136950 h 1607558"/>
                <a:gd name="connsiteX4" fmla="*/ 136950 w 1071628"/>
                <a:gd name="connsiteY4" fmla="*/ 68475 h 1607558"/>
                <a:gd name="connsiteX5" fmla="*/ 136950 w 1071628"/>
                <a:gd name="connsiteY5" fmla="*/ 0 h 1607558"/>
                <a:gd name="connsiteX6" fmla="*/ 273900 w 1071628"/>
                <a:gd name="connsiteY6" fmla="*/ 136950 h 1607558"/>
                <a:gd name="connsiteX7" fmla="*/ 190257 w 1071628"/>
                <a:gd name="connsiteY7" fmla="*/ 263138 h 1607558"/>
                <a:gd name="connsiteX8" fmla="*/ 168954 w 1071628"/>
                <a:gd name="connsiteY8" fmla="*/ 267439 h 1607558"/>
                <a:gd name="connsiteX9" fmla="*/ 168954 w 1071628"/>
                <a:gd name="connsiteY9" fmla="*/ 932011 h 1607558"/>
                <a:gd name="connsiteX10" fmla="*/ 430956 w 1071628"/>
                <a:gd name="connsiteY10" fmla="*/ 932011 h 1607558"/>
                <a:gd name="connsiteX11" fmla="*/ 430956 w 1071628"/>
                <a:gd name="connsiteY11" fmla="*/ 627192 h 1607558"/>
                <a:gd name="connsiteX12" fmla="*/ 434056 w 1071628"/>
                <a:gd name="connsiteY12" fmla="*/ 627192 h 1607558"/>
                <a:gd name="connsiteX13" fmla="*/ 434056 w 1071628"/>
                <a:gd name="connsiteY13" fmla="*/ 621691 h 1607558"/>
                <a:gd name="connsiteX14" fmla="*/ 1007620 w 1071628"/>
                <a:gd name="connsiteY14" fmla="*/ 621691 h 1607558"/>
                <a:gd name="connsiteX15" fmla="*/ 1028416 w 1071628"/>
                <a:gd name="connsiteY15" fmla="*/ 621691 h 1607558"/>
                <a:gd name="connsiteX16" fmla="*/ 1071628 w 1071628"/>
                <a:gd name="connsiteY16" fmla="*/ 621691 h 1607558"/>
                <a:gd name="connsiteX17" fmla="*/ 1071628 w 1071628"/>
                <a:gd name="connsiteY17" fmla="*/ 1016052 h 1607558"/>
                <a:gd name="connsiteX18" fmla="*/ 1071628 w 1071628"/>
                <a:gd name="connsiteY18" fmla="*/ 1078891 h 1607558"/>
                <a:gd name="connsiteX19" fmla="*/ 1071628 w 1071628"/>
                <a:gd name="connsiteY19" fmla="*/ 1080060 h 1607558"/>
                <a:gd name="connsiteX20" fmla="*/ 767634 w 1071628"/>
                <a:gd name="connsiteY20" fmla="*/ 1080060 h 1607558"/>
                <a:gd name="connsiteX21" fmla="*/ 767634 w 1071628"/>
                <a:gd name="connsiteY21" fmla="*/ 1607558 h 1607558"/>
                <a:gd name="connsiteX22" fmla="*/ 703626 w 1071628"/>
                <a:gd name="connsiteY22" fmla="*/ 1607558 h 1607558"/>
                <a:gd name="connsiteX23" fmla="*/ 703626 w 1071628"/>
                <a:gd name="connsiteY23" fmla="*/ 1016053 h 1607558"/>
                <a:gd name="connsiteX24" fmla="*/ 705868 w 1071628"/>
                <a:gd name="connsiteY24" fmla="*/ 1016053 h 1607558"/>
                <a:gd name="connsiteX25" fmla="*/ 705868 w 1071628"/>
                <a:gd name="connsiteY25" fmla="*/ 1016052 h 1607558"/>
                <a:gd name="connsiteX26" fmla="*/ 1007620 w 1071628"/>
                <a:gd name="connsiteY26" fmla="*/ 1016052 h 1607558"/>
                <a:gd name="connsiteX27" fmla="*/ 1007620 w 1071628"/>
                <a:gd name="connsiteY27" fmla="*/ 685699 h 1607558"/>
                <a:gd name="connsiteX28" fmla="*/ 494964 w 1071628"/>
                <a:gd name="connsiteY28" fmla="*/ 685699 h 1607558"/>
                <a:gd name="connsiteX29" fmla="*/ 494964 w 1071628"/>
                <a:gd name="connsiteY29" fmla="*/ 992952 h 1607558"/>
                <a:gd name="connsiteX30" fmla="*/ 470706 w 1071628"/>
                <a:gd name="connsiteY30" fmla="*/ 992952 h 1607558"/>
                <a:gd name="connsiteX31" fmla="*/ 470706 w 1071628"/>
                <a:gd name="connsiteY31" fmla="*/ 996019 h 1607558"/>
                <a:gd name="connsiteX32" fmla="*/ 104946 w 1071628"/>
                <a:gd name="connsiteY32" fmla="*/ 996019 h 1607558"/>
                <a:gd name="connsiteX33" fmla="*/ 104946 w 1071628"/>
                <a:gd name="connsiteY33" fmla="*/ 966455 h 1607558"/>
                <a:gd name="connsiteX34" fmla="*/ 104946 w 1071628"/>
                <a:gd name="connsiteY34" fmla="*/ 932011 h 1607558"/>
                <a:gd name="connsiteX35" fmla="*/ 104946 w 1071628"/>
                <a:gd name="connsiteY35" fmla="*/ 267439 h 1607558"/>
                <a:gd name="connsiteX36" fmla="*/ 83643 w 1071628"/>
                <a:gd name="connsiteY36" fmla="*/ 263138 h 1607558"/>
                <a:gd name="connsiteX37" fmla="*/ 0 w 1071628"/>
                <a:gd name="connsiteY37" fmla="*/ 136950 h 1607558"/>
                <a:gd name="connsiteX38" fmla="*/ 136950 w 1071628"/>
                <a:gd name="connsiteY38" fmla="*/ 0 h 1607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1628" h="1607558">
                  <a:moveTo>
                    <a:pt x="136950" y="68475"/>
                  </a:moveTo>
                  <a:cubicBezTo>
                    <a:pt x="99132" y="68475"/>
                    <a:pt x="68475" y="99132"/>
                    <a:pt x="68475" y="136950"/>
                  </a:cubicBezTo>
                  <a:cubicBezTo>
                    <a:pt x="68475" y="174768"/>
                    <a:pt x="99132" y="205425"/>
                    <a:pt x="136950" y="205425"/>
                  </a:cubicBezTo>
                  <a:cubicBezTo>
                    <a:pt x="174768" y="205425"/>
                    <a:pt x="205425" y="174768"/>
                    <a:pt x="205425" y="136950"/>
                  </a:cubicBezTo>
                  <a:cubicBezTo>
                    <a:pt x="205425" y="99132"/>
                    <a:pt x="174768" y="68475"/>
                    <a:pt x="136950" y="68475"/>
                  </a:cubicBezTo>
                  <a:close/>
                  <a:moveTo>
                    <a:pt x="136950" y="0"/>
                  </a:moveTo>
                  <a:cubicBezTo>
                    <a:pt x="212585" y="0"/>
                    <a:pt x="273900" y="61315"/>
                    <a:pt x="273900" y="136950"/>
                  </a:cubicBezTo>
                  <a:cubicBezTo>
                    <a:pt x="273900" y="193676"/>
                    <a:pt x="239410" y="242347"/>
                    <a:pt x="190257" y="263138"/>
                  </a:cubicBezTo>
                  <a:lnTo>
                    <a:pt x="168954" y="267439"/>
                  </a:lnTo>
                  <a:lnTo>
                    <a:pt x="168954" y="932011"/>
                  </a:lnTo>
                  <a:lnTo>
                    <a:pt x="430956" y="932011"/>
                  </a:lnTo>
                  <a:lnTo>
                    <a:pt x="430956" y="627192"/>
                  </a:lnTo>
                  <a:lnTo>
                    <a:pt x="434056" y="627192"/>
                  </a:lnTo>
                  <a:lnTo>
                    <a:pt x="434056" y="621691"/>
                  </a:lnTo>
                  <a:lnTo>
                    <a:pt x="1007620" y="621691"/>
                  </a:lnTo>
                  <a:lnTo>
                    <a:pt x="1028416" y="621691"/>
                  </a:lnTo>
                  <a:lnTo>
                    <a:pt x="1071628" y="621691"/>
                  </a:lnTo>
                  <a:lnTo>
                    <a:pt x="1071628" y="1016052"/>
                  </a:lnTo>
                  <a:lnTo>
                    <a:pt x="1071628" y="1078891"/>
                  </a:lnTo>
                  <a:lnTo>
                    <a:pt x="1071628" y="1080060"/>
                  </a:lnTo>
                  <a:lnTo>
                    <a:pt x="767634" y="1080060"/>
                  </a:lnTo>
                  <a:lnTo>
                    <a:pt x="767634" y="1607558"/>
                  </a:lnTo>
                  <a:lnTo>
                    <a:pt x="703626" y="1607558"/>
                  </a:lnTo>
                  <a:lnTo>
                    <a:pt x="703626" y="1016053"/>
                  </a:lnTo>
                  <a:lnTo>
                    <a:pt x="705868" y="1016053"/>
                  </a:lnTo>
                  <a:lnTo>
                    <a:pt x="705868" y="1016052"/>
                  </a:lnTo>
                  <a:lnTo>
                    <a:pt x="1007620" y="1016052"/>
                  </a:lnTo>
                  <a:lnTo>
                    <a:pt x="1007620" y="685699"/>
                  </a:lnTo>
                  <a:lnTo>
                    <a:pt x="494964" y="685699"/>
                  </a:lnTo>
                  <a:lnTo>
                    <a:pt x="494964" y="992952"/>
                  </a:lnTo>
                  <a:lnTo>
                    <a:pt x="470706" y="992952"/>
                  </a:lnTo>
                  <a:lnTo>
                    <a:pt x="470706" y="996019"/>
                  </a:lnTo>
                  <a:lnTo>
                    <a:pt x="104946" y="996019"/>
                  </a:lnTo>
                  <a:lnTo>
                    <a:pt x="104946" y="966455"/>
                  </a:lnTo>
                  <a:lnTo>
                    <a:pt x="104946" y="932011"/>
                  </a:lnTo>
                  <a:lnTo>
                    <a:pt x="104946" y="267439"/>
                  </a:lnTo>
                  <a:lnTo>
                    <a:pt x="83643" y="263138"/>
                  </a:lnTo>
                  <a:cubicBezTo>
                    <a:pt x="34490" y="242347"/>
                    <a:pt x="0" y="193676"/>
                    <a:pt x="0" y="136950"/>
                  </a:cubicBezTo>
                  <a:cubicBezTo>
                    <a:pt x="0" y="61315"/>
                    <a:pt x="61315" y="0"/>
                    <a:pt x="136950" y="0"/>
                  </a:cubicBezTo>
                  <a:close/>
                </a:path>
              </a:pathLst>
            </a:custGeom>
            <a:solidFill>
              <a:schemeClr val="tx1">
                <a:alpha val="76000"/>
              </a:schemeClr>
            </a:solidFill>
            <a:ln w="19050" cap="flat" cmpd="sng" algn="ctr">
              <a:noFill/>
              <a:prstDash val="solid"/>
              <a:round/>
              <a:headEnd type="none" w="med" len="med"/>
              <a:tailEnd type="none" w="med" len="med"/>
            </a:ln>
            <a:effectLst/>
          </p:spPr>
          <p:txBody>
            <a:bodyPr lIns="0" tIns="0" rIns="0" bIns="0" rtlCol="0" anchor="ctr"/>
            <a:lstStyle/>
            <a:p>
              <a:pPr algn="ctr"/>
              <a:endParaRPr lang="en-US">
                <a:solidFill>
                  <a:srgbClr val="505050"/>
                </a:solidFill>
              </a:endParaRPr>
            </a:p>
          </p:txBody>
        </p:sp>
        <p:sp>
          <p:nvSpPr>
            <p:cNvPr id="374" name="Freeform: Shape 373"/>
            <p:cNvSpPr/>
            <p:nvPr/>
          </p:nvSpPr>
          <p:spPr>
            <a:xfrm>
              <a:off x="15574236" y="-1112537"/>
              <a:ext cx="1372252" cy="1579068"/>
            </a:xfrm>
            <a:custGeom>
              <a:avLst/>
              <a:gdLst>
                <a:gd name="connsiteX0" fmla="*/ 136950 w 1372252"/>
                <a:gd name="connsiteY0" fmla="*/ 68475 h 1579068"/>
                <a:gd name="connsiteX1" fmla="*/ 68475 w 1372252"/>
                <a:gd name="connsiteY1" fmla="*/ 136950 h 1579068"/>
                <a:gd name="connsiteX2" fmla="*/ 136950 w 1372252"/>
                <a:gd name="connsiteY2" fmla="*/ 205425 h 1579068"/>
                <a:gd name="connsiteX3" fmla="*/ 205425 w 1372252"/>
                <a:gd name="connsiteY3" fmla="*/ 136950 h 1579068"/>
                <a:gd name="connsiteX4" fmla="*/ 136950 w 1372252"/>
                <a:gd name="connsiteY4" fmla="*/ 68475 h 1579068"/>
                <a:gd name="connsiteX5" fmla="*/ 136950 w 1372252"/>
                <a:gd name="connsiteY5" fmla="*/ 0 h 1579068"/>
                <a:gd name="connsiteX6" fmla="*/ 273900 w 1372252"/>
                <a:gd name="connsiteY6" fmla="*/ 136950 h 1579068"/>
                <a:gd name="connsiteX7" fmla="*/ 190257 w 1372252"/>
                <a:gd name="connsiteY7" fmla="*/ 263138 h 1579068"/>
                <a:gd name="connsiteX8" fmla="*/ 168954 w 1372252"/>
                <a:gd name="connsiteY8" fmla="*/ 267439 h 1579068"/>
                <a:gd name="connsiteX9" fmla="*/ 168954 w 1372252"/>
                <a:gd name="connsiteY9" fmla="*/ 784465 h 1579068"/>
                <a:gd name="connsiteX10" fmla="*/ 527688 w 1372252"/>
                <a:gd name="connsiteY10" fmla="*/ 784465 h 1579068"/>
                <a:gd name="connsiteX11" fmla="*/ 571677 w 1372252"/>
                <a:gd name="connsiteY11" fmla="*/ 784465 h 1579068"/>
                <a:gd name="connsiteX12" fmla="*/ 591696 w 1372252"/>
                <a:gd name="connsiteY12" fmla="*/ 784465 h 1579068"/>
                <a:gd name="connsiteX13" fmla="*/ 591696 w 1372252"/>
                <a:gd name="connsiteY13" fmla="*/ 1090249 h 1579068"/>
                <a:gd name="connsiteX14" fmla="*/ 972592 w 1372252"/>
                <a:gd name="connsiteY14" fmla="*/ 1090249 h 1579068"/>
                <a:gd name="connsiteX15" fmla="*/ 972592 w 1372252"/>
                <a:gd name="connsiteY15" fmla="*/ 1144985 h 1579068"/>
                <a:gd name="connsiteX16" fmla="*/ 972592 w 1372252"/>
                <a:gd name="connsiteY16" fmla="*/ 1154257 h 1579068"/>
                <a:gd name="connsiteX17" fmla="*/ 972592 w 1372252"/>
                <a:gd name="connsiteY17" fmla="*/ 1515060 h 1579068"/>
                <a:gd name="connsiteX18" fmla="*/ 1372252 w 1372252"/>
                <a:gd name="connsiteY18" fmla="*/ 1515060 h 1579068"/>
                <a:gd name="connsiteX19" fmla="*/ 1372252 w 1372252"/>
                <a:gd name="connsiteY19" fmla="*/ 1579068 h 1579068"/>
                <a:gd name="connsiteX20" fmla="*/ 915052 w 1372252"/>
                <a:gd name="connsiteY20" fmla="*/ 1579068 h 1579068"/>
                <a:gd name="connsiteX21" fmla="*/ 915052 w 1372252"/>
                <a:gd name="connsiteY21" fmla="*/ 1579068 h 1579068"/>
                <a:gd name="connsiteX22" fmla="*/ 908584 w 1372252"/>
                <a:gd name="connsiteY22" fmla="*/ 1579068 h 1579068"/>
                <a:gd name="connsiteX23" fmla="*/ 908584 w 1372252"/>
                <a:gd name="connsiteY23" fmla="*/ 1154257 h 1579068"/>
                <a:gd name="connsiteX24" fmla="*/ 542064 w 1372252"/>
                <a:gd name="connsiteY24" fmla="*/ 1154257 h 1579068"/>
                <a:gd name="connsiteX25" fmla="*/ 542064 w 1372252"/>
                <a:gd name="connsiteY25" fmla="*/ 1152787 h 1579068"/>
                <a:gd name="connsiteX26" fmla="*/ 527688 w 1372252"/>
                <a:gd name="connsiteY26" fmla="*/ 1152787 h 1579068"/>
                <a:gd name="connsiteX27" fmla="*/ 527688 w 1372252"/>
                <a:gd name="connsiteY27" fmla="*/ 848473 h 1579068"/>
                <a:gd name="connsiteX28" fmla="*/ 168954 w 1372252"/>
                <a:gd name="connsiteY28" fmla="*/ 848473 h 1579068"/>
                <a:gd name="connsiteX29" fmla="*/ 168954 w 1372252"/>
                <a:gd name="connsiteY29" fmla="*/ 849037 h 1579068"/>
                <a:gd name="connsiteX30" fmla="*/ 104946 w 1372252"/>
                <a:gd name="connsiteY30" fmla="*/ 849037 h 1579068"/>
                <a:gd name="connsiteX31" fmla="*/ 104946 w 1372252"/>
                <a:gd name="connsiteY31" fmla="*/ 267439 h 1579068"/>
                <a:gd name="connsiteX32" fmla="*/ 83643 w 1372252"/>
                <a:gd name="connsiteY32" fmla="*/ 263138 h 1579068"/>
                <a:gd name="connsiteX33" fmla="*/ 0 w 1372252"/>
                <a:gd name="connsiteY33" fmla="*/ 136950 h 1579068"/>
                <a:gd name="connsiteX34" fmla="*/ 136950 w 1372252"/>
                <a:gd name="connsiteY34" fmla="*/ 0 h 157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72252" h="1579068">
                  <a:moveTo>
                    <a:pt x="136950" y="68475"/>
                  </a:moveTo>
                  <a:cubicBezTo>
                    <a:pt x="99132" y="68475"/>
                    <a:pt x="68475" y="99132"/>
                    <a:pt x="68475" y="136950"/>
                  </a:cubicBezTo>
                  <a:cubicBezTo>
                    <a:pt x="68475" y="174768"/>
                    <a:pt x="99132" y="205425"/>
                    <a:pt x="136950" y="205425"/>
                  </a:cubicBezTo>
                  <a:cubicBezTo>
                    <a:pt x="174768" y="205425"/>
                    <a:pt x="205425" y="174768"/>
                    <a:pt x="205425" y="136950"/>
                  </a:cubicBezTo>
                  <a:cubicBezTo>
                    <a:pt x="205425" y="99132"/>
                    <a:pt x="174768" y="68475"/>
                    <a:pt x="136950" y="68475"/>
                  </a:cubicBezTo>
                  <a:close/>
                  <a:moveTo>
                    <a:pt x="136950" y="0"/>
                  </a:moveTo>
                  <a:cubicBezTo>
                    <a:pt x="212585" y="0"/>
                    <a:pt x="273900" y="61315"/>
                    <a:pt x="273900" y="136950"/>
                  </a:cubicBezTo>
                  <a:cubicBezTo>
                    <a:pt x="273900" y="193676"/>
                    <a:pt x="239410" y="242347"/>
                    <a:pt x="190257" y="263138"/>
                  </a:cubicBezTo>
                  <a:lnTo>
                    <a:pt x="168954" y="267439"/>
                  </a:lnTo>
                  <a:lnTo>
                    <a:pt x="168954" y="784465"/>
                  </a:lnTo>
                  <a:lnTo>
                    <a:pt x="527688" y="784465"/>
                  </a:lnTo>
                  <a:lnTo>
                    <a:pt x="571677" y="784465"/>
                  </a:lnTo>
                  <a:lnTo>
                    <a:pt x="591696" y="784465"/>
                  </a:lnTo>
                  <a:lnTo>
                    <a:pt x="591696" y="1090249"/>
                  </a:lnTo>
                  <a:lnTo>
                    <a:pt x="972592" y="1090249"/>
                  </a:lnTo>
                  <a:lnTo>
                    <a:pt x="972592" y="1144985"/>
                  </a:lnTo>
                  <a:lnTo>
                    <a:pt x="972592" y="1154257"/>
                  </a:lnTo>
                  <a:lnTo>
                    <a:pt x="972592" y="1515060"/>
                  </a:lnTo>
                  <a:lnTo>
                    <a:pt x="1372252" y="1515060"/>
                  </a:lnTo>
                  <a:lnTo>
                    <a:pt x="1372252" y="1579068"/>
                  </a:lnTo>
                  <a:lnTo>
                    <a:pt x="915052" y="1579068"/>
                  </a:lnTo>
                  <a:lnTo>
                    <a:pt x="915052" y="1579068"/>
                  </a:lnTo>
                  <a:lnTo>
                    <a:pt x="908584" y="1579068"/>
                  </a:lnTo>
                  <a:lnTo>
                    <a:pt x="908584" y="1154257"/>
                  </a:lnTo>
                  <a:lnTo>
                    <a:pt x="542064" y="1154257"/>
                  </a:lnTo>
                  <a:lnTo>
                    <a:pt x="542064" y="1152787"/>
                  </a:lnTo>
                  <a:lnTo>
                    <a:pt x="527688" y="1152787"/>
                  </a:lnTo>
                  <a:lnTo>
                    <a:pt x="527688" y="848473"/>
                  </a:lnTo>
                  <a:lnTo>
                    <a:pt x="168954" y="848473"/>
                  </a:lnTo>
                  <a:lnTo>
                    <a:pt x="168954" y="849037"/>
                  </a:lnTo>
                  <a:lnTo>
                    <a:pt x="104946" y="849037"/>
                  </a:lnTo>
                  <a:lnTo>
                    <a:pt x="104946" y="267439"/>
                  </a:lnTo>
                  <a:lnTo>
                    <a:pt x="83643" y="263138"/>
                  </a:lnTo>
                  <a:cubicBezTo>
                    <a:pt x="34490" y="242347"/>
                    <a:pt x="0" y="193676"/>
                    <a:pt x="0" y="136950"/>
                  </a:cubicBezTo>
                  <a:cubicBezTo>
                    <a:pt x="0" y="61315"/>
                    <a:pt x="61315" y="0"/>
                    <a:pt x="136950" y="0"/>
                  </a:cubicBezTo>
                  <a:close/>
                </a:path>
              </a:pathLst>
            </a:custGeom>
            <a:solidFill>
              <a:schemeClr val="tx1">
                <a:alpha val="76000"/>
              </a:schemeClr>
            </a:solidFill>
            <a:ln w="19050" cap="flat" cmpd="sng" algn="ctr">
              <a:noFill/>
              <a:prstDash val="solid"/>
              <a:round/>
              <a:headEnd type="none" w="med" len="med"/>
              <a:tailEnd type="none" w="med" len="med"/>
            </a:ln>
            <a:effectLst/>
          </p:spPr>
          <p:txBody>
            <a:bodyPr lIns="0" tIns="0" rIns="0" bIns="0" rtlCol="0" anchor="ctr"/>
            <a:lstStyle/>
            <a:p>
              <a:pPr algn="ctr"/>
              <a:endParaRPr lang="en-US">
                <a:solidFill>
                  <a:srgbClr val="505050"/>
                </a:solidFill>
              </a:endParaRPr>
            </a:p>
          </p:txBody>
        </p:sp>
      </p:grpSp>
      <p:grpSp>
        <p:nvGrpSpPr>
          <p:cNvPr id="411" name="Group 410"/>
          <p:cNvGrpSpPr/>
          <p:nvPr/>
        </p:nvGrpSpPr>
        <p:grpSpPr>
          <a:xfrm>
            <a:off x="5779211" y="5143028"/>
            <a:ext cx="563461" cy="429883"/>
            <a:chOff x="8972641" y="5758120"/>
            <a:chExt cx="622123" cy="474638"/>
          </a:xfrm>
        </p:grpSpPr>
        <p:pic>
          <p:nvPicPr>
            <p:cNvPr id="410" name="Picture 40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88127" y="5758120"/>
              <a:ext cx="606637" cy="400122"/>
            </a:xfrm>
            <a:prstGeom prst="rect">
              <a:avLst/>
            </a:prstGeom>
          </p:spPr>
        </p:pic>
        <p:grpSp>
          <p:nvGrpSpPr>
            <p:cNvPr id="390" name="Group 389"/>
            <p:cNvGrpSpPr/>
            <p:nvPr/>
          </p:nvGrpSpPr>
          <p:grpSpPr>
            <a:xfrm>
              <a:off x="8972641" y="5821401"/>
              <a:ext cx="329649" cy="411357"/>
              <a:chOff x="8467245" y="2757788"/>
              <a:chExt cx="622292" cy="776537"/>
            </a:xfrm>
          </p:grpSpPr>
          <p:grpSp>
            <p:nvGrpSpPr>
              <p:cNvPr id="391" name="Group 390"/>
              <p:cNvGrpSpPr/>
              <p:nvPr/>
            </p:nvGrpSpPr>
            <p:grpSpPr>
              <a:xfrm>
                <a:off x="8822263" y="2821623"/>
                <a:ext cx="171962" cy="482437"/>
                <a:chOff x="7237831" y="1331389"/>
                <a:chExt cx="564776" cy="1546282"/>
              </a:xfrm>
            </p:grpSpPr>
            <p:sp>
              <p:nvSpPr>
                <p:cNvPr id="408"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a:solidFill>
                      <a:srgbClr val="505050"/>
                    </a:solidFill>
                    <a:latin typeface="OCR A Extended" panose="02010509020102010303" pitchFamily="50" charset="0"/>
                  </a:endParaRPr>
                </a:p>
              </p:txBody>
            </p:sp>
            <p:sp>
              <p:nvSpPr>
                <p:cNvPr id="409" name="Oval 408"/>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a:solidFill>
                      <a:srgbClr val="505050"/>
                    </a:solidFill>
                    <a:latin typeface="OCR A Extended" panose="02010509020102010303" pitchFamily="50" charset="0"/>
                  </a:endParaRPr>
                </a:p>
              </p:txBody>
            </p:sp>
          </p:grpSp>
          <p:sp>
            <p:nvSpPr>
              <p:cNvPr id="392" name="Oval 391"/>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a:solidFill>
                    <a:srgbClr val="505050"/>
                  </a:solidFill>
                  <a:latin typeface="OCR A Extended" panose="02010509020102010303" pitchFamily="50" charset="0"/>
                </a:endParaRPr>
              </a:p>
            </p:txBody>
          </p:sp>
          <p:grpSp>
            <p:nvGrpSpPr>
              <p:cNvPr id="393" name="Group 392"/>
              <p:cNvGrpSpPr/>
              <p:nvPr/>
            </p:nvGrpSpPr>
            <p:grpSpPr>
              <a:xfrm>
                <a:off x="8596998" y="2798236"/>
                <a:ext cx="386597" cy="465044"/>
                <a:chOff x="3761989" y="1519463"/>
                <a:chExt cx="1569461" cy="1887935"/>
              </a:xfrm>
            </p:grpSpPr>
            <p:sp>
              <p:nvSpPr>
                <p:cNvPr id="396" name="TextBox 395"/>
                <p:cNvSpPr txBox="1"/>
                <p:nvPr/>
              </p:nvSpPr>
              <p:spPr>
                <a:xfrm>
                  <a:off x="3761989" y="1519463"/>
                  <a:ext cx="356266"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1</a:t>
                  </a:r>
                </a:p>
              </p:txBody>
            </p:sp>
            <p:sp>
              <p:nvSpPr>
                <p:cNvPr id="397" name="TextBox 396"/>
                <p:cNvSpPr txBox="1"/>
                <p:nvPr/>
              </p:nvSpPr>
              <p:spPr>
                <a:xfrm>
                  <a:off x="4166382" y="2124172"/>
                  <a:ext cx="356266"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0</a:t>
                  </a:r>
                </a:p>
              </p:txBody>
            </p:sp>
            <p:sp>
              <p:nvSpPr>
                <p:cNvPr id="398" name="TextBox 397"/>
                <p:cNvSpPr txBox="1"/>
                <p:nvPr/>
              </p:nvSpPr>
              <p:spPr>
                <a:xfrm>
                  <a:off x="4975184" y="2124172"/>
                  <a:ext cx="356266"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0</a:t>
                  </a:r>
                </a:p>
              </p:txBody>
            </p:sp>
            <p:sp>
              <p:nvSpPr>
                <p:cNvPr id="399" name="TextBox 398"/>
                <p:cNvSpPr txBox="1"/>
                <p:nvPr/>
              </p:nvSpPr>
              <p:spPr>
                <a:xfrm>
                  <a:off x="4570783" y="1519463"/>
                  <a:ext cx="356266"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1</a:t>
                  </a:r>
                </a:p>
              </p:txBody>
            </p:sp>
            <p:sp>
              <p:nvSpPr>
                <p:cNvPr id="400" name="TextBox 399"/>
                <p:cNvSpPr txBox="1"/>
                <p:nvPr/>
              </p:nvSpPr>
              <p:spPr>
                <a:xfrm>
                  <a:off x="3761989" y="2124172"/>
                  <a:ext cx="356266"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1</a:t>
                  </a:r>
                </a:p>
              </p:txBody>
            </p:sp>
            <p:sp>
              <p:nvSpPr>
                <p:cNvPr id="401" name="TextBox 400"/>
                <p:cNvSpPr txBox="1"/>
                <p:nvPr/>
              </p:nvSpPr>
              <p:spPr>
                <a:xfrm>
                  <a:off x="4975184" y="2699789"/>
                  <a:ext cx="356266"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1</a:t>
                  </a:r>
                </a:p>
              </p:txBody>
            </p:sp>
            <p:sp>
              <p:nvSpPr>
                <p:cNvPr id="402" name="TextBox 401"/>
                <p:cNvSpPr txBox="1"/>
                <p:nvPr/>
              </p:nvSpPr>
              <p:spPr>
                <a:xfrm>
                  <a:off x="4166382" y="1519463"/>
                  <a:ext cx="356266"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0</a:t>
                  </a:r>
                </a:p>
              </p:txBody>
            </p:sp>
            <p:sp>
              <p:nvSpPr>
                <p:cNvPr id="403" name="TextBox 402"/>
                <p:cNvSpPr txBox="1"/>
                <p:nvPr/>
              </p:nvSpPr>
              <p:spPr>
                <a:xfrm>
                  <a:off x="4570783" y="2699789"/>
                  <a:ext cx="356266"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1</a:t>
                  </a:r>
                </a:p>
              </p:txBody>
            </p:sp>
            <p:sp>
              <p:nvSpPr>
                <p:cNvPr id="404" name="TextBox 403"/>
                <p:cNvSpPr txBox="1"/>
                <p:nvPr/>
              </p:nvSpPr>
              <p:spPr>
                <a:xfrm>
                  <a:off x="4570783" y="2124172"/>
                  <a:ext cx="356266"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1</a:t>
                  </a:r>
                </a:p>
              </p:txBody>
            </p:sp>
            <p:sp>
              <p:nvSpPr>
                <p:cNvPr id="405" name="TextBox 404"/>
                <p:cNvSpPr txBox="1"/>
                <p:nvPr/>
              </p:nvSpPr>
              <p:spPr>
                <a:xfrm>
                  <a:off x="4975177" y="1519463"/>
                  <a:ext cx="356266"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0</a:t>
                  </a:r>
                </a:p>
              </p:txBody>
            </p:sp>
            <p:sp>
              <p:nvSpPr>
                <p:cNvPr id="406" name="TextBox 405"/>
                <p:cNvSpPr txBox="1"/>
                <p:nvPr/>
              </p:nvSpPr>
              <p:spPr>
                <a:xfrm>
                  <a:off x="4166384" y="2699789"/>
                  <a:ext cx="356268"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1</a:t>
                  </a:r>
                </a:p>
              </p:txBody>
            </p:sp>
            <p:sp>
              <p:nvSpPr>
                <p:cNvPr id="407" name="TextBox 406"/>
                <p:cNvSpPr txBox="1"/>
                <p:nvPr/>
              </p:nvSpPr>
              <p:spPr>
                <a:xfrm>
                  <a:off x="3761997" y="2699789"/>
                  <a:ext cx="356268" cy="707609"/>
                </a:xfrm>
                <a:prstGeom prst="rect">
                  <a:avLst/>
                </a:prstGeom>
                <a:noFill/>
              </p:spPr>
              <p:txBody>
                <a:bodyPr wrap="none" lIns="0" tIns="0" rIns="0" bIns="0" rtlCol="0">
                  <a:spAutoFit/>
                </a:bodyPr>
                <a:lstStyle/>
                <a:p>
                  <a:r>
                    <a:rPr lang="en-US" sz="600" b="1">
                      <a:solidFill>
                        <a:srgbClr val="FFFFFF"/>
                      </a:solidFill>
                      <a:latin typeface="OCR A Extended" panose="02010509020102010303" pitchFamily="50" charset="0"/>
                      <a:cs typeface="Courier New" panose="02070309020205020404" pitchFamily="49" charset="0"/>
                    </a:rPr>
                    <a:t>0</a:t>
                  </a:r>
                </a:p>
              </p:txBody>
            </p:sp>
          </p:grpSp>
          <p:sp>
            <p:nvSpPr>
              <p:cNvPr id="394" name="Donut 231"/>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a:solidFill>
                    <a:srgbClr val="00518E">
                      <a:lumMod val="20000"/>
                      <a:lumOff val="80000"/>
                    </a:srgbClr>
                  </a:solidFill>
                  <a:latin typeface="OCR A Extended" panose="02010509020102010303" pitchFamily="50" charset="0"/>
                </a:endParaRPr>
              </a:p>
            </p:txBody>
          </p:sp>
          <p:sp>
            <p:nvSpPr>
              <p:cNvPr id="395" name="Rounded Rectangle 232"/>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a:solidFill>
                    <a:srgbClr val="505050"/>
                  </a:solidFill>
                  <a:latin typeface="OCR A Extended" panose="02010509020102010303" pitchFamily="50" charset="0"/>
                </a:endParaRPr>
              </a:p>
            </p:txBody>
          </p:sp>
        </p:grpSp>
      </p:grpSp>
      <p:sp>
        <p:nvSpPr>
          <p:cNvPr id="412" name="TextBox 411"/>
          <p:cNvSpPr txBox="1">
            <a:spLocks noChangeAspect="1"/>
          </p:cNvSpPr>
          <p:nvPr/>
        </p:nvSpPr>
        <p:spPr bwMode="black">
          <a:xfrm>
            <a:off x="6231731" y="6488385"/>
            <a:ext cx="1095315" cy="221202"/>
          </a:xfrm>
          <a:prstGeom prst="rect">
            <a:avLst/>
          </a:prstGeom>
          <a:noFill/>
        </p:spPr>
        <p:txBody>
          <a:bodyPr wrap="square" lIns="0" tIns="0" rIns="0" bIns="0" rtlCol="0">
            <a:noAutofit/>
          </a:bodyPr>
          <a:lstStyle/>
          <a:p>
            <a:pPr algn="ctr"/>
            <a:r>
              <a:rPr lang="en-US" sz="1200">
                <a:solidFill>
                  <a:srgbClr val="002050"/>
                </a:solidFill>
              </a:rPr>
              <a:t>Office 365</a:t>
            </a:r>
          </a:p>
        </p:txBody>
      </p:sp>
      <p:sp>
        <p:nvSpPr>
          <p:cNvPr id="413" name="Freeform 42"/>
          <p:cNvSpPr>
            <a:spLocks noChangeAspect="1"/>
          </p:cNvSpPr>
          <p:nvPr/>
        </p:nvSpPr>
        <p:spPr bwMode="black">
          <a:xfrm>
            <a:off x="6481152" y="5875951"/>
            <a:ext cx="420000" cy="503755"/>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D93D18"/>
          </a:solidFill>
          <a:ln>
            <a:noFill/>
          </a:ln>
          <a:extLst/>
        </p:spPr>
        <p:txBody>
          <a:bodyPr vert="horz" wrap="square" lIns="91440" tIns="45720" rIns="91440" bIns="45720" numCol="1" anchor="t" anchorCtr="0" compatLnSpc="1">
            <a:prstTxWarp prst="textNoShape">
              <a:avLst/>
            </a:prstTxWarp>
          </a:bodyPr>
          <a:lstStyle/>
          <a:p>
            <a:pPr algn="ctr"/>
            <a:endParaRPr lang="en-US">
              <a:solidFill>
                <a:srgbClr val="002050"/>
              </a:solidFill>
            </a:endParaRPr>
          </a:p>
        </p:txBody>
      </p:sp>
      <p:sp>
        <p:nvSpPr>
          <p:cNvPr id="415" name="Freeform 13"/>
          <p:cNvSpPr>
            <a:spLocks noChangeAspect="1" noEditPoints="1"/>
          </p:cNvSpPr>
          <p:nvPr/>
        </p:nvSpPr>
        <p:spPr bwMode="black">
          <a:xfrm>
            <a:off x="9603255" y="5871098"/>
            <a:ext cx="511406" cy="517348"/>
          </a:xfrm>
          <a:custGeom>
            <a:avLst/>
            <a:gdLst>
              <a:gd name="T0" fmla="*/ 747 w 769"/>
              <a:gd name="T1" fmla="*/ 473 h 780"/>
              <a:gd name="T2" fmla="*/ 756 w 769"/>
              <a:gd name="T3" fmla="*/ 394 h 780"/>
              <a:gd name="T4" fmla="*/ 389 w 769"/>
              <a:gd name="T5" fmla="*/ 27 h 780"/>
              <a:gd name="T6" fmla="*/ 326 w 769"/>
              <a:gd name="T7" fmla="*/ 33 h 780"/>
              <a:gd name="T8" fmla="*/ 213 w 769"/>
              <a:gd name="T9" fmla="*/ 0 h 780"/>
              <a:gd name="T10" fmla="*/ 0 w 769"/>
              <a:gd name="T11" fmla="*/ 213 h 780"/>
              <a:gd name="T12" fmla="*/ 29 w 769"/>
              <a:gd name="T13" fmla="*/ 320 h 780"/>
              <a:gd name="T14" fmla="*/ 22 w 769"/>
              <a:gd name="T15" fmla="*/ 394 h 780"/>
              <a:gd name="T16" fmla="*/ 389 w 769"/>
              <a:gd name="T17" fmla="*/ 761 h 780"/>
              <a:gd name="T18" fmla="*/ 456 w 769"/>
              <a:gd name="T19" fmla="*/ 755 h 780"/>
              <a:gd name="T20" fmla="*/ 556 w 769"/>
              <a:gd name="T21" fmla="*/ 780 h 780"/>
              <a:gd name="T22" fmla="*/ 769 w 769"/>
              <a:gd name="T23" fmla="*/ 567 h 780"/>
              <a:gd name="T24" fmla="*/ 747 w 769"/>
              <a:gd name="T25" fmla="*/ 473 h 780"/>
              <a:gd name="T26" fmla="*/ 577 w 769"/>
              <a:gd name="T27" fmla="*/ 570 h 780"/>
              <a:gd name="T28" fmla="*/ 502 w 769"/>
              <a:gd name="T29" fmla="*/ 626 h 780"/>
              <a:gd name="T30" fmla="*/ 388 w 769"/>
              <a:gd name="T31" fmla="*/ 646 h 780"/>
              <a:gd name="T32" fmla="*/ 256 w 769"/>
              <a:gd name="T33" fmla="*/ 619 h 780"/>
              <a:gd name="T34" fmla="*/ 196 w 769"/>
              <a:gd name="T35" fmla="*/ 565 h 780"/>
              <a:gd name="T36" fmla="*/ 172 w 769"/>
              <a:gd name="T37" fmla="*/ 499 h 780"/>
              <a:gd name="T38" fmla="*/ 188 w 769"/>
              <a:gd name="T39" fmla="*/ 464 h 780"/>
              <a:gd name="T40" fmla="*/ 226 w 769"/>
              <a:gd name="T41" fmla="*/ 450 h 780"/>
              <a:gd name="T42" fmla="*/ 258 w 769"/>
              <a:gd name="T43" fmla="*/ 461 h 780"/>
              <a:gd name="T44" fmla="*/ 280 w 769"/>
              <a:gd name="T45" fmla="*/ 493 h 780"/>
              <a:gd name="T46" fmla="*/ 301 w 769"/>
              <a:gd name="T47" fmla="*/ 530 h 780"/>
              <a:gd name="T48" fmla="*/ 332 w 769"/>
              <a:gd name="T49" fmla="*/ 554 h 780"/>
              <a:gd name="T50" fmla="*/ 385 w 769"/>
              <a:gd name="T51" fmla="*/ 563 h 780"/>
              <a:gd name="T52" fmla="*/ 459 w 769"/>
              <a:gd name="T53" fmla="*/ 544 h 780"/>
              <a:gd name="T54" fmla="*/ 486 w 769"/>
              <a:gd name="T55" fmla="*/ 498 h 780"/>
              <a:gd name="T56" fmla="*/ 472 w 769"/>
              <a:gd name="T57" fmla="*/ 463 h 780"/>
              <a:gd name="T58" fmla="*/ 433 w 769"/>
              <a:gd name="T59" fmla="*/ 442 h 780"/>
              <a:gd name="T60" fmla="*/ 365 w 769"/>
              <a:gd name="T61" fmla="*/ 425 h 780"/>
              <a:gd name="T62" fmla="*/ 269 w 769"/>
              <a:gd name="T63" fmla="*/ 396 h 780"/>
              <a:gd name="T64" fmla="*/ 206 w 769"/>
              <a:gd name="T65" fmla="*/ 350 h 780"/>
              <a:gd name="T66" fmla="*/ 182 w 769"/>
              <a:gd name="T67" fmla="*/ 277 h 780"/>
              <a:gd name="T68" fmla="*/ 207 w 769"/>
              <a:gd name="T69" fmla="*/ 202 h 780"/>
              <a:gd name="T70" fmla="*/ 279 w 769"/>
              <a:gd name="T71" fmla="*/ 153 h 780"/>
              <a:gd name="T72" fmla="*/ 386 w 769"/>
              <a:gd name="T73" fmla="*/ 136 h 780"/>
              <a:gd name="T74" fmla="*/ 472 w 769"/>
              <a:gd name="T75" fmla="*/ 147 h 780"/>
              <a:gd name="T76" fmla="*/ 532 w 769"/>
              <a:gd name="T77" fmla="*/ 178 h 780"/>
              <a:gd name="T78" fmla="*/ 568 w 769"/>
              <a:gd name="T79" fmla="*/ 218 h 780"/>
              <a:gd name="T80" fmla="*/ 580 w 769"/>
              <a:gd name="T81" fmla="*/ 259 h 780"/>
              <a:gd name="T82" fmla="*/ 565 w 769"/>
              <a:gd name="T83" fmla="*/ 295 h 780"/>
              <a:gd name="T84" fmla="*/ 527 w 769"/>
              <a:gd name="T85" fmla="*/ 311 h 780"/>
              <a:gd name="T86" fmla="*/ 495 w 769"/>
              <a:gd name="T87" fmla="*/ 301 h 780"/>
              <a:gd name="T88" fmla="*/ 473 w 769"/>
              <a:gd name="T89" fmla="*/ 272 h 780"/>
              <a:gd name="T90" fmla="*/ 440 w 769"/>
              <a:gd name="T91" fmla="*/ 231 h 780"/>
              <a:gd name="T92" fmla="*/ 379 w 769"/>
              <a:gd name="T93" fmla="*/ 217 h 780"/>
              <a:gd name="T94" fmla="*/ 316 w 769"/>
              <a:gd name="T95" fmla="*/ 232 h 780"/>
              <a:gd name="T96" fmla="*/ 293 w 769"/>
              <a:gd name="T97" fmla="*/ 268 h 780"/>
              <a:gd name="T98" fmla="*/ 300 w 769"/>
              <a:gd name="T99" fmla="*/ 289 h 780"/>
              <a:gd name="T100" fmla="*/ 322 w 769"/>
              <a:gd name="T101" fmla="*/ 306 h 780"/>
              <a:gd name="T102" fmla="*/ 352 w 769"/>
              <a:gd name="T103" fmla="*/ 317 h 780"/>
              <a:gd name="T104" fmla="*/ 402 w 769"/>
              <a:gd name="T105" fmla="*/ 329 h 780"/>
              <a:gd name="T106" fmla="*/ 483 w 769"/>
              <a:gd name="T107" fmla="*/ 351 h 780"/>
              <a:gd name="T108" fmla="*/ 546 w 769"/>
              <a:gd name="T109" fmla="*/ 379 h 780"/>
              <a:gd name="T110" fmla="*/ 588 w 769"/>
              <a:gd name="T111" fmla="*/ 423 h 780"/>
              <a:gd name="T112" fmla="*/ 603 w 769"/>
              <a:gd name="T113" fmla="*/ 488 h 780"/>
              <a:gd name="T114" fmla="*/ 577 w 769"/>
              <a:gd name="T115" fmla="*/ 57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9" h="780">
                <a:moveTo>
                  <a:pt x="747" y="473"/>
                </a:moveTo>
                <a:cubicBezTo>
                  <a:pt x="753" y="448"/>
                  <a:pt x="756" y="421"/>
                  <a:pt x="756" y="394"/>
                </a:cubicBezTo>
                <a:cubicBezTo>
                  <a:pt x="756" y="192"/>
                  <a:pt x="591" y="27"/>
                  <a:pt x="389" y="27"/>
                </a:cubicBezTo>
                <a:cubicBezTo>
                  <a:pt x="367" y="27"/>
                  <a:pt x="346" y="29"/>
                  <a:pt x="326" y="33"/>
                </a:cubicBezTo>
                <a:cubicBezTo>
                  <a:pt x="293" y="12"/>
                  <a:pt x="254" y="0"/>
                  <a:pt x="213" y="0"/>
                </a:cubicBezTo>
                <a:cubicBezTo>
                  <a:pt x="95" y="0"/>
                  <a:pt x="0" y="95"/>
                  <a:pt x="0" y="213"/>
                </a:cubicBezTo>
                <a:cubicBezTo>
                  <a:pt x="0" y="252"/>
                  <a:pt x="11" y="289"/>
                  <a:pt x="29" y="320"/>
                </a:cubicBezTo>
                <a:cubicBezTo>
                  <a:pt x="24" y="344"/>
                  <a:pt x="22" y="369"/>
                  <a:pt x="22" y="394"/>
                </a:cubicBezTo>
                <a:cubicBezTo>
                  <a:pt x="22" y="597"/>
                  <a:pt x="186" y="761"/>
                  <a:pt x="389" y="761"/>
                </a:cubicBezTo>
                <a:cubicBezTo>
                  <a:pt x="412" y="761"/>
                  <a:pt x="434" y="759"/>
                  <a:pt x="456" y="755"/>
                </a:cubicBezTo>
                <a:cubicBezTo>
                  <a:pt x="486" y="771"/>
                  <a:pt x="520" y="780"/>
                  <a:pt x="556" y="780"/>
                </a:cubicBezTo>
                <a:cubicBezTo>
                  <a:pt x="674" y="780"/>
                  <a:pt x="769" y="685"/>
                  <a:pt x="769" y="567"/>
                </a:cubicBezTo>
                <a:cubicBezTo>
                  <a:pt x="769" y="534"/>
                  <a:pt x="761" y="501"/>
                  <a:pt x="747" y="473"/>
                </a:cubicBezTo>
                <a:close/>
                <a:moveTo>
                  <a:pt x="577" y="570"/>
                </a:moveTo>
                <a:cubicBezTo>
                  <a:pt x="560" y="594"/>
                  <a:pt x="535" y="613"/>
                  <a:pt x="502" y="626"/>
                </a:cubicBezTo>
                <a:cubicBezTo>
                  <a:pt x="470" y="640"/>
                  <a:pt x="432" y="646"/>
                  <a:pt x="388" y="646"/>
                </a:cubicBezTo>
                <a:cubicBezTo>
                  <a:pt x="335" y="646"/>
                  <a:pt x="291" y="637"/>
                  <a:pt x="256" y="619"/>
                </a:cubicBezTo>
                <a:cubicBezTo>
                  <a:pt x="232" y="605"/>
                  <a:pt x="211" y="587"/>
                  <a:pt x="196" y="565"/>
                </a:cubicBezTo>
                <a:cubicBezTo>
                  <a:pt x="180" y="543"/>
                  <a:pt x="172" y="520"/>
                  <a:pt x="172" y="499"/>
                </a:cubicBezTo>
                <a:cubicBezTo>
                  <a:pt x="172" y="485"/>
                  <a:pt x="177" y="474"/>
                  <a:pt x="188" y="464"/>
                </a:cubicBezTo>
                <a:cubicBezTo>
                  <a:pt x="198" y="455"/>
                  <a:pt x="211" y="450"/>
                  <a:pt x="226" y="450"/>
                </a:cubicBezTo>
                <a:cubicBezTo>
                  <a:pt x="239" y="450"/>
                  <a:pt x="249" y="454"/>
                  <a:pt x="258" y="461"/>
                </a:cubicBezTo>
                <a:cubicBezTo>
                  <a:pt x="267" y="468"/>
                  <a:pt x="274" y="479"/>
                  <a:pt x="280" y="493"/>
                </a:cubicBezTo>
                <a:cubicBezTo>
                  <a:pt x="286" y="508"/>
                  <a:pt x="293" y="520"/>
                  <a:pt x="301" y="530"/>
                </a:cubicBezTo>
                <a:cubicBezTo>
                  <a:pt x="308" y="540"/>
                  <a:pt x="318" y="548"/>
                  <a:pt x="332" y="554"/>
                </a:cubicBezTo>
                <a:cubicBezTo>
                  <a:pt x="345" y="560"/>
                  <a:pt x="363" y="563"/>
                  <a:pt x="385" y="563"/>
                </a:cubicBezTo>
                <a:cubicBezTo>
                  <a:pt x="415" y="563"/>
                  <a:pt x="440" y="557"/>
                  <a:pt x="459" y="544"/>
                </a:cubicBezTo>
                <a:cubicBezTo>
                  <a:pt x="477" y="532"/>
                  <a:pt x="486" y="517"/>
                  <a:pt x="486" y="498"/>
                </a:cubicBezTo>
                <a:cubicBezTo>
                  <a:pt x="486" y="484"/>
                  <a:pt x="481" y="472"/>
                  <a:pt x="472" y="463"/>
                </a:cubicBezTo>
                <a:cubicBezTo>
                  <a:pt x="462" y="454"/>
                  <a:pt x="449" y="447"/>
                  <a:pt x="433" y="442"/>
                </a:cubicBezTo>
                <a:cubicBezTo>
                  <a:pt x="416" y="437"/>
                  <a:pt x="393" y="431"/>
                  <a:pt x="365" y="425"/>
                </a:cubicBezTo>
                <a:cubicBezTo>
                  <a:pt x="327" y="417"/>
                  <a:pt x="295" y="407"/>
                  <a:pt x="269" y="396"/>
                </a:cubicBezTo>
                <a:cubicBezTo>
                  <a:pt x="243" y="385"/>
                  <a:pt x="222" y="370"/>
                  <a:pt x="206" y="350"/>
                </a:cubicBezTo>
                <a:cubicBezTo>
                  <a:pt x="190" y="331"/>
                  <a:pt x="182" y="306"/>
                  <a:pt x="182" y="277"/>
                </a:cubicBezTo>
                <a:cubicBezTo>
                  <a:pt x="182" y="249"/>
                  <a:pt x="191" y="224"/>
                  <a:pt x="207" y="202"/>
                </a:cubicBezTo>
                <a:cubicBezTo>
                  <a:pt x="224" y="181"/>
                  <a:pt x="248" y="164"/>
                  <a:pt x="279" y="153"/>
                </a:cubicBezTo>
                <a:cubicBezTo>
                  <a:pt x="309" y="142"/>
                  <a:pt x="345" y="136"/>
                  <a:pt x="386" y="136"/>
                </a:cubicBezTo>
                <a:cubicBezTo>
                  <a:pt x="419" y="136"/>
                  <a:pt x="448" y="140"/>
                  <a:pt x="472" y="147"/>
                </a:cubicBezTo>
                <a:cubicBezTo>
                  <a:pt x="496" y="155"/>
                  <a:pt x="516" y="165"/>
                  <a:pt x="532" y="178"/>
                </a:cubicBezTo>
                <a:cubicBezTo>
                  <a:pt x="549" y="190"/>
                  <a:pt x="561" y="204"/>
                  <a:pt x="568" y="218"/>
                </a:cubicBezTo>
                <a:cubicBezTo>
                  <a:pt x="576" y="232"/>
                  <a:pt x="580" y="246"/>
                  <a:pt x="580" y="259"/>
                </a:cubicBezTo>
                <a:cubicBezTo>
                  <a:pt x="580" y="273"/>
                  <a:pt x="575" y="284"/>
                  <a:pt x="565" y="295"/>
                </a:cubicBezTo>
                <a:cubicBezTo>
                  <a:pt x="555" y="305"/>
                  <a:pt x="542" y="311"/>
                  <a:pt x="527" y="311"/>
                </a:cubicBezTo>
                <a:cubicBezTo>
                  <a:pt x="513" y="311"/>
                  <a:pt x="503" y="307"/>
                  <a:pt x="495" y="301"/>
                </a:cubicBezTo>
                <a:cubicBezTo>
                  <a:pt x="488" y="295"/>
                  <a:pt x="481" y="285"/>
                  <a:pt x="473" y="272"/>
                </a:cubicBezTo>
                <a:cubicBezTo>
                  <a:pt x="464" y="254"/>
                  <a:pt x="453" y="241"/>
                  <a:pt x="440" y="231"/>
                </a:cubicBezTo>
                <a:cubicBezTo>
                  <a:pt x="428" y="221"/>
                  <a:pt x="407" y="217"/>
                  <a:pt x="379" y="217"/>
                </a:cubicBezTo>
                <a:cubicBezTo>
                  <a:pt x="353" y="217"/>
                  <a:pt x="331" y="222"/>
                  <a:pt x="316" y="232"/>
                </a:cubicBezTo>
                <a:cubicBezTo>
                  <a:pt x="300" y="242"/>
                  <a:pt x="293" y="254"/>
                  <a:pt x="293" y="268"/>
                </a:cubicBezTo>
                <a:cubicBezTo>
                  <a:pt x="293" y="276"/>
                  <a:pt x="295" y="283"/>
                  <a:pt x="300" y="289"/>
                </a:cubicBezTo>
                <a:cubicBezTo>
                  <a:pt x="305" y="295"/>
                  <a:pt x="313" y="301"/>
                  <a:pt x="322" y="306"/>
                </a:cubicBezTo>
                <a:cubicBezTo>
                  <a:pt x="332" y="310"/>
                  <a:pt x="342" y="314"/>
                  <a:pt x="352" y="317"/>
                </a:cubicBezTo>
                <a:cubicBezTo>
                  <a:pt x="362" y="320"/>
                  <a:pt x="379" y="324"/>
                  <a:pt x="402" y="329"/>
                </a:cubicBezTo>
                <a:cubicBezTo>
                  <a:pt x="432" y="336"/>
                  <a:pt x="459" y="343"/>
                  <a:pt x="483" y="351"/>
                </a:cubicBezTo>
                <a:cubicBezTo>
                  <a:pt x="508" y="359"/>
                  <a:pt x="529" y="368"/>
                  <a:pt x="546" y="379"/>
                </a:cubicBezTo>
                <a:cubicBezTo>
                  <a:pt x="564" y="391"/>
                  <a:pt x="578" y="406"/>
                  <a:pt x="588" y="423"/>
                </a:cubicBezTo>
                <a:cubicBezTo>
                  <a:pt x="598" y="441"/>
                  <a:pt x="603" y="462"/>
                  <a:pt x="603" y="488"/>
                </a:cubicBezTo>
                <a:cubicBezTo>
                  <a:pt x="603" y="518"/>
                  <a:pt x="594" y="545"/>
                  <a:pt x="577" y="570"/>
                </a:cubicBezTo>
                <a:close/>
              </a:path>
            </a:pathLst>
          </a:custGeom>
          <a:solidFill>
            <a:srgbClr val="44B0FF"/>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pic>
        <p:nvPicPr>
          <p:cNvPr id="416" name="Picture 4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895436" y="5743159"/>
            <a:ext cx="783396" cy="822566"/>
          </a:xfrm>
          <a:prstGeom prst="rect">
            <a:avLst/>
          </a:prstGeom>
        </p:spPr>
      </p:pic>
      <p:sp>
        <p:nvSpPr>
          <p:cNvPr id="417" name="Cross 416"/>
          <p:cNvSpPr/>
          <p:nvPr/>
        </p:nvSpPr>
        <p:spPr bwMode="auto">
          <a:xfrm>
            <a:off x="7447409" y="6109841"/>
            <a:ext cx="216394" cy="216394"/>
          </a:xfrm>
          <a:prstGeom prst="plus">
            <a:avLst>
              <a:gd name="adj" fmla="val 34667"/>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418" name="Cross 417"/>
          <p:cNvSpPr/>
          <p:nvPr/>
        </p:nvSpPr>
        <p:spPr bwMode="auto">
          <a:xfrm>
            <a:off x="8953453" y="6109841"/>
            <a:ext cx="216394" cy="216394"/>
          </a:xfrm>
          <a:prstGeom prst="plus">
            <a:avLst>
              <a:gd name="adj" fmla="val 34667"/>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
        <p:nvSpPr>
          <p:cNvPr id="263" name="TextBox 262"/>
          <p:cNvSpPr txBox="1">
            <a:spLocks noChangeAspect="1"/>
          </p:cNvSpPr>
          <p:nvPr/>
        </p:nvSpPr>
        <p:spPr bwMode="black">
          <a:xfrm>
            <a:off x="7739476" y="6497909"/>
            <a:ext cx="1095315" cy="221202"/>
          </a:xfrm>
          <a:prstGeom prst="rect">
            <a:avLst/>
          </a:prstGeom>
          <a:noFill/>
        </p:spPr>
        <p:txBody>
          <a:bodyPr wrap="square" lIns="0" tIns="0" rIns="0" bIns="0" rtlCol="0">
            <a:noAutofit/>
          </a:bodyPr>
          <a:lstStyle/>
          <a:p>
            <a:pPr algn="ctr"/>
            <a:r>
              <a:rPr lang="en-US" sz="1200">
                <a:solidFill>
                  <a:srgbClr val="002050"/>
                </a:solidFill>
              </a:rPr>
              <a:t>Cortana</a:t>
            </a:r>
          </a:p>
        </p:txBody>
      </p:sp>
      <p:sp>
        <p:nvSpPr>
          <p:cNvPr id="264" name="TextBox 263"/>
          <p:cNvSpPr txBox="1">
            <a:spLocks noChangeAspect="1"/>
          </p:cNvSpPr>
          <p:nvPr/>
        </p:nvSpPr>
        <p:spPr bwMode="black">
          <a:xfrm>
            <a:off x="9311300" y="6495810"/>
            <a:ext cx="1095315" cy="221202"/>
          </a:xfrm>
          <a:prstGeom prst="rect">
            <a:avLst/>
          </a:prstGeom>
          <a:noFill/>
        </p:spPr>
        <p:txBody>
          <a:bodyPr wrap="square" lIns="0" tIns="0" rIns="0" bIns="0" rtlCol="0">
            <a:noAutofit/>
          </a:bodyPr>
          <a:lstStyle/>
          <a:p>
            <a:pPr algn="ctr"/>
            <a:r>
              <a:rPr lang="en-US" sz="1200">
                <a:solidFill>
                  <a:srgbClr val="002050"/>
                </a:solidFill>
              </a:rPr>
              <a:t>Skype</a:t>
            </a:r>
          </a:p>
        </p:txBody>
      </p:sp>
      <p:sp>
        <p:nvSpPr>
          <p:cNvPr id="269" name="Cross 268"/>
          <p:cNvSpPr/>
          <p:nvPr/>
        </p:nvSpPr>
        <p:spPr bwMode="auto">
          <a:xfrm>
            <a:off x="5781695" y="6154442"/>
            <a:ext cx="216394" cy="216394"/>
          </a:xfrm>
          <a:prstGeom prst="plus">
            <a:avLst>
              <a:gd name="adj" fmla="val 34667"/>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fontAlgn="base"/>
            <a:endParaRPr lang="en-US" sz="1400" err="1">
              <a:solidFill>
                <a:srgbClr val="505050"/>
              </a:solidFill>
            </a:endParaRPr>
          </a:p>
        </p:txBody>
      </p:sp>
    </p:spTree>
    <p:extLst>
      <p:ext uri="{BB962C8B-B14F-4D97-AF65-F5344CB8AC3E}">
        <p14:creationId xmlns:p14="http://schemas.microsoft.com/office/powerpoint/2010/main" val="1486481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rporate Strategy Template">
  <a:themeElements>
    <a:clrScheme name="MSFT 2014">
      <a:dk1>
        <a:srgbClr val="505050"/>
      </a:dk1>
      <a:lt1>
        <a:srgbClr val="FFFFFF"/>
      </a:lt1>
      <a:dk2>
        <a:srgbClr val="002050"/>
      </a:dk2>
      <a:lt2>
        <a:srgbClr val="F2F2F2"/>
      </a:lt2>
      <a:accent1>
        <a:srgbClr val="0072C6"/>
      </a:accent1>
      <a:accent2>
        <a:srgbClr val="00518E"/>
      </a:accent2>
      <a:accent3>
        <a:srgbClr val="9B4F96"/>
      </a:accent3>
      <a:accent4>
        <a:srgbClr val="68217A"/>
      </a:accent4>
      <a:accent5>
        <a:srgbClr val="969696"/>
      </a:accent5>
      <a:accent6>
        <a:srgbClr val="505050"/>
      </a:accent6>
      <a:hlink>
        <a:srgbClr val="0072C6"/>
      </a:hlink>
      <a:folHlink>
        <a:srgbClr val="00518E"/>
      </a:folHlink>
    </a:clrScheme>
    <a:fontScheme name="MSFT 2014">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2D2"/>
        </a:solidFill>
        <a:ln w="9525" cap="flat" cmpd="sng" algn="ctr">
          <a:solidFill>
            <a:srgbClr val="969696"/>
          </a:solidFill>
          <a:prstDash val="solid"/>
          <a:round/>
          <a:headEnd type="none" w="med" len="med"/>
          <a:tailEnd type="none" w="med" len="med"/>
        </a:ln>
        <a:effectLst/>
      </a:spPr>
      <a:bodyPr vert="horz" wrap="square" lIns="91440" tIns="91440" rIns="91440" bIns="91440" numCol="1" rtlCol="0" anchor="ctr"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rgbClr val="969696"/>
          </a:solidFill>
          <a:prstDash val="solid"/>
          <a:round/>
          <a:headEnd type="none" w="med" len="med"/>
          <a:tailEnd type="none" w="med" len="med"/>
        </a:ln>
        <a:effectLst/>
      </a:spPr>
      <a:bodyPr/>
      <a:lstStyle/>
    </a:lnDef>
    <a:txDef>
      <a:spPr>
        <a:noFill/>
      </a:spPr>
      <a:bodyPr wrap="square" rtlCol="0">
        <a:spAutoFit/>
      </a:bodyPr>
      <a:lstStyle>
        <a:defPPr>
          <a:defRPr sz="1600"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custClrLst>
    <a:custClr name="Custom Color 1">
      <a:srgbClr val="E81123"/>
    </a:custClr>
    <a:custClr name="Custom Color 2">
      <a:srgbClr val="FFB900"/>
    </a:custClr>
    <a:custClr name="Custom Color 3">
      <a:srgbClr val="107C10"/>
    </a:custClr>
    <a:custClr name="Custom Color 4">
      <a:srgbClr val="FF8C00"/>
    </a:custClr>
  </a:custClrLst>
  <a:extLst>
    <a:ext uri="{05A4C25C-085E-4340-85A3-A5531E510DB2}">
      <thm15:themeFamily xmlns:thm15="http://schemas.microsoft.com/office/thememl/2012/main" name="blank" id="{AB029780-E758-49D1-AB35-5AF8F7F928C3}" vid="{FD66BF1E-4044-44B9-9A16-AE1A0D4A2A76}"/>
    </a:ext>
  </a:extLst>
</a:theme>
</file>

<file path=ppt/theme/theme2.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item1.xml><?xml version="1.0" encoding="utf-8"?>
<Control xmlns="http://schemas.microsoft.com/VisualStudio/2011/storyboarding/control">
  <Id Name="System.Storyboarding.Common.TextArea" Revision="1" Stencil="System.Storyboarding.Common" StencilVersion="0.1"/>
</Control>
</file>

<file path=customXml/item2.xml><?xml version="1.0" encoding="utf-8"?>
<ct:contentTypeSchema xmlns:ct="http://schemas.microsoft.com/office/2006/metadata/contentType" xmlns:ma="http://schemas.microsoft.com/office/2006/metadata/properties/metaAttributes" ct:_="" ma:_="" ma:contentTypeName="Document" ma:contentTypeID="0x010100C90F99B100947540955F94BD25369FEB" ma:contentTypeVersion="4" ma:contentTypeDescription="Create a new document." ma:contentTypeScope="" ma:versionID="48b11b9847f424fd5b284865a677c0d2">
  <xsd:schema xmlns:xsd="http://www.w3.org/2001/XMLSchema" xmlns:xs="http://www.w3.org/2001/XMLSchema" xmlns:p="http://schemas.microsoft.com/office/2006/metadata/properties" xmlns:ns2="6c83b0df-2bc0-4990-af6d-1a80a5e42288" xmlns:ns3="925897db-6e27-441a-930c-2194a546b338" targetNamespace="http://schemas.microsoft.com/office/2006/metadata/properties" ma:root="true" ma:fieldsID="0a5ac070ac6ab0c53ad13edda71859e3" ns2:_="" ns3:_="">
    <xsd:import namespace="6c83b0df-2bc0-4990-af6d-1a80a5e42288"/>
    <xsd:import namespace="925897db-6e27-441a-930c-2194a546b338"/>
    <xsd:element name="properties">
      <xsd:complexType>
        <xsd:sequence>
          <xsd:element name="documentManagement">
            <xsd:complexType>
              <xsd:all>
                <xsd:element ref="ns2:SharedWithUsers" minOccurs="0"/>
                <xsd:element ref="ns2:SharedWithDetails" minOccurs="0"/>
                <xsd:element ref="ns3:LastSharedByUser" minOccurs="0"/>
                <xsd:element ref="ns3: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83b0df-2bc0-4990-af6d-1a80a5e4228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25897db-6e27-441a-930c-2194a546b338" elementFormDefault="qualified">
    <xsd:import namespace="http://schemas.microsoft.com/office/2006/documentManagement/types"/>
    <xsd:import namespace="http://schemas.microsoft.com/office/infopath/2007/PartnerControls"/>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Control xmlns="http://schemas.microsoft.com/VisualStudio/2011/storyboarding/control">
  <Id Name="System.Storyboarding.Common.TextArea" Revision="1" Stencil="System.Storyboarding.Common" StencilVersion="0.1"/>
</Control>
</file>

<file path=customXml/item4.xml><?xml version="1.0" encoding="utf-8"?>
<Control xmlns="http://schemas.microsoft.com/VisualStudio/2011/storyboarding/control">
  <Id Name="System.Storyboarding.Common.TextArea" Revision="1" Stencil="System.Storyboarding.Common" StencilVersion="0.1"/>
</Control>
</file>

<file path=customXml/item5.xml><?xml version="1.0" encoding="utf-8"?>
<Control xmlns="http://schemas.microsoft.com/VisualStudio/2011/storyboarding/control">
  <Id Name="System.Storyboarding.Common.TextArea" Revision="1" Stencil="System.Storyboarding.Common" StencilVersion="0.1"/>
</Control>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p:properties xmlns:p="http://schemas.microsoft.com/office/2006/metadata/properties" xmlns:xsi="http://www.w3.org/2001/XMLSchema-instance" xmlns:pc="http://schemas.microsoft.com/office/infopath/2007/PartnerControls">
  <documentManagement/>
</p:properties>
</file>

<file path=customXml/item8.xml><?xml version="1.0" encoding="utf-8"?>
<Control xmlns="http://schemas.microsoft.com/VisualStudio/2011/storyboarding/control">
  <Id Name="System.Storyboarding.Common.TextArea" Revision="1" Stencil="System.Storyboarding.Common" StencilVersion="0.1"/>
</Control>
</file>

<file path=customXml/itemProps1.xml><?xml version="1.0" encoding="utf-8"?>
<ds:datastoreItem xmlns:ds="http://schemas.openxmlformats.org/officeDocument/2006/customXml" ds:itemID="{7E56BCC4-BFCD-41CF-A819-A16798E4613E}">
  <ds:schemaRefs>
    <ds:schemaRef ds:uri="http://schemas.microsoft.com/VisualStudio/2011/storyboarding/control"/>
  </ds:schemaRefs>
</ds:datastoreItem>
</file>

<file path=customXml/itemProps2.xml><?xml version="1.0" encoding="utf-8"?>
<ds:datastoreItem xmlns:ds="http://schemas.openxmlformats.org/officeDocument/2006/customXml" ds:itemID="{91F4880C-F585-4D2E-AD5D-EC680B68BB38}"/>
</file>

<file path=customXml/itemProps3.xml><?xml version="1.0" encoding="utf-8"?>
<ds:datastoreItem xmlns:ds="http://schemas.openxmlformats.org/officeDocument/2006/customXml" ds:itemID="{967D3008-0BC9-463E-87C3-99904EDC0DC4}">
  <ds:schemaRefs>
    <ds:schemaRef ds:uri="http://schemas.microsoft.com/VisualStudio/2011/storyboarding/control"/>
  </ds:schemaRefs>
</ds:datastoreItem>
</file>

<file path=customXml/itemProps4.xml><?xml version="1.0" encoding="utf-8"?>
<ds:datastoreItem xmlns:ds="http://schemas.openxmlformats.org/officeDocument/2006/customXml" ds:itemID="{A053A4CC-3905-47BF-9B9B-318B5F6D6A11}">
  <ds:schemaRefs>
    <ds:schemaRef ds:uri="http://schemas.microsoft.com/VisualStudio/2011/storyboarding/control"/>
  </ds:schemaRefs>
</ds:datastoreItem>
</file>

<file path=customXml/itemProps5.xml><?xml version="1.0" encoding="utf-8"?>
<ds:datastoreItem xmlns:ds="http://schemas.openxmlformats.org/officeDocument/2006/customXml" ds:itemID="{17BB27BB-A1F6-4365-8347-A160EBD4ABEF}">
  <ds:schemaRefs>
    <ds:schemaRef ds:uri="http://schemas.microsoft.com/VisualStudio/2011/storyboarding/control"/>
  </ds:schemaRefs>
</ds:datastoreItem>
</file>

<file path=customXml/itemProps6.xml><?xml version="1.0" encoding="utf-8"?>
<ds:datastoreItem xmlns:ds="http://schemas.openxmlformats.org/officeDocument/2006/customXml" ds:itemID="{5951996C-D1EA-47D4-9C57-55E8DAF371E8}">
  <ds:schemaRefs>
    <ds:schemaRef ds:uri="http://schemas.microsoft.com/sharepoint/v3/contenttype/forms"/>
  </ds:schemaRefs>
</ds:datastoreItem>
</file>

<file path=customXml/itemProps7.xml><?xml version="1.0" encoding="utf-8"?>
<ds:datastoreItem xmlns:ds="http://schemas.openxmlformats.org/officeDocument/2006/customXml" ds:itemID="{1A0DE70D-386B-41E7-8CBE-3BA1B4A10B76}">
  <ds:schemaRefs>
    <ds:schemaRef ds:uri="http://www.w3.org/XML/1998/namespace"/>
    <ds:schemaRef ds:uri="http://schemas.microsoft.com/office/2006/documentManagement/types"/>
    <ds:schemaRef ds:uri="http://purl.org/dc/terms/"/>
    <ds:schemaRef ds:uri="http://schemas.openxmlformats.org/package/2006/metadata/core-properties"/>
    <ds:schemaRef ds:uri="http://purl.org/dc/elements/1.1/"/>
    <ds:schemaRef ds:uri="http://schemas.microsoft.com/office/infopath/2007/PartnerControls"/>
    <ds:schemaRef ds:uri="http://purl.org/dc/dcmitype/"/>
    <ds:schemaRef ds:uri="http://schemas.microsoft.com/office/2006/metadata/properties"/>
  </ds:schemaRefs>
</ds:datastoreItem>
</file>

<file path=customXml/itemProps8.xml><?xml version="1.0" encoding="utf-8"?>
<ds:datastoreItem xmlns:ds="http://schemas.openxmlformats.org/officeDocument/2006/customXml" ds:itemID="{CDE92615-A629-4FA2-A0D1-7E9EB8D89AF3}">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31</TotalTime>
  <Words>2633</Words>
  <Application>Microsoft Office PowerPoint</Application>
  <PresentationFormat>Widescreen</PresentationFormat>
  <Paragraphs>476</Paragraphs>
  <Slides>34</Slides>
  <Notes>28</Notes>
  <HiddenSlides>11</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9" baseType="lpstr">
      <vt:lpstr>Arial</vt:lpstr>
      <vt:lpstr>Calibri</vt:lpstr>
      <vt:lpstr>Consolas</vt:lpstr>
      <vt:lpstr>Courier New</vt:lpstr>
      <vt:lpstr>OCR A Extended</vt:lpstr>
      <vt:lpstr>Segoe UI</vt:lpstr>
      <vt:lpstr>Segoe UI </vt:lpstr>
      <vt:lpstr>Segoe UI Light</vt:lpstr>
      <vt:lpstr>Segoe UI Semibold</vt:lpstr>
      <vt:lpstr>Segoe UI Semilight</vt:lpstr>
      <vt:lpstr>Trebuchet MS</vt:lpstr>
      <vt:lpstr>Wingdings</vt:lpstr>
      <vt:lpstr>1_Corporate Strategy Template</vt:lpstr>
      <vt:lpstr>5-50091_TR24_BO_CT_Template</vt:lpstr>
      <vt:lpstr>think-cell Slide</vt:lpstr>
      <vt:lpstr>PowerPoint Presentation</vt:lpstr>
      <vt:lpstr>Introducing our speakers</vt:lpstr>
      <vt:lpstr>Microsoft Connected Vehicle Platform</vt:lpstr>
      <vt:lpstr>Challenges facing the industry</vt:lpstr>
      <vt:lpstr>The automotive industry is at a transformational moment</vt:lpstr>
      <vt:lpstr>Primary Drivers &amp; Motivations For Automotive</vt:lpstr>
      <vt:lpstr>Challenges facing OEMs</vt:lpstr>
      <vt:lpstr>To build connected cars, OEMs, suppliers and partners need…</vt:lpstr>
      <vt:lpstr>Automotive services require technology partnership</vt:lpstr>
      <vt:lpstr>Microsoft Connected Vehicle Platform</vt:lpstr>
      <vt:lpstr>Introducing the Microsoft Connected Vehicle Platform</vt:lpstr>
      <vt:lpstr>Microsoft Connected Vehicle Platform</vt:lpstr>
      <vt:lpstr>Purpose Built for Automakers Individually</vt:lpstr>
      <vt:lpstr>Our approach</vt:lpstr>
      <vt:lpstr>Connected Vehicle Reference Architecture</vt:lpstr>
      <vt:lpstr>PowerPoint Presentation</vt:lpstr>
      <vt:lpstr>PowerPoint Presentation</vt:lpstr>
      <vt:lpstr>Current Status</vt:lpstr>
      <vt:lpstr>95 Car Services Into Various Categorizations</vt:lpstr>
      <vt:lpstr>Lessons Learned</vt:lpstr>
      <vt:lpstr>Global Project Delivery – Diverse Cultures</vt:lpstr>
      <vt:lpstr>Renault / Nissan – Sprint Process</vt:lpstr>
      <vt:lpstr>Thank YOU</vt:lpstr>
      <vt:lpstr>PowerPoint Presentation</vt:lpstr>
      <vt:lpstr>Why partner with Microsoft?</vt:lpstr>
      <vt:lpstr>Why partner with Microsoft?</vt:lpstr>
      <vt:lpstr>Ecosystem</vt:lpstr>
      <vt:lpstr>Benefits for automakers</vt:lpstr>
      <vt:lpstr>Telematics &amp; Predictive Services</vt:lpstr>
      <vt:lpstr>Productivity &amp; Digital Life</vt:lpstr>
      <vt:lpstr>Connected ADAS*</vt:lpstr>
      <vt:lpstr>Advanced Navigation</vt:lpstr>
      <vt:lpstr>Customer Insights &amp; Engagement</vt:lpstr>
      <vt:lpstr>Conceptual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phia Heng (Adecco Personnel Pte LTD)</dc:creator>
  <cp:lastModifiedBy>Sophia Heng (Adecco Personnel Pte LTD)</cp:lastModifiedBy>
  <cp:revision>4</cp:revision>
  <dcterms:modified xsi:type="dcterms:W3CDTF">2017-02-10T02:2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Region">
    <vt:lpwstr/>
  </property>
  <property fmtid="{D5CDD505-2E9C-101B-9397-08002B2CF9AE}" pid="4" name="Confidentiality">
    <vt:lpwstr>17;#customer ready|8986c41d-21c5-4f8f-8a12-ea4625b46858</vt:lpwstr>
  </property>
  <property fmtid="{D5CDD505-2E9C-101B-9397-08002B2CF9AE}" pid="5" name="ItemType">
    <vt:lpwstr>36;#customer presentations|18e9ae94-e321-4eea-82d2-ad5b2f470f3c</vt:lpwstr>
  </property>
  <property fmtid="{D5CDD505-2E9C-101B-9397-08002B2CF9AE}" pid="6" name="ContentTypeId">
    <vt:lpwstr>0x010100C90F99B100947540955F94BD25369FEB</vt:lpwstr>
  </property>
  <property fmtid="{D5CDD505-2E9C-101B-9397-08002B2CF9AE}" pid="7" name="ga0c0bf70a6644469c61b3efa7025301">
    <vt:lpwstr/>
  </property>
  <property fmtid="{D5CDD505-2E9C-101B-9397-08002B2CF9AE}" pid="8" name="Industries">
    <vt:lpwstr>478;#industries|3e19349d-0f97-4bdd-98f7-34f9b5ced943;#1540;#discrete manufacturing industry|849cc5cd-9e2e-43b0-bb40-7dfe9bc975a9</vt:lpwstr>
  </property>
  <property fmtid="{D5CDD505-2E9C-101B-9397-08002B2CF9AE}" pid="9" name="Roles">
    <vt:lpwstr/>
  </property>
  <property fmtid="{D5CDD505-2E9C-101B-9397-08002B2CF9AE}" pid="10" name="Competitors">
    <vt:lpwstr/>
  </property>
  <property fmtid="{D5CDD505-2E9C-101B-9397-08002B2CF9AE}" pid="11" name="SMSGDomain">
    <vt:lpwstr>597;#Commercial Sectors Domain|d1526d4b-2e64-4cea-9d33-cc8fcb85d538;#101;#Enterprise and Partner Group|b6e10940-8c6c-40cf-9dc4-c224c7da837a;#33;#Sales, Marketing, Services Group|ecda8836-afa0-40aa-878e-630e18c8fc5c;#584;#Marketing and Operations|4e55053f-</vt:lpwstr>
  </property>
  <property fmtid="{D5CDD505-2E9C-101B-9397-08002B2CF9AE}" pid="12" name="ExperienceContentType">
    <vt:lpwstr/>
  </property>
  <property fmtid="{D5CDD505-2E9C-101B-9397-08002B2CF9AE}" pid="13" name="BusinessArchitecture">
    <vt:lpwstr/>
  </property>
  <property fmtid="{D5CDD505-2E9C-101B-9397-08002B2CF9AE}" pid="14" name="SMSGTags">
    <vt:lpwstr/>
  </property>
  <property fmtid="{D5CDD505-2E9C-101B-9397-08002B2CF9AE}" pid="15" name="Products">
    <vt:lpwstr/>
  </property>
  <property fmtid="{D5CDD505-2E9C-101B-9397-08002B2CF9AE}" pid="16" name="_dlc_DocIdItemGuid">
    <vt:lpwstr>43f7d462-b05f-466b-aefb-c6da0920a8db</vt:lpwstr>
  </property>
  <property fmtid="{D5CDD505-2E9C-101B-9397-08002B2CF9AE}" pid="17" name="EnterpriseDomainTags">
    <vt:lpwstr/>
  </property>
  <property fmtid="{D5CDD505-2E9C-101B-9397-08002B2CF9AE}" pid="18" name="ActivitiesAndPrograms">
    <vt:lpwstr>1635;#SMSG Solution Framework|a00353a3-6a39-44d1-9b3a-5c1ce0c4245c</vt:lpwstr>
  </property>
  <property fmtid="{D5CDD505-2E9C-101B-9397-08002B2CF9AE}" pid="19" name="Segments">
    <vt:lpwstr/>
  </property>
  <property fmtid="{D5CDD505-2E9C-101B-9397-08002B2CF9AE}" pid="20" name="Partners">
    <vt:lpwstr/>
  </property>
  <property fmtid="{D5CDD505-2E9C-101B-9397-08002B2CF9AE}" pid="21" name="Topics">
    <vt:lpwstr/>
  </property>
  <property fmtid="{D5CDD505-2E9C-101B-9397-08002B2CF9AE}" pid="22" name="Groups">
    <vt:lpwstr>216;#Enterprise and Partner Group|b6e10940-8c6c-40cf-9dc4-c224c7da837a</vt:lpwstr>
  </property>
  <property fmtid="{D5CDD505-2E9C-101B-9397-08002B2CF9AE}" pid="23" name="Languages">
    <vt:lpwstr/>
  </property>
  <property fmtid="{D5CDD505-2E9C-101B-9397-08002B2CF9AE}" pid="24" name="_docset_NoMedatataSyncRequired">
    <vt:lpwstr>False</vt:lpwstr>
  </property>
  <property fmtid="{D5CDD505-2E9C-101B-9397-08002B2CF9AE}" pid="25" name="TechnicalLevel">
    <vt:lpwstr/>
  </property>
  <property fmtid="{D5CDD505-2E9C-101B-9397-08002B2CF9AE}" pid="26" name="Audiences">
    <vt:lpwstr/>
  </property>
  <property fmtid="{D5CDD505-2E9C-101B-9397-08002B2CF9AE}" pid="27" name="ldac8aee9d1f469e8cd8c3f8d6a615f2">
    <vt:lpwstr/>
  </property>
</Properties>
</file>